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89" r:id="rId5"/>
    <p:sldMasterId id="2147483915" r:id="rId6"/>
    <p:sldMasterId id="2147483947" r:id="rId7"/>
    <p:sldMasterId id="2147483951" r:id="rId8"/>
  </p:sldMasterIdLst>
  <p:notesMasterIdLst>
    <p:notesMasterId r:id="rId29"/>
  </p:notesMasterIdLst>
  <p:sldIdLst>
    <p:sldId id="2147483593" r:id="rId9"/>
    <p:sldId id="267" r:id="rId10"/>
    <p:sldId id="2142534197" r:id="rId11"/>
    <p:sldId id="292" r:id="rId12"/>
    <p:sldId id="290" r:id="rId13"/>
    <p:sldId id="303" r:id="rId14"/>
    <p:sldId id="274" r:id="rId15"/>
    <p:sldId id="2147483605" r:id="rId16"/>
    <p:sldId id="306" r:id="rId17"/>
    <p:sldId id="300" r:id="rId18"/>
    <p:sldId id="644" r:id="rId19"/>
    <p:sldId id="2147480234" r:id="rId20"/>
    <p:sldId id="355" r:id="rId21"/>
    <p:sldId id="2147483607" r:id="rId22"/>
    <p:sldId id="2147375393" r:id="rId23"/>
    <p:sldId id="2147483606" r:id="rId24"/>
    <p:sldId id="280" r:id="rId25"/>
    <p:sldId id="328" r:id="rId26"/>
    <p:sldId id="2147480487" r:id="rId27"/>
    <p:sldId id="310" r:id="rId28"/>
  </p:sldIdLst>
  <p:sldSz cx="12192000" cy="6858000"/>
  <p:notesSz cx="6858000" cy="9144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7" orient="horz" pos="1560" userDrawn="1">
          <p15:clr>
            <a:srgbClr val="A4A3A4"/>
          </p15:clr>
        </p15:guide>
        <p15:guide id="8" pos="3840">
          <p15:clr>
            <a:srgbClr val="A4A3A4"/>
          </p15:clr>
        </p15:guide>
        <p15:guide id="9" orient="horz" pos="336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DA94C45-73CE-AD51-2020-ACAD1A34BAB9}" name="Prokrita Chanda" initials="PC" userId="S::Prokrita.Chanda@gartner.com::1527c2f9-1403-4383-b850-d289569545d3" providerId="AD"/>
  <p188:author id="{32661947-3468-BC4F-2877-E93BCC9D2775}" name="Christian Gilby" initials="CG" userId="S::cgilby@juniper.net::d91b64dd-a652-4d01-8487-f7d174c919d8" providerId="AD"/>
  <p188:author id="{9BCFD35C-073E-2C83-9DE1-DDA89A84F6E4}" name="Tarek Radwan" initials="" userId="S::tradwan@juniper.net::6b371796-7598-444f-8db6-7a0507ee3f06" providerId="AD"/>
  <p188:author id="{83D1FE63-9C65-E79F-D088-9C7478289555}" name="Ben Baker" initials="BB" userId="S::benbaker@juniper.net::49cb5c84-c0f6-4b0b-bdc7-6455b38f9ea4" providerId="AD"/>
  <p188:author id="{40533067-24FC-0538-E12F-CFA91D7166E7}" name="Jeff Aaron" initials="JA" userId="S::jaaron@juniper.net::25e6b008-9f6d-4d79-bdbc-30ed374911ea" providerId="AD"/>
  <p188:author id="{3F2EAF70-038A-B1BE-D133-F85E3B008BB2}" name="Kristen Johal" initials="KJ" userId="S::kjohal@juniper.net::2d34df6f-3196-41ad-9a72-f1825b61a745" providerId="AD"/>
  <p188:author id="{D6D85A8B-673C-D91B-7C0A-00D12F8A16EE}" name="Julius Francis" initials="" userId="S::jfrancis@juniper.net::c4d5ef7f-d41e-4855-b7a5-cabec2d48b36" providerId="AD"/>
  <p188:author id="{B3C77AC9-242B-BB1B-1FFE-F53B0519D300}" name="Eric Stinson" initials="" userId="S::stinsone@juniper.net::3eb4b1d6-d205-4210-be8b-8c42d3a70dd3" providerId="AD"/>
  <p188:author id="{6CBFFAD3-AAE3-8A93-0742-9CC1AD113214}" name="Paul Notzold" initials="" userId="S::pnotzold@juniper.net::9d5f1cf5-5f2c-4807-b04f-207762da52ea" providerId="AD"/>
  <p188:author id="{DF8F32D4-4F2F-FC0E-D4E7-41B5ED58A9DF}" name="Jason Kusmanoff" initials="JK" userId="S::jkusmanoff@juniper.net::abd8ee7c-1f8f-4eef-880a-ce90abd028a4" providerId="AD"/>
  <p188:author id="{7EF5F4E1-1D4A-ACAD-3E17-E3F8847379D2}" name="Meggie Ghidella" initials="MG" userId="S::mghidella@juniper.net::f56fd8dd-a990-441c-ba56-5e36479dd634" providerId="AD"/>
  <p188:author id="{A40FF2EF-363D-1963-F2A2-26EF6C316500}" name="Justin Melloni" initials="JM" userId="S::jmelloni@juniper.net::624ca8d3-e60b-4ea1-8ca9-01641ac845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lin Lloyd" initials="CL" lastIdx="1" clrIdx="0">
    <p:extLst>
      <p:ext uri="{19B8F6BF-5375-455C-9EA6-DF929625EA0E}">
        <p15:presenceInfo xmlns:p15="http://schemas.microsoft.com/office/powerpoint/2012/main" userId="S::clloyd@juniper.net::8b25ca12-4885-4e4a-8ab4-5227835778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5A9"/>
    <a:srgbClr val="E97100"/>
    <a:srgbClr val="84B434"/>
    <a:srgbClr val="FFFFFF"/>
    <a:srgbClr val="276000"/>
    <a:srgbClr val="83B135"/>
    <a:srgbClr val="214D00"/>
    <a:srgbClr val="3E8101"/>
    <a:srgbClr val="1B3E00"/>
    <a:srgbClr val="142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45"/>
    <p:restoredTop sz="83605"/>
  </p:normalViewPr>
  <p:slideViewPr>
    <p:cSldViewPr snapToGrid="0">
      <p:cViewPr varScale="1">
        <p:scale>
          <a:sx n="154" d="100"/>
          <a:sy n="154" d="100"/>
        </p:scale>
        <p:origin x="512" y="192"/>
      </p:cViewPr>
      <p:guideLst>
        <p:guide orient="horz"/>
        <p:guide orient="horz" pos="1560"/>
        <p:guide pos="3840"/>
        <p:guide orient="horz" pos="3366"/>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Master" Target="slideMasters/slideMaster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0F0921-05A0-40ED-8849-8C4A18CCAE62}" type="datetimeFigureOut">
              <a:rPr lang="en-US" smtClean="0"/>
              <a:t>5/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0A7B0C-41F4-4FE7-8DA5-6ED59D6F41DA}" type="slidenum">
              <a:rPr lang="en-US" smtClean="0"/>
              <a:t>‹#›</a:t>
            </a:fld>
            <a:endParaRPr lang="en-US"/>
          </a:p>
        </p:txBody>
      </p:sp>
    </p:spTree>
    <p:extLst>
      <p:ext uri="{BB962C8B-B14F-4D97-AF65-F5344CB8AC3E}">
        <p14:creationId xmlns:p14="http://schemas.microsoft.com/office/powerpoint/2010/main" val="41346888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I-Native Campus &amp; Branch Networking GOLD PITCH **</a:t>
            </a:r>
          </a:p>
          <a:p>
            <a:endParaRPr lang="en-US"/>
          </a:p>
          <a:p>
            <a:r>
              <a:rPr lang="en-US"/>
              <a:t>Delivering an exceptional experience </a:t>
            </a:r>
            <a:r>
              <a:rPr lang="en-US" err="1"/>
              <a:t>everytime</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10A7B0C-41F4-4FE7-8DA5-6ED59D6F41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399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livering an exceptional experience </a:t>
            </a:r>
            <a:r>
              <a:rPr lang="en-US" err="1"/>
              <a:t>everytime</a:t>
            </a: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93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egacy way of viewing networks and the value they bring to the world has changed.</a:t>
            </a:r>
          </a:p>
          <a:p>
            <a:endParaRPr lang="en-US"/>
          </a:p>
          <a:p>
            <a:r>
              <a:rPr lang="en-US"/>
              <a:t>We</a:t>
            </a:r>
            <a:r>
              <a:rPr lang="en-US" sz="1200" b="0" i="0" u="none" strike="noStrike" kern="1200">
                <a:solidFill>
                  <a:schemeClr val="tx1"/>
                </a:solidFill>
                <a:effectLst/>
                <a:latin typeface="+mn-lt"/>
                <a:ea typeface="+mn-ea"/>
                <a:cs typeface="+mn-cs"/>
              </a:rPr>
              <a:t> need a different approach.</a:t>
            </a:r>
            <a:r>
              <a:rPr lang="en-US"/>
              <a:t> </a:t>
            </a:r>
            <a:endParaRPr lang="en-US">
              <a:ea typeface="Calibri" panose="020F0502020204030204"/>
              <a:cs typeface="Calibri" panose="020F0502020204030204"/>
            </a:endParaRPr>
          </a:p>
          <a:p>
            <a:br>
              <a:rPr lang="en-US">
                <a:cs typeface="+mn-lt"/>
              </a:rPr>
            </a:b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77F13-394B-983A-EFE9-0C62C9F743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24F774-E175-C848-1090-2109662367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EA1EB9-E970-CCFF-E49E-D4A26A110555}"/>
              </a:ext>
            </a:extLst>
          </p:cNvPr>
          <p:cNvSpPr>
            <a:spLocks noGrp="1"/>
          </p:cNvSpPr>
          <p:nvPr>
            <p:ph type="body" idx="1"/>
          </p:nvPr>
        </p:nvSpPr>
        <p:spPr/>
        <p:txBody>
          <a:bodyPr/>
          <a:lstStyle/>
          <a:p>
            <a:pPr algn="l" latinLnBrk="0"/>
            <a:r>
              <a:rPr lang="en-US" b="0" i="0">
                <a:solidFill>
                  <a:srgbClr val="323130"/>
                </a:solidFill>
                <a:effectLst/>
                <a:latin typeface="Segoe UI" panose="020B0502040204020203" pitchFamily="34" charset="0"/>
              </a:rPr>
              <a:t>If you look at the latest Gartner Magic Quadrant, Juniper leads in both ability to execute and vision, no one else can claim that we are the leader.</a:t>
            </a:r>
          </a:p>
          <a:p>
            <a:pPr algn="l" latinLnBrk="0"/>
            <a:endParaRPr lang="en-US" b="0" i="0">
              <a:solidFill>
                <a:srgbClr val="323130"/>
              </a:solidFill>
              <a:effectLst/>
              <a:latin typeface="Segoe UI" panose="020B0502040204020203" pitchFamily="34" charset="0"/>
            </a:endParaRPr>
          </a:p>
          <a:p>
            <a:pPr algn="l" latinLnBrk="0"/>
            <a:r>
              <a:rPr lang="en-US" b="0" i="0">
                <a:solidFill>
                  <a:srgbClr val="323130"/>
                </a:solidFill>
                <a:effectLst/>
                <a:latin typeface="Segoe UI" panose="020B0502040204020203" pitchFamily="34" charset="0"/>
              </a:rPr>
              <a:t>Also, if you look at things like indoor location services, we are the only networking vendor in the whole leaders quadrant.</a:t>
            </a:r>
          </a:p>
          <a:p>
            <a:pPr algn="l" latinLnBrk="0"/>
            <a:endParaRPr lang="en-US" b="0" i="0">
              <a:solidFill>
                <a:srgbClr val="323130"/>
              </a:solidFill>
              <a:effectLst/>
              <a:latin typeface="Segoe UI" panose="020B0502040204020203" pitchFamily="34" charset="0"/>
            </a:endParaRPr>
          </a:p>
          <a:p>
            <a:pPr algn="l" latinLnBrk="0"/>
            <a:r>
              <a:rPr lang="en-US" b="0" i="0">
                <a:solidFill>
                  <a:srgbClr val="323130"/>
                </a:solidFill>
                <a:effectLst/>
                <a:latin typeface="Segoe UI" panose="020B0502040204020203" pitchFamily="34" charset="0"/>
              </a:rPr>
              <a:t>In fact, all the other vendors in that section are our partners.</a:t>
            </a:r>
          </a:p>
          <a:p>
            <a:pPr algn="l"/>
            <a:endParaRPr lang="en-US" b="0" i="0">
              <a:solidFill>
                <a:srgbClr val="323130"/>
              </a:solidFill>
              <a:effectLst/>
              <a:latin typeface="Segoe UI" panose="020B0502040204020203" pitchFamily="34" charset="0"/>
            </a:endParaRPr>
          </a:p>
          <a:p>
            <a:pPr algn="l"/>
            <a:r>
              <a:rPr lang="en-US" b="0" i="0">
                <a:solidFill>
                  <a:srgbClr val="323130"/>
                </a:solidFill>
                <a:effectLst/>
                <a:latin typeface="Segoe UI" panose="020B0502040204020203" pitchFamily="34" charset="0"/>
              </a:rPr>
              <a:t>So again, if you're looking for things like indoor location, looking for things like wired and wireless, we are the leader and visionary in other areas like SD WAN.</a:t>
            </a:r>
          </a:p>
          <a:p>
            <a:endParaRPr lang="en-US"/>
          </a:p>
        </p:txBody>
      </p:sp>
      <p:sp>
        <p:nvSpPr>
          <p:cNvPr id="4" name="Slide Number Placeholder 3">
            <a:extLst>
              <a:ext uri="{FF2B5EF4-FFF2-40B4-BE49-F238E27FC236}">
                <a16:creationId xmlns:a16="http://schemas.microsoft.com/office/drawing/2014/main" id="{7AA12FBA-111B-80F3-2F21-994FE7BC1E70}"/>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10A7B0C-41F4-4FE7-8DA5-6ED59D6F41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439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5613" lvl="3" indent="-171450">
              <a:spcBef>
                <a:spcPts val="1200"/>
              </a:spcBef>
              <a:buFont typeface="Wingdings" pitchFamily="2" charset="2"/>
              <a:buChar char="ü"/>
            </a:pPr>
            <a:r>
              <a:rPr lang="en-US" sz="1200" b="1">
                <a:solidFill>
                  <a:srgbClr val="84B135"/>
                </a:solidFill>
                <a:ea typeface="Lato"/>
                <a:cs typeface="Lato"/>
              </a:rPr>
              <a:t>Wired: </a:t>
            </a:r>
            <a:r>
              <a:rPr lang="en-US" sz="1200">
                <a:ea typeface="Lato"/>
                <a:cs typeface="Lato"/>
              </a:rPr>
              <a:t>Bad cables, mismatched ports, L2 loops, DHCP failures, authentication failures, port flaps, …</a:t>
            </a:r>
          </a:p>
          <a:p>
            <a:pPr marL="455613" lvl="3" indent="-171450">
              <a:spcBef>
                <a:spcPts val="1200"/>
              </a:spcBef>
              <a:buFont typeface="Wingdings" pitchFamily="2" charset="2"/>
              <a:buChar char="ü"/>
            </a:pPr>
            <a:r>
              <a:rPr lang="en-US" sz="1200" b="1">
                <a:solidFill>
                  <a:srgbClr val="84B135"/>
                </a:solidFill>
                <a:ea typeface="Lato"/>
                <a:cs typeface="Lato"/>
              </a:rPr>
              <a:t>Wireless: </a:t>
            </a:r>
            <a:r>
              <a:rPr lang="en-US" sz="1200">
                <a:ea typeface="Lato"/>
                <a:cs typeface="Lato"/>
              </a:rPr>
              <a:t>Firmware issues, offline APs, persistently failing clients, coverage holes, insufficient capacity, bad cables, missing VLANs, …</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10A7B0C-41F4-4FE7-8DA5-6ED59D6F41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463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300"/>
              </a:spcBef>
              <a:buNone/>
            </a:pPr>
            <a:endParaRPr lang="en-US" sz="1800" b="1">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r>
              <a:rPr lang="en-US" sz="1800" b="1">
                <a:solidFill>
                  <a:schemeClr val="tx1"/>
                </a:solidFill>
                <a:latin typeface="Lato" panose="020F0502020204030203" pitchFamily="34" charset="0"/>
                <a:ea typeface="Lato" panose="020F0502020204030203" pitchFamily="34" charset="0"/>
                <a:cs typeface="Lato" panose="020F0502020204030203" pitchFamily="34" charset="0"/>
              </a:rPr>
              <a:t>Tim Feedback:</a:t>
            </a: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Business problems. with customer examples. – common problems. Lack of people. human errors, automation lacking..</a:t>
            </a:r>
            <a:r>
              <a:rPr lang="en-US" sz="1800" b="0" err="1">
                <a:solidFill>
                  <a:schemeClr val="tx1"/>
                </a:solidFill>
                <a:latin typeface="Lato" panose="020F0502020204030203" pitchFamily="34" charset="0"/>
                <a:ea typeface="Lato" panose="020F0502020204030203" pitchFamily="34" charset="0"/>
                <a:cs typeface="Lato" panose="020F0502020204030203" pitchFamily="34" charset="0"/>
              </a:rPr>
              <a:t>etc</a:t>
            </a: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turn on Minis – at ServiceNow here is what Minis did. Did it with no intervention.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Typically would have taken – FTE’s, time – therefore – it would have cost time, people, or cost to the business. – how would competitors handle this.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Demo goes into lot more details – Breadth of what you are able to solve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Better Uptime – Saving FTEs –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Included solution.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Connect with the hook – I have the problem – that is the hook.</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Didn’t even have to call Product support.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How to address - AI Washing – You don’t have the data. I am not asking you to solve the problem - does this do it automatically. Don’t ask me for my permission. All about being smarter without requiring users to.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Our outcome is the SLA. Proactive simulation. </a:t>
            </a:r>
          </a:p>
          <a:p>
            <a:pPr marL="0" indent="0">
              <a:spcBef>
                <a:spcPts val="300"/>
              </a:spcBef>
              <a:buNone/>
            </a:pPr>
            <a:r>
              <a:rPr lang="en-US" sz="1800">
                <a:effectLst/>
                <a:latin typeface="Calibri" panose="020F0502020204030204" pitchFamily="34" charset="0"/>
                <a:ea typeface="Calibri" panose="020F0502020204030204" pitchFamily="34" charset="0"/>
                <a:cs typeface="Times New Roman" panose="02020603050405020304" pitchFamily="18" charset="0"/>
              </a:rPr>
              <a:t>- Can I tell Minis to check a certain area (e.g. a building, a set of users)? gave example of directing Minis to validate a new site; [</a:t>
            </a:r>
            <a:r>
              <a:rPr lang="en-US" sz="1800" err="1">
                <a:effectLst/>
                <a:latin typeface="Calibri" panose="020F0502020204030204" pitchFamily="34" charset="0"/>
                <a:ea typeface="Calibri" panose="020F0502020204030204" pitchFamily="34" charset="0"/>
                <a:cs typeface="Times New Roman" panose="02020603050405020304" pitchFamily="18" charset="0"/>
              </a:rPr>
              <a:t>tz</a:t>
            </a:r>
            <a:r>
              <a:rPr lang="en-US" sz="1800">
                <a:effectLst/>
                <a:latin typeface="Calibri" panose="020F0502020204030204" pitchFamily="34" charset="0"/>
                <a:ea typeface="Calibri" panose="020F0502020204030204" pitchFamily="34" charset="0"/>
                <a:cs typeface="Times New Roman" panose="02020603050405020304" pitchFamily="18" charset="0"/>
              </a:rPr>
              <a:t>] I like that, being able to direct Marvis Minis what to validate before users connect</a:t>
            </a: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Did it make something better. </a:t>
            </a:r>
          </a:p>
          <a:p>
            <a:pPr marL="0" indent="0">
              <a:spcBef>
                <a:spcPts val="300"/>
              </a:spcBef>
              <a:buNone/>
            </a:pPr>
            <a:r>
              <a:rPr lang="en-US" sz="1800" b="0">
                <a:solidFill>
                  <a:schemeClr val="tx1"/>
                </a:solidFill>
                <a:latin typeface="Lato" panose="020F0502020204030203" pitchFamily="34" charset="0"/>
                <a:ea typeface="Lato" panose="020F0502020204030203" pitchFamily="34" charset="0"/>
                <a:cs typeface="Lato" panose="020F0502020204030203" pitchFamily="34" charset="0"/>
              </a:rPr>
              <a:t>- 30000 actions, that made x number of networks in the first 3 weeks. </a:t>
            </a: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0">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endParaRPr lang="en-US" sz="1800" b="1">
              <a:solidFill>
                <a:schemeClr val="tx1"/>
              </a:solidFill>
              <a:latin typeface="Lato" panose="020F0502020204030203" pitchFamily="34" charset="0"/>
              <a:ea typeface="Lato" panose="020F0502020204030203" pitchFamily="34" charset="0"/>
              <a:cs typeface="Lato" panose="020F0502020204030203" pitchFamily="34" charset="0"/>
            </a:endParaRPr>
          </a:p>
          <a:p>
            <a:pPr marL="0" indent="0">
              <a:spcBef>
                <a:spcPts val="300"/>
              </a:spcBef>
              <a:buNone/>
            </a:pPr>
            <a:r>
              <a:rPr lang="en-US" sz="1800" b="1">
                <a:solidFill>
                  <a:schemeClr val="tx1"/>
                </a:solidFill>
                <a:latin typeface="Lato" panose="020F0502020204030203" pitchFamily="34" charset="0"/>
                <a:ea typeface="Lato" panose="020F0502020204030203" pitchFamily="34" charset="0"/>
                <a:cs typeface="Lato" panose="020F0502020204030203" pitchFamily="34" charset="0"/>
              </a:rPr>
              <a:t>Marvis Minis</a:t>
            </a:r>
            <a:endParaRPr lang="en-US" sz="110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Marvis Minis create a “digital twin” of users and devices connecting to the wireless network</a:t>
            </a: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Marvis uniquely transforms the network to be predictive, finding and diagnosing issues </a:t>
            </a:r>
            <a:r>
              <a:rPr lang="en-US" sz="1200" u="sng">
                <a:solidFill>
                  <a:schemeClr val="tx1"/>
                </a:solidFill>
                <a:latin typeface="Lato" panose="020F0502020204030203" pitchFamily="34" charset="0"/>
                <a:ea typeface="Lato" panose="020F0502020204030203" pitchFamily="34" charset="0"/>
                <a:cs typeface="Lato" panose="020F0502020204030203" pitchFamily="34" charset="0"/>
              </a:rPr>
              <a:t>before</a:t>
            </a:r>
            <a:r>
              <a:rPr lang="en-US" sz="1200">
                <a:solidFill>
                  <a:schemeClr val="tx1"/>
                </a:solidFill>
                <a:latin typeface="Lato" panose="020F0502020204030203" pitchFamily="34" charset="0"/>
                <a:ea typeface="Lato" panose="020F0502020204030203" pitchFamily="34" charset="0"/>
                <a:cs typeface="Lato" panose="020F0502020204030203" pitchFamily="34" charset="0"/>
              </a:rPr>
              <a:t> users connect</a:t>
            </a: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Continuous and on-demand network experience validation and remediation</a:t>
            </a:r>
            <a:br>
              <a:rPr lang="en-US" sz="1200">
                <a:solidFill>
                  <a:schemeClr val="tx1"/>
                </a:solidFill>
                <a:latin typeface="Lato" panose="020F0502020204030203" pitchFamily="34" charset="0"/>
                <a:ea typeface="Lato" panose="020F0502020204030203" pitchFamily="34" charset="0"/>
                <a:cs typeface="Lato" panose="020F0502020204030203" pitchFamily="34" charset="0"/>
              </a:rPr>
            </a:br>
            <a:br>
              <a:rPr lang="en-US" sz="1200">
                <a:solidFill>
                  <a:schemeClr val="tx1"/>
                </a:solidFill>
                <a:latin typeface="Lato" panose="020F0502020204030203" pitchFamily="34" charset="0"/>
                <a:ea typeface="Lato" panose="020F0502020204030203" pitchFamily="34" charset="0"/>
                <a:cs typeface="Lato" panose="020F0502020204030203" pitchFamily="34" charset="0"/>
              </a:rPr>
            </a:br>
            <a:br>
              <a:rPr lang="en-US" sz="1200">
                <a:solidFill>
                  <a:schemeClr val="tx1"/>
                </a:solidFill>
                <a:latin typeface="Lato" panose="020F0502020204030203" pitchFamily="34" charset="0"/>
                <a:ea typeface="Lato" panose="020F0502020204030203" pitchFamily="34" charset="0"/>
                <a:cs typeface="Lato" panose="020F0502020204030203" pitchFamily="34" charset="0"/>
              </a:rPr>
            </a:br>
            <a:r>
              <a:rPr lang="en-US" sz="1200">
                <a:solidFill>
                  <a:schemeClr val="tx1"/>
                </a:solidFill>
                <a:latin typeface="Lato" panose="020F0502020204030203" pitchFamily="34" charset="0"/>
                <a:ea typeface="Lato" panose="020F0502020204030203" pitchFamily="34" charset="0"/>
                <a:cs typeface="Lato" panose="020F0502020204030203" pitchFamily="34" charset="0"/>
              </a:rPr>
              <a:t>Use Cases:</a:t>
            </a:r>
            <a:br>
              <a:rPr lang="en-US" sz="1200">
                <a:latin typeface="Lato" panose="020F0502020204030203" pitchFamily="34" charset="0"/>
                <a:ea typeface="Lato" panose="020F0502020204030203" pitchFamily="34" charset="0"/>
                <a:cs typeface="Lato" panose="020F0502020204030203" pitchFamily="34" charset="0"/>
              </a:rPr>
            </a:br>
            <a:br>
              <a:rPr lang="en-US" sz="1200">
                <a:latin typeface="Lato" panose="020F0502020204030203" pitchFamily="34" charset="0"/>
                <a:ea typeface="Lato" panose="020F0502020204030203" pitchFamily="34" charset="0"/>
                <a:cs typeface="Lato" panose="020F0502020204030203" pitchFamily="34" charset="0"/>
              </a:rPr>
            </a:br>
            <a:br>
              <a:rPr lang="en-US" sz="1200">
                <a:latin typeface="Lato" panose="020F0502020204030203" pitchFamily="34" charset="0"/>
                <a:ea typeface="Lato" panose="020F0502020204030203" pitchFamily="34" charset="0"/>
                <a:cs typeface="Lato" panose="020F0502020204030203" pitchFamily="34" charset="0"/>
              </a:rPr>
            </a:br>
            <a:r>
              <a:rPr lang="en-US" sz="1200">
                <a:solidFill>
                  <a:schemeClr val="tx1"/>
                </a:solidFill>
                <a:latin typeface="Lato" panose="020F0502020204030203" pitchFamily="34" charset="0"/>
                <a:ea typeface="Lato" panose="020F0502020204030203" pitchFamily="34" charset="0"/>
                <a:cs typeface="Lato" panose="020F0502020204030203" pitchFamily="34" charset="0"/>
              </a:rPr>
              <a:t>Enterprise:</a:t>
            </a:r>
          </a:p>
          <a:p>
            <a:pPr marL="171450" indent="-171450">
              <a:spcBef>
                <a:spcPts val="300"/>
              </a:spcBef>
            </a:pPr>
            <a:endParaRPr lang="en-US" sz="120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Day 2-365 use case of finding existing partial failure.</a:t>
            </a: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Find partial failure of guest or any other specific </a:t>
            </a:r>
            <a:r>
              <a:rPr lang="en-US" sz="1200" err="1">
                <a:solidFill>
                  <a:schemeClr val="tx1"/>
                </a:solidFill>
                <a:latin typeface="Lato" panose="020F0502020204030203" pitchFamily="34" charset="0"/>
                <a:ea typeface="Lato" panose="020F0502020204030203" pitchFamily="34" charset="0"/>
                <a:cs typeface="Lato" panose="020F0502020204030203" pitchFamily="34" charset="0"/>
              </a:rPr>
              <a:t>vlan</a:t>
            </a:r>
            <a:r>
              <a:rPr lang="en-US" sz="1200">
                <a:solidFill>
                  <a:schemeClr val="tx1"/>
                </a:solidFill>
                <a:latin typeface="Lato" panose="020F0502020204030203" pitchFamily="34" charset="0"/>
                <a:ea typeface="Lato" panose="020F0502020204030203" pitchFamily="34" charset="0"/>
                <a:cs typeface="Lato" panose="020F0502020204030203" pitchFamily="34" charset="0"/>
              </a:rPr>
              <a:t> not working</a:t>
            </a:r>
          </a:p>
          <a:p>
            <a:pPr marL="171450" indent="-171450">
              <a:spcBef>
                <a:spcPts val="300"/>
              </a:spcBef>
            </a:pPr>
            <a:endParaRPr lang="en-US" sz="120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Enterprise, Higher Ed, Healthcare:</a:t>
            </a: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Find VLAN like IOT VLAN that is not supposed to be </a:t>
            </a: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enabled on specific APs</a:t>
            </a:r>
          </a:p>
          <a:p>
            <a:pPr marL="171450" indent="-171450">
              <a:spcBef>
                <a:spcPts val="300"/>
              </a:spcBef>
            </a:pPr>
            <a:endParaRPr lang="en-US" sz="120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All: </a:t>
            </a:r>
          </a:p>
          <a:p>
            <a:pPr marL="171450" indent="-171450">
              <a:spcBef>
                <a:spcPts val="300"/>
              </a:spcBef>
            </a:pPr>
            <a:r>
              <a:rPr lang="en-US" sz="1200">
                <a:solidFill>
                  <a:schemeClr val="tx1"/>
                </a:solidFill>
                <a:latin typeface="Lato" panose="020F0502020204030203" pitchFamily="34" charset="0"/>
                <a:ea typeface="Lato" panose="020F0502020204030203" pitchFamily="34" charset="0"/>
                <a:cs typeface="Lato" panose="020F0502020204030203" pitchFamily="34" charset="0"/>
              </a:rPr>
              <a:t>New SITE Bring up validation</a:t>
            </a:r>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10A7B0C-41F4-4FE7-8DA5-6ED59D6F41DA}" type="slidenum">
              <a:rPr kumimoji="0" lang="en-US"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3652342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8662A-D9A0-92DD-5C2F-67AE27F4AD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5DCE08-2405-C963-5B04-A66B264986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6D4684-4F98-2C4A-DF33-ACB5ECAE8AA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E507D3E-43A5-B49C-18F4-B1A177DE7E16}"/>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10A7B0C-41F4-4FE7-8DA5-6ED59D6F41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643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1">
              <a:solidFill>
                <a:srgbClr val="202020"/>
              </a:solidFill>
              <a:ea typeface="Times New Roman" panose="02020603050405020304" pitchFamily="18" charset="0"/>
            </a:endParaRPr>
          </a:p>
          <a:p>
            <a:r>
              <a:rPr lang="en-US" sz="1400" b="1">
                <a:solidFill>
                  <a:srgbClr val="202020"/>
                </a:solidFill>
                <a:ea typeface="Times New Roman" panose="02020603050405020304" pitchFamily="18" charset="0"/>
              </a:rPr>
              <a:t>Came out of Juniper's acquisition of </a:t>
            </a:r>
            <a:r>
              <a:rPr lang="en-US" sz="1400" b="1" err="1">
                <a:solidFill>
                  <a:srgbClr val="202020"/>
                </a:solidFill>
                <a:ea typeface="Times New Roman" panose="02020603050405020304" pitchFamily="18" charset="0"/>
              </a:rPr>
              <a:t>Witesand</a:t>
            </a:r>
            <a:r>
              <a:rPr lang="en-US" sz="1400" b="1">
                <a:solidFill>
                  <a:srgbClr val="202020"/>
                </a:solidFill>
                <a:ea typeface="Times New Roman" panose="02020603050405020304" pitchFamily="18" charset="0"/>
              </a:rPr>
              <a:t>, one of the first companies with a Cloud-based</a:t>
            </a:r>
            <a:r>
              <a:rPr lang="en-US" sz="1400" b="1">
                <a:solidFill>
                  <a:srgbClr val="202020"/>
                </a:solidFill>
                <a:effectLst/>
                <a:ea typeface="Times New Roman" panose="02020603050405020304" pitchFamily="18" charset="0"/>
              </a:rPr>
              <a:t> Network A</a:t>
            </a:r>
            <a:r>
              <a:rPr lang="en-US" sz="1400" b="1">
                <a:solidFill>
                  <a:srgbClr val="202020"/>
                </a:solidFill>
                <a:ea typeface="Times New Roman" panose="02020603050405020304" pitchFamily="18" charset="0"/>
              </a:rPr>
              <a:t>ccess Control (NAC) solution</a:t>
            </a:r>
            <a:endParaRPr lang="en-US" sz="1400" b="1">
              <a:solidFill>
                <a:srgbClr val="202020"/>
              </a:solidFill>
              <a:ea typeface="Lato"/>
              <a:cs typeface="Calibri"/>
            </a:endParaRPr>
          </a:p>
          <a:p>
            <a:r>
              <a:rPr lang="en-US" sz="1400" b="1">
                <a:solidFill>
                  <a:srgbClr val="202020"/>
                </a:solidFill>
                <a:ea typeface="Lato"/>
                <a:cs typeface="Calibri"/>
              </a:rPr>
              <a:t>We pulled this into the Mist framework for full stack network management</a:t>
            </a:r>
            <a:endParaRPr lang="en-US" sz="1400" b="1">
              <a:solidFill>
                <a:srgbClr val="202020"/>
              </a:solidFill>
              <a:ea typeface="Times New Roman" panose="02020603050405020304" pitchFamily="18" charset="0"/>
            </a:endParaRPr>
          </a:p>
          <a:p>
            <a:pPr marL="285750" indent="-285750">
              <a:buFont typeface="Arial"/>
              <a:buChar char="•"/>
            </a:pPr>
            <a:r>
              <a:rPr lang="en-US">
                <a:solidFill>
                  <a:srgbClr val="202020"/>
                </a:solidFill>
                <a:ea typeface="Times New Roman" panose="02020603050405020304" pitchFamily="18" charset="0"/>
              </a:rPr>
              <a:t>Centralized policies for </a:t>
            </a:r>
            <a:r>
              <a:rPr lang="en-US" sz="1200">
                <a:solidFill>
                  <a:srgbClr val="202020"/>
                </a:solidFill>
                <a:effectLst/>
                <a:ea typeface="Times New Roman" panose="02020603050405020304" pitchFamily="18" charset="0"/>
              </a:rPr>
              <a:t>Authentication and </a:t>
            </a:r>
            <a:r>
              <a:rPr lang="en-US">
                <a:solidFill>
                  <a:srgbClr val="202020"/>
                </a:solidFill>
                <a:ea typeface="Times New Roman" panose="02020603050405020304" pitchFamily="18" charset="0"/>
              </a:rPr>
              <a:t>Authorization (AAA) of users &amp; devices</a:t>
            </a:r>
            <a:endParaRPr lang="en-US">
              <a:solidFill>
                <a:srgbClr val="202020"/>
              </a:solidFill>
              <a:ea typeface="Times New Roman" panose="02020603050405020304" pitchFamily="18" charset="0"/>
              <a:cs typeface="Calibri"/>
            </a:endParaRPr>
          </a:p>
          <a:p>
            <a:pPr marL="285750" indent="-285750">
              <a:buFont typeface="Arial"/>
              <a:buChar char="•"/>
            </a:pPr>
            <a:r>
              <a:rPr lang="en-US">
                <a:solidFill>
                  <a:srgbClr val="202020"/>
                </a:solidFill>
                <a:ea typeface="Times New Roman" panose="02020603050405020304" pitchFamily="18" charset="0"/>
              </a:rPr>
              <a:t>Easily assign policies based on User Identity</a:t>
            </a:r>
            <a:endParaRPr lang="en-US">
              <a:solidFill>
                <a:srgbClr val="202020"/>
              </a:solidFill>
              <a:ea typeface="Times New Roman" panose="02020603050405020304" pitchFamily="18" charset="0"/>
              <a:cs typeface="Calibri"/>
            </a:endParaRPr>
          </a:p>
          <a:p>
            <a:pPr marL="285750" indent="-285750">
              <a:buFont typeface="Arial"/>
              <a:buChar char="•"/>
            </a:pPr>
            <a:r>
              <a:rPr lang="en-US">
                <a:solidFill>
                  <a:srgbClr val="202020"/>
                </a:solidFill>
                <a:ea typeface="Lato"/>
                <a:cs typeface="Calibri"/>
              </a:rPr>
              <a:t>Expands from Juniper Mist IoT Assurance for a complete NAC offering</a:t>
            </a:r>
          </a:p>
          <a:p>
            <a:r>
              <a:rPr lang="en-US" sz="1400" b="1">
                <a:solidFill>
                  <a:srgbClr val="202020"/>
                </a:solidFill>
                <a:ea typeface="Times New Roman" panose="02020603050405020304" pitchFamily="18" charset="0"/>
              </a:rPr>
              <a:t>Easy-to-use workflows</a:t>
            </a:r>
            <a:endParaRPr lang="en-US" sz="1400" b="1">
              <a:solidFill>
                <a:srgbClr val="202020"/>
              </a:solidFill>
            </a:endParaRPr>
          </a:p>
          <a:p>
            <a:pPr marL="285750" indent="-285750">
              <a:buFont typeface="Arial"/>
              <a:buChar char="•"/>
            </a:pPr>
            <a:r>
              <a:rPr lang="en-US">
                <a:solidFill>
                  <a:srgbClr val="202020"/>
                </a:solidFill>
                <a:ea typeface="Times New Roman" panose="02020603050405020304" pitchFamily="18" charset="0"/>
              </a:rPr>
              <a:t>Simple policy creation and enforcement</a:t>
            </a:r>
            <a:endParaRPr lang="en-US">
              <a:solidFill>
                <a:srgbClr val="202020"/>
              </a:solidFill>
              <a:ea typeface="Lato"/>
            </a:endParaRPr>
          </a:p>
          <a:p>
            <a:pPr marL="285750" indent="-285750">
              <a:buFont typeface="Arial"/>
              <a:buChar char="•"/>
            </a:pPr>
            <a:r>
              <a:rPr lang="en-US">
                <a:solidFill>
                  <a:srgbClr val="202020"/>
                </a:solidFill>
                <a:ea typeface="Times New Roman" panose="02020603050405020304" pitchFamily="18" charset="0"/>
              </a:rPr>
              <a:t>Troubleshooting for connected users/devices driven by Mist AI</a:t>
            </a:r>
            <a:endParaRPr lang="en-US">
              <a:solidFill>
                <a:srgbClr val="202020"/>
              </a:solidFill>
              <a:ea typeface="Times New Roman" panose="02020603050405020304" pitchFamily="18" charset="0"/>
              <a:cs typeface="Calibri"/>
            </a:endParaRPr>
          </a:p>
          <a:p>
            <a:r>
              <a:rPr lang="en-US" sz="1400" b="1">
                <a:solidFill>
                  <a:srgbClr val="202020"/>
                </a:solidFill>
                <a:ea typeface="Times New Roman" panose="02020603050405020304" pitchFamily="18" charset="0"/>
              </a:rPr>
              <a:t>Redundancy and High-Availability built-in </a:t>
            </a:r>
            <a:endParaRPr lang="en-US" sz="1400" b="1">
              <a:solidFill>
                <a:srgbClr val="202020"/>
              </a:solidFill>
            </a:endParaRPr>
          </a:p>
          <a:p>
            <a:pPr marL="285750" indent="-285750">
              <a:buFont typeface="Arial"/>
              <a:buChar char="•"/>
            </a:pPr>
            <a:r>
              <a:rPr lang="en-US">
                <a:solidFill>
                  <a:srgbClr val="202020"/>
                </a:solidFill>
                <a:ea typeface="Times New Roman" panose="02020603050405020304" pitchFamily="18" charset="0"/>
              </a:rPr>
              <a:t>Multiple cloud instances, add agility and scale with the Mist Cloud</a:t>
            </a:r>
            <a:endParaRPr lang="en-US">
              <a:solidFill>
                <a:srgbClr val="202020"/>
              </a:solidFill>
              <a:ea typeface="Times New Roman" panose="02020603050405020304" pitchFamily="18" charset="0"/>
              <a:cs typeface="Calibri"/>
            </a:endParaRPr>
          </a:p>
          <a:p>
            <a:pPr marL="285750" indent="-285750">
              <a:buFont typeface="Arial"/>
              <a:buChar char="•"/>
            </a:pPr>
            <a:r>
              <a:rPr lang="en-US">
                <a:solidFill>
                  <a:srgbClr val="202020"/>
                </a:solidFill>
                <a:ea typeface="Lato"/>
                <a:cs typeface="Calibri"/>
              </a:rPr>
              <a:t>Optimized Latency for multi-site deployments</a:t>
            </a:r>
          </a:p>
          <a:p>
            <a:r>
              <a:rPr lang="en-US" sz="1400" b="1" i="0">
                <a:solidFill>
                  <a:srgbClr val="202020"/>
                </a:solidFill>
                <a:effectLst/>
              </a:rPr>
              <a:t>Optimized day 0/1/2 operations</a:t>
            </a:r>
            <a:endParaRPr lang="en-US" sz="1400" b="1">
              <a:solidFill>
                <a:srgbClr val="202020"/>
              </a:solidFill>
              <a:cs typeface="Calibri"/>
            </a:endParaRPr>
          </a:p>
          <a:p>
            <a:pPr marL="285750" indent="-285750">
              <a:buFont typeface="Arial"/>
              <a:buChar char="•"/>
            </a:pPr>
            <a:r>
              <a:rPr lang="en-US" sz="1200" b="0" i="0">
                <a:solidFill>
                  <a:srgbClr val="202020"/>
                </a:solidFill>
                <a:effectLst/>
              </a:rPr>
              <a:t>Unified </a:t>
            </a:r>
            <a:r>
              <a:rPr lang="en-US">
                <a:solidFill>
                  <a:srgbClr val="202020"/>
                </a:solidFill>
              </a:rPr>
              <a:t>Mist management</a:t>
            </a:r>
            <a:r>
              <a:rPr lang="en-US" sz="1200" b="0" i="0">
                <a:solidFill>
                  <a:srgbClr val="202020"/>
                </a:solidFill>
                <a:effectLst/>
              </a:rPr>
              <a:t> experience for IT operations across the full stack</a:t>
            </a:r>
            <a:endParaRPr lang="en-US" sz="1200" b="0" i="0">
              <a:solidFill>
                <a:srgbClr val="202020"/>
              </a:solidFill>
              <a:effectLst/>
              <a:cs typeface="Calibri"/>
            </a:endParaRPr>
          </a:p>
          <a:p>
            <a:pPr marL="285750" indent="-285750">
              <a:buFont typeface="Arial"/>
              <a:buChar char="•"/>
            </a:pPr>
            <a:r>
              <a:rPr lang="en-US">
                <a:solidFill>
                  <a:srgbClr val="202020"/>
                </a:solidFill>
                <a:ea typeface="Times New Roman" panose="02020603050405020304" pitchFamily="18" charset="0"/>
                <a:cs typeface="Calibri"/>
              </a:rPr>
              <a:t>All connection/auth events captured in Juniper Mist SLEs</a:t>
            </a:r>
            <a:endParaRPr lang="en-US" sz="1200">
              <a:solidFill>
                <a:srgbClr val="202020"/>
              </a:solidFill>
              <a:effectLst/>
              <a:ea typeface="Times New Roman" panose="02020603050405020304" pitchFamily="18" charset="0"/>
              <a:cs typeface="Calibri"/>
            </a:endParaRPr>
          </a:p>
        </p:txBody>
      </p:sp>
      <p:sp>
        <p:nvSpPr>
          <p:cNvPr id="4" name="Slide Number Placeholder 3"/>
          <p:cNvSpPr>
            <a:spLocks noGrp="1"/>
          </p:cNvSpPr>
          <p:nvPr>
            <p:ph type="sldNum" sz="quarter" idx="5"/>
          </p:nvPr>
        </p:nvSpPr>
        <p:spPr/>
        <p:txBody>
          <a:bodyPr/>
          <a:lstStyle/>
          <a:p>
            <a:fld id="{E10A7B0C-41F4-4FE7-8DA5-6ED59D6F41DA}" type="slidenum">
              <a:rPr lang="en-US" smtClean="0"/>
              <a:t>11</a:t>
            </a:fld>
            <a:endParaRPr lang="en-US"/>
          </a:p>
        </p:txBody>
      </p:sp>
    </p:spTree>
    <p:extLst>
      <p:ext uri="{BB962C8B-B14F-4D97-AF65-F5344CB8AC3E}">
        <p14:creationId xmlns:p14="http://schemas.microsoft.com/office/powerpoint/2010/main" val="2412774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l" defTabSz="914377" rtl="0" eaLnBrk="1" fontAlgn="auto" latinLnBrk="0" hangingPunct="1">
              <a:lnSpc>
                <a:spcPct val="95000"/>
              </a:lnSpc>
              <a:spcBef>
                <a:spcPts val="0"/>
              </a:spcBef>
              <a:spcAft>
                <a:spcPts val="600"/>
              </a:spcAft>
              <a:buClr>
                <a:srgbClr val="414141"/>
              </a:buClr>
              <a:buSzTx/>
              <a:tabLst/>
              <a:defRPr/>
            </a:pPr>
            <a:r>
              <a:rPr lang="en-US" sz="1050" b="1">
                <a:solidFill>
                  <a:srgbClr val="414141"/>
                </a:solidFill>
                <a:latin typeface="Lato"/>
              </a:rPr>
              <a:t>Micro-Services based Cloud NAC Offering</a:t>
            </a: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lang="en-US" sz="1050">
                <a:solidFill>
                  <a:srgbClr val="414141"/>
                </a:solidFill>
                <a:latin typeface="Lato"/>
              </a:rPr>
              <a:t>Highly available &amp; scalable</a:t>
            </a: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lang="en-US" sz="1050" b="0">
                <a:solidFill>
                  <a:srgbClr val="414141"/>
                </a:solidFill>
                <a:latin typeface="Lato"/>
              </a:rPr>
              <a:t>Multiple instances of assurance cloud for redundancy and low latency</a:t>
            </a:r>
            <a:endParaRPr lang="en-US" sz="1050">
              <a:solidFill>
                <a:srgbClr val="414141"/>
              </a:solidFill>
              <a:latin typeface="Lato"/>
              <a:ea typeface="Lato"/>
              <a:cs typeface="Lato"/>
            </a:endParaRP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kumimoji="0" lang="en-US" sz="1050" b="0" i="0" u="none" strike="noStrike" kern="1200" cap="none" spc="0" normalizeH="0" baseline="0" noProof="0">
                <a:ln>
                  <a:noFill/>
                </a:ln>
                <a:solidFill>
                  <a:srgbClr val="414141"/>
                </a:solidFill>
                <a:effectLst/>
                <a:uLnTx/>
                <a:uFillTx/>
                <a:latin typeface="Lato"/>
              </a:rPr>
              <a:t>Bi</a:t>
            </a:r>
            <a:r>
              <a:rPr lang="en-US" sz="1050">
                <a:solidFill>
                  <a:srgbClr val="414141"/>
                </a:solidFill>
                <a:latin typeface="Lato"/>
              </a:rPr>
              <a:t>-weekly feature upgrades</a:t>
            </a:r>
            <a:endParaRPr lang="en-US" sz="1050">
              <a:solidFill>
                <a:srgbClr val="414141"/>
              </a:solidFill>
              <a:latin typeface="Lato"/>
              <a:ea typeface="Lato"/>
              <a:cs typeface="Lato"/>
            </a:endParaRP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kumimoji="0" lang="en-US" sz="1050" b="0" i="0" u="none" strike="noStrike" kern="1200" cap="none" spc="0" normalizeH="0" baseline="0" noProof="0">
                <a:ln>
                  <a:noFill/>
                </a:ln>
                <a:solidFill>
                  <a:srgbClr val="414141"/>
                </a:solidFill>
                <a:effectLst/>
                <a:uLnTx/>
                <a:uFillTx/>
                <a:latin typeface="Lato"/>
              </a:rPr>
              <a:t>API cross-platform integration</a:t>
            </a:r>
            <a:endParaRPr lang="en-US" sz="1050" b="0" i="0" u="none" strike="noStrike" kern="1200" cap="none" spc="0" normalizeH="0" baseline="0" noProof="0">
              <a:ln>
                <a:noFill/>
              </a:ln>
              <a:solidFill>
                <a:srgbClr val="414141"/>
              </a:solidFill>
              <a:effectLst/>
              <a:uLnTx/>
              <a:uFillTx/>
              <a:latin typeface="Lato"/>
              <a:ea typeface="Lato"/>
              <a:cs typeface="Lato"/>
            </a:endParaRPr>
          </a:p>
          <a:p>
            <a:pPr marR="0" lvl="0" algn="l" defTabSz="914377" rtl="0" eaLnBrk="1" fontAlgn="auto" latinLnBrk="0" hangingPunct="1">
              <a:lnSpc>
                <a:spcPct val="95000"/>
              </a:lnSpc>
              <a:spcBef>
                <a:spcPts val="0"/>
              </a:spcBef>
              <a:spcAft>
                <a:spcPts val="600"/>
              </a:spcAft>
              <a:buClr>
                <a:srgbClr val="414141"/>
              </a:buClr>
              <a:buSzTx/>
              <a:tabLst/>
              <a:defRPr/>
            </a:pPr>
            <a:r>
              <a:rPr kumimoji="0" lang="en-US" sz="1050" b="1" i="0" u="none" strike="noStrike" kern="1200" cap="none" spc="0" normalizeH="0" baseline="0" noProof="0">
                <a:ln>
                  <a:noFill/>
                </a:ln>
                <a:solidFill>
                  <a:srgbClr val="414141"/>
                </a:solidFill>
                <a:effectLst/>
                <a:uLnTx/>
                <a:uFillTx/>
                <a:latin typeface="Lato"/>
              </a:rPr>
              <a:t>Ind</a:t>
            </a:r>
            <a:r>
              <a:rPr lang="en-US" sz="1050" b="1" err="1">
                <a:solidFill>
                  <a:srgbClr val="414141"/>
                </a:solidFill>
                <a:latin typeface="Lato"/>
              </a:rPr>
              <a:t>ustry</a:t>
            </a:r>
            <a:r>
              <a:rPr lang="en-US" sz="1050" b="1">
                <a:solidFill>
                  <a:srgbClr val="414141"/>
                </a:solidFill>
                <a:latin typeface="Lato"/>
              </a:rPr>
              <a:t>-first AI-powered operations</a:t>
            </a: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kumimoji="0" lang="en-US" sz="1050" b="0" i="0" u="none" strike="noStrike" kern="1200" cap="none" spc="0" normalizeH="0" baseline="0" noProof="0">
                <a:ln>
                  <a:noFill/>
                </a:ln>
                <a:solidFill>
                  <a:srgbClr val="414141"/>
                </a:solidFill>
                <a:effectLst/>
                <a:uLnTx/>
                <a:uFillTx/>
                <a:latin typeface="Lato"/>
              </a:rPr>
              <a:t>End-to-end user connectivity experience visibility </a:t>
            </a:r>
            <a:r>
              <a:rPr lang="en-US" sz="1050">
                <a:solidFill>
                  <a:srgbClr val="414141"/>
                </a:solidFill>
                <a:latin typeface="Lato"/>
              </a:rPr>
              <a:t>a</a:t>
            </a:r>
            <a:r>
              <a:rPr kumimoji="0" lang="en-US" sz="1050" b="0" i="0" u="none" strike="noStrike" kern="1200" cap="none" spc="0" normalizeH="0" baseline="0" noProof="0">
                <a:ln>
                  <a:noFill/>
                </a:ln>
                <a:solidFill>
                  <a:srgbClr val="414141"/>
                </a:solidFill>
                <a:effectLst/>
                <a:uLnTx/>
                <a:uFillTx/>
                <a:latin typeface="Lato"/>
              </a:rPr>
              <a:t>cross </a:t>
            </a:r>
            <a:r>
              <a:rPr lang="en-US" sz="1050">
                <a:solidFill>
                  <a:srgbClr val="414141"/>
                </a:solidFill>
                <a:latin typeface="Lato"/>
              </a:rPr>
              <a:t>the stack</a:t>
            </a:r>
          </a:p>
          <a:p>
            <a:pPr marR="0" lvl="0" algn="l" defTabSz="914377" rtl="0" eaLnBrk="1" fontAlgn="auto" latinLnBrk="0" hangingPunct="1">
              <a:lnSpc>
                <a:spcPct val="95000"/>
              </a:lnSpc>
              <a:spcBef>
                <a:spcPts val="0"/>
              </a:spcBef>
              <a:spcAft>
                <a:spcPts val="600"/>
              </a:spcAft>
              <a:buClr>
                <a:srgbClr val="414141"/>
              </a:buClr>
              <a:buSzTx/>
              <a:tabLst/>
              <a:defRPr/>
            </a:pPr>
            <a:r>
              <a:rPr lang="en-US" sz="1050" b="1">
                <a:solidFill>
                  <a:srgbClr val="414141"/>
                </a:solidFill>
                <a:latin typeface="Lato"/>
              </a:rPr>
              <a:t>IT-friendly day 0-2 operations</a:t>
            </a: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lang="en-US" sz="1050">
                <a:solidFill>
                  <a:srgbClr val="414141"/>
                </a:solidFill>
                <a:latin typeface="Lato"/>
              </a:rPr>
              <a:t>Single pane of glass full stack ops - Wired / Wireless / SD-WAN / NAC</a:t>
            </a: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lang="en-US" sz="1050">
                <a:solidFill>
                  <a:srgbClr val="414141"/>
                </a:solidFill>
                <a:latin typeface="Lato"/>
              </a:rPr>
              <a:t>Flexible yet simple network access policies</a:t>
            </a:r>
          </a:p>
          <a:p>
            <a:pPr marL="342900" marR="0" lvl="0" indent="-342900" algn="l" defTabSz="914377" rtl="0" eaLnBrk="1" fontAlgn="auto" latinLnBrk="0" hangingPunct="1">
              <a:lnSpc>
                <a:spcPct val="95000"/>
              </a:lnSpc>
              <a:spcBef>
                <a:spcPts val="0"/>
              </a:spcBef>
              <a:spcAft>
                <a:spcPts val="600"/>
              </a:spcAft>
              <a:buClr>
                <a:srgbClr val="414141"/>
              </a:buClr>
              <a:buSzTx/>
              <a:buFont typeface="Arial" panose="020B0604020202020204" pitchFamily="34" charset="0"/>
              <a:buChar char="•"/>
              <a:tabLst/>
              <a:defRPr/>
            </a:pPr>
            <a:r>
              <a:rPr kumimoji="0" lang="en-US" sz="1050" b="0" i="0" u="none" strike="noStrike" kern="1200" cap="none" spc="0" normalizeH="0" baseline="0" noProof="0">
                <a:ln>
                  <a:noFill/>
                </a:ln>
                <a:solidFill>
                  <a:srgbClr val="414141"/>
                </a:solidFill>
                <a:effectLst/>
                <a:uLnTx/>
                <a:uFillTx/>
                <a:latin typeface="Lato"/>
              </a:rPr>
              <a:t>Automated network device provisioning</a:t>
            </a:r>
          </a:p>
          <a:p>
            <a:pPr marR="0" lvl="0" algn="l" defTabSz="914377" rtl="0" eaLnBrk="1" fontAlgn="auto" latinLnBrk="0" hangingPunct="1">
              <a:lnSpc>
                <a:spcPct val="95000"/>
              </a:lnSpc>
              <a:spcBef>
                <a:spcPts val="0"/>
              </a:spcBef>
              <a:spcAft>
                <a:spcPts val="600"/>
              </a:spcAft>
              <a:buClr>
                <a:srgbClr val="414141"/>
              </a:buClr>
              <a:buSzTx/>
              <a:tabLst/>
              <a:defRPr/>
            </a:pPr>
            <a:r>
              <a:rPr lang="en-US" sz="1050" b="1">
                <a:solidFill>
                  <a:srgbClr val="414141"/>
                </a:solidFill>
                <a:latin typeface="Lato"/>
              </a:rPr>
              <a:t>AP/Switch and Cloud Interaction - RadSec over EAP-TLS</a:t>
            </a:r>
          </a:p>
          <a:p>
            <a:endParaRPr lang="en-US" sz="1000"/>
          </a:p>
          <a:p>
            <a:r>
              <a:rPr lang="en-US" sz="1000"/>
              <a:t>Notes:</a:t>
            </a:r>
          </a:p>
          <a:p>
            <a:pPr marL="228600" indent="-228600">
              <a:buFont typeface="+mj-lt"/>
              <a:buAutoNum type="arabicPeriod"/>
            </a:pPr>
            <a:r>
              <a:rPr lang="en-US" sz="1000"/>
              <a:t>EAP-MSCHAPv2 against Active Directory requires an Active Directory integrated RADIUS server. 3</a:t>
            </a:r>
            <a:r>
              <a:rPr lang="en-US" sz="1000" baseline="30000"/>
              <a:t>rd</a:t>
            </a:r>
            <a:r>
              <a:rPr lang="en-US" sz="1000"/>
              <a:t> party RADIUS servers such as ISE or ClearPass typically implement NTLM.</a:t>
            </a:r>
          </a:p>
          <a:p>
            <a:pPr marL="228600" indent="-228600">
              <a:buFont typeface="+mj-lt"/>
              <a:buAutoNum type="arabicPeriod"/>
            </a:pPr>
            <a:r>
              <a:rPr lang="en-US" sz="1000"/>
              <a:t>EAP type options are more limited with LDAP due to LDAP only supporting PAP/CHAP authentications. </a:t>
            </a:r>
          </a:p>
          <a:p>
            <a:pPr marL="228600" indent="-228600">
              <a:buFont typeface="+mj-lt"/>
              <a:buAutoNum type="arabicPeriod"/>
            </a:pPr>
            <a:r>
              <a:rPr lang="en-US" sz="1000"/>
              <a:t>Cloud hosted RADIUS servers have similar limit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0A7B0C-41F4-4FE7-8DA5-6ED59D6F41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8285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defRPr/>
            </a:pPr>
            <a:r>
              <a:rPr lang="en-US" b="1"/>
              <a:t>Our intent is to propagate AIOPs across the entire network</a:t>
            </a:r>
            <a:endParaRPr lang="en-US" b="1">
              <a:cs typeface="Calibri"/>
            </a:endParaRPr>
          </a:p>
          <a:p>
            <a:pPr>
              <a:defRPr/>
            </a:pPr>
            <a:endParaRPr lang="en-US" b="1">
              <a:cs typeface="Calibri"/>
            </a:endParaRPr>
          </a:p>
          <a:p>
            <a:pPr marL="0" indent="0">
              <a:buFont typeface="Arial"/>
              <a:buNone/>
              <a:defRPr/>
            </a:pPr>
            <a:r>
              <a:rPr lang="en-US" b="1"/>
              <a:t>This means every domain</a:t>
            </a:r>
            <a:endParaRPr lang="en-US" b="1">
              <a:cs typeface="Calibri"/>
            </a:endParaRPr>
          </a:p>
          <a:p>
            <a:pPr>
              <a:defRPr/>
            </a:pPr>
            <a:endParaRPr lang="en-US"/>
          </a:p>
          <a:p>
            <a:pPr marL="0" indent="0">
              <a:buFont typeface="Arial"/>
              <a:buNone/>
              <a:defRPr/>
            </a:pPr>
            <a:r>
              <a:rPr lang="en-US"/>
              <a:t>From...</a:t>
            </a:r>
            <a:endParaRPr lang="en-US">
              <a:cs typeface="Calibri"/>
            </a:endParaRPr>
          </a:p>
          <a:p>
            <a:pPr marL="171450" indent="-171450">
              <a:buFont typeface="Arial" panose="020B0604020202020204" pitchFamily="34" charset="0"/>
              <a:buChar char="•"/>
              <a:defRPr/>
            </a:pPr>
            <a:r>
              <a:rPr lang="en-US"/>
              <a:t>Transforming the NG Campus and Branch </a:t>
            </a:r>
            <a:r>
              <a:rPr lang="en-US" u="sng"/>
              <a:t>where you will see us in 1H '24 take self-driving and optimization capabilities to new heights with integrated synthetic testing. </a:t>
            </a:r>
            <a:endParaRPr lang="en-US" u="sng">
              <a:cs typeface="Calibri"/>
            </a:endParaRPr>
          </a:p>
          <a:p>
            <a:pPr marL="171450" indent="-171450">
              <a:buFont typeface="Arial" panose="020B0604020202020204" pitchFamily="34" charset="0"/>
              <a:buChar char="•"/>
              <a:defRPr/>
            </a:pPr>
            <a:r>
              <a:rPr lang="en-US"/>
              <a:t>To modernizing the Data Center. </a:t>
            </a:r>
            <a:r>
              <a:rPr lang="en-US" u="sng"/>
              <a:t>Again, in 1H ‘24 you will see the first VNA for AIOPs across critical use cases for both campus and branch </a:t>
            </a:r>
            <a:r>
              <a:rPr lang="en-US" i="1" u="sng"/>
              <a:t>and </a:t>
            </a:r>
            <a:r>
              <a:rPr lang="en-US" u="sng"/>
              <a:t>data center.. </a:t>
            </a:r>
            <a:endParaRPr lang="en-US" u="sng">
              <a:cs typeface="Calibri"/>
            </a:endParaRPr>
          </a:p>
          <a:p>
            <a:pPr marL="171450" indent="-171450">
              <a:buFont typeface="Arial" panose="020B0604020202020204" pitchFamily="34" charset="0"/>
              <a:buChar char="•"/>
              <a:defRPr/>
            </a:pPr>
            <a:r>
              <a:rPr lang="en-US"/>
              <a:t>To scaling and automating the WAN</a:t>
            </a:r>
            <a:endParaRPr lang="en-US">
              <a:cs typeface="Calibri"/>
            </a:endParaRPr>
          </a:p>
          <a:p>
            <a:pPr>
              <a:defRPr/>
            </a:pPr>
            <a:endParaRPr lang="en-US">
              <a:cs typeface="Calibri"/>
            </a:endParaRPr>
          </a:p>
          <a:p>
            <a:pPr>
              <a:defRPr/>
            </a:pPr>
            <a:r>
              <a:rPr lang="en-US"/>
              <a:t>There are several important ways that we clearly differentiate ourselves from the competition</a:t>
            </a:r>
            <a:endParaRPr lang="en-US">
              <a:cs typeface="Calibri"/>
            </a:endParaRPr>
          </a:p>
          <a:p>
            <a:pPr>
              <a:defRPr/>
            </a:pPr>
            <a:endParaRPr lang="en-US"/>
          </a:p>
          <a:p>
            <a:pPr marL="285750" indent="-285750">
              <a:buFont typeface="Arial"/>
              <a:buChar char="•"/>
              <a:defRPr/>
            </a:pPr>
            <a:r>
              <a:rPr lang="en-US"/>
              <a:t>First, we had the foresight years ago to build our products in a way that allows us to extract rich network data </a:t>
            </a:r>
            <a:endParaRPr lang="en-US">
              <a:cs typeface="Calibri"/>
            </a:endParaRPr>
          </a:p>
          <a:p>
            <a:pPr marL="742950" lvl="1" indent="-285750">
              <a:buFont typeface="Courier New"/>
              <a:buChar char="o"/>
              <a:defRPr/>
            </a:pPr>
            <a:r>
              <a:rPr lang="en-US"/>
              <a:t>And we’ve been learning for years</a:t>
            </a:r>
            <a:endParaRPr lang="en-US">
              <a:cs typeface="Calibri"/>
            </a:endParaRPr>
          </a:p>
          <a:p>
            <a:pPr indent="-285750">
              <a:buFont typeface="Arial"/>
              <a:buChar char="•"/>
              <a:defRPr/>
            </a:pPr>
            <a:r>
              <a:rPr lang="en-US"/>
              <a:t>It would take anyone years to catch up to us just by virtue of how long it will take to learn as much as we (and Marvis) have been learning</a:t>
            </a:r>
            <a:endParaRPr lang="en-US">
              <a:cs typeface="Calibri"/>
            </a:endParaRPr>
          </a:p>
          <a:p>
            <a:pPr marL="285750" indent="-285750">
              <a:buFont typeface="Arial"/>
              <a:buChar char="•"/>
              <a:defRPr/>
            </a:pPr>
            <a:r>
              <a:rPr lang="en-US"/>
              <a:t>And we’re now extending the AI-native platform across more and more domains</a:t>
            </a:r>
            <a:endParaRPr lang="en-US">
              <a:cs typeface="Calibri"/>
            </a:endParaRPr>
          </a:p>
          <a:p>
            <a:pPr marL="285750" indent="-285750">
              <a:buFont typeface="Arial"/>
              <a:buChar char="•"/>
              <a:defRPr/>
            </a:pPr>
            <a:endParaRPr lang="en-US"/>
          </a:p>
          <a:p>
            <a:pPr marL="285750" indent="-285750">
              <a:buFont typeface="Arial"/>
              <a:buChar char="•"/>
              <a:defRPr/>
            </a:pPr>
            <a:r>
              <a:rPr lang="en-US"/>
              <a:t>In so doing, creating powerful flywheel effects: more domains -&gt; more data -&gt; more learning -&gt; more value to our customers -&gt; more data</a:t>
            </a:r>
            <a:endParaRPr lang="en-US">
              <a:cs typeface="Calibri"/>
            </a:endParaRPr>
          </a:p>
          <a:p>
            <a:pPr marL="285750" indent="-285750">
              <a:buFont typeface="Arial"/>
              <a:buChar char="•"/>
              <a:defRPr/>
            </a:pPr>
            <a:r>
              <a:rPr lang="en-US"/>
              <a:t>What we have today is awesome.</a:t>
            </a:r>
            <a:endParaRPr lang="en-US">
              <a:cs typeface="Calibri"/>
            </a:endParaRPr>
          </a:p>
          <a:p>
            <a:pPr marL="285750" indent="-285750">
              <a:buFont typeface="Arial"/>
              <a:buChar char="•"/>
              <a:defRPr/>
            </a:pPr>
            <a:r>
              <a:rPr lang="en-US"/>
              <a:t>But it’s just the tip of the iceberg.</a:t>
            </a:r>
            <a:endParaRPr lang="en-US" u="sng">
              <a:cs typeface="Calibri"/>
            </a:endParaRPr>
          </a:p>
          <a:p>
            <a:pPr marL="285750" indent="-285750">
              <a:buFont typeface="Arial"/>
              <a:buChar char="•"/>
              <a:defRPr/>
            </a:pPr>
            <a:r>
              <a:rPr lang="en-US"/>
              <a:t>We are very excited about what’s to come</a:t>
            </a:r>
            <a:endParaRPr lang="en-US">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US" sz="1200">
              <a:cs typeface="Calibri"/>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8366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9.svg"/><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9.svg"/><Relationship Id="rId7" Type="http://schemas.openxmlformats.org/officeDocument/2006/relationships/image" Target="../media/image35.svg"/><Relationship Id="rId12" Type="http://schemas.openxmlformats.org/officeDocument/2006/relationships/image" Target="../media/image24.png"/><Relationship Id="rId17" Type="http://schemas.openxmlformats.org/officeDocument/2006/relationships/image" Target="../media/image37.svg"/><Relationship Id="rId2" Type="http://schemas.openxmlformats.org/officeDocument/2006/relationships/image" Target="../media/image18.png"/><Relationship Id="rId16" Type="http://schemas.openxmlformats.org/officeDocument/2006/relationships/image" Target="../media/image36.png"/><Relationship Id="rId1" Type="http://schemas.openxmlformats.org/officeDocument/2006/relationships/slideMaster" Target="../slideMasters/slideMaster2.xml"/><Relationship Id="rId6" Type="http://schemas.openxmlformats.org/officeDocument/2006/relationships/image" Target="../media/image34.png"/><Relationship Id="rId11" Type="http://schemas.openxmlformats.org/officeDocument/2006/relationships/image" Target="../media/image23.svg"/><Relationship Id="rId5" Type="http://schemas.openxmlformats.org/officeDocument/2006/relationships/image" Target="../media/image33.svg"/><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32.png"/><Relationship Id="rId9" Type="http://schemas.openxmlformats.org/officeDocument/2006/relationships/image" Target="../media/image21.svg"/><Relationship Id="rId14" Type="http://schemas.openxmlformats.org/officeDocument/2006/relationships/image" Target="../media/image26.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9.svg"/><Relationship Id="rId7" Type="http://schemas.openxmlformats.org/officeDocument/2006/relationships/image" Target="../media/image35.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34.pn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9.svg"/><Relationship Id="rId7" Type="http://schemas.openxmlformats.org/officeDocument/2006/relationships/image" Target="../media/image34.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1.pn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9.svg"/><Relationship Id="rId7" Type="http://schemas.openxmlformats.org/officeDocument/2006/relationships/image" Target="../media/image34.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2.jpe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44.svg"/><Relationship Id="rId7" Type="http://schemas.openxmlformats.org/officeDocument/2006/relationships/image" Target="../media/image34.png"/><Relationship Id="rId2" Type="http://schemas.openxmlformats.org/officeDocument/2006/relationships/image" Target="../media/image43.png"/><Relationship Id="rId1" Type="http://schemas.openxmlformats.org/officeDocument/2006/relationships/slideMaster" Target="../slideMasters/slideMaster2.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49.svg"/><Relationship Id="rId7" Type="http://schemas.openxmlformats.org/officeDocument/2006/relationships/image" Target="../media/image34.png"/><Relationship Id="rId2" Type="http://schemas.openxmlformats.org/officeDocument/2006/relationships/image" Target="../media/image48.png"/><Relationship Id="rId1" Type="http://schemas.openxmlformats.org/officeDocument/2006/relationships/slideMaster" Target="../slideMasters/slideMaster2.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54.svg"/><Relationship Id="rId7" Type="http://schemas.openxmlformats.org/officeDocument/2006/relationships/image" Target="../media/image34.png"/><Relationship Id="rId2"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55.pn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7.svg"/><Relationship Id="rId7" Type="http://schemas.openxmlformats.org/officeDocument/2006/relationships/image" Target="../media/image59.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58.png"/><Relationship Id="rId5" Type="http://schemas.openxmlformats.org/officeDocument/2006/relationships/image" Target="../media/image35.svg"/><Relationship Id="rId4" Type="http://schemas.openxmlformats.org/officeDocument/2006/relationships/image" Target="../media/image34.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7.svg"/><Relationship Id="rId7" Type="http://schemas.openxmlformats.org/officeDocument/2006/relationships/image" Target="../media/image59.svg"/><Relationship Id="rId2" Type="http://schemas.openxmlformats.org/officeDocument/2006/relationships/image" Target="../media/image56.png"/><Relationship Id="rId1" Type="http://schemas.openxmlformats.org/officeDocument/2006/relationships/slideMaster" Target="../slideMasters/slideMaster2.xml"/><Relationship Id="rId6" Type="http://schemas.openxmlformats.org/officeDocument/2006/relationships/image" Target="../media/image58.png"/><Relationship Id="rId5" Type="http://schemas.openxmlformats.org/officeDocument/2006/relationships/image" Target="../media/image35.svg"/><Relationship Id="rId4" Type="http://schemas.openxmlformats.org/officeDocument/2006/relationships/image" Target="../media/image34.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9.sv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63.svg"/><Relationship Id="rId2" Type="http://schemas.openxmlformats.org/officeDocument/2006/relationships/image" Target="../media/image18.png"/><Relationship Id="rId16" Type="http://schemas.openxmlformats.org/officeDocument/2006/relationships/image" Target="../media/image62.png"/><Relationship Id="rId1" Type="http://schemas.openxmlformats.org/officeDocument/2006/relationships/slideMaster" Target="../slideMasters/slideMaster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2.xml"/><Relationship Id="rId4" Type="http://schemas.openxmlformats.org/officeDocument/2006/relationships/image" Target="../media/image66.sv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67.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8.jpeg"/><Relationship Id="rId1" Type="http://schemas.openxmlformats.org/officeDocument/2006/relationships/slideMaster" Target="../slideMasters/slideMaster2.xml"/><Relationship Id="rId4" Type="http://schemas.openxmlformats.org/officeDocument/2006/relationships/image" Target="../media/image66.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72.svg"/><Relationship Id="rId4" Type="http://schemas.openxmlformats.org/officeDocument/2006/relationships/image" Target="../media/image7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4.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1.png"/><Relationship Id="rId5" Type="http://schemas.openxmlformats.org/officeDocument/2006/relationships/image" Target="../media/image84.svg"/><Relationship Id="rId4" Type="http://schemas.openxmlformats.org/officeDocument/2006/relationships/image" Target="../media/image8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87.png"/><Relationship Id="rId1" Type="http://schemas.openxmlformats.org/officeDocument/2006/relationships/slideMaster" Target="../slideMasters/slideMaster4.xml"/><Relationship Id="rId4" Type="http://schemas.openxmlformats.org/officeDocument/2006/relationships/image" Target="../media/image88.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5" name="Picture 4" descr="A black and white striped background&#10;&#10;Description automatically generated">
            <a:extLst>
              <a:ext uri="{FF2B5EF4-FFF2-40B4-BE49-F238E27FC236}">
                <a16:creationId xmlns:a16="http://schemas.microsoft.com/office/drawing/2014/main" id="{B6CC623A-2DDF-4CB8-BA3A-17E88CC2A6F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0" name="Subtitle 2">
            <a:extLst>
              <a:ext uri="{FF2B5EF4-FFF2-40B4-BE49-F238E27FC236}">
                <a16:creationId xmlns:a16="http://schemas.microsoft.com/office/drawing/2014/main" id="{EAFAD90D-3BB0-8175-1916-26854D70F953}"/>
              </a:ext>
            </a:extLst>
          </p:cNvPr>
          <p:cNvSpPr>
            <a:spLocks noGrp="1"/>
          </p:cNvSpPr>
          <p:nvPr>
            <p:ph type="subTitle" idx="1" hasCustomPrompt="1"/>
          </p:nvPr>
        </p:nvSpPr>
        <p:spPr>
          <a:xfrm>
            <a:off x="666854" y="3301049"/>
            <a:ext cx="5180542" cy="365760"/>
          </a:xfrm>
        </p:spPr>
        <p:txBody>
          <a:bodyPr>
            <a:noAutofit/>
          </a:bodyPr>
          <a:lstStyle>
            <a:lvl1pPr marL="0" indent="0" algn="l">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21" name="Text Placeholder 12">
            <a:extLst>
              <a:ext uri="{FF2B5EF4-FFF2-40B4-BE49-F238E27FC236}">
                <a16:creationId xmlns:a16="http://schemas.microsoft.com/office/drawing/2014/main" id="{50BFDAFA-55E2-4309-6CFA-F6137F022B90}"/>
              </a:ext>
            </a:extLst>
          </p:cNvPr>
          <p:cNvSpPr>
            <a:spLocks noGrp="1"/>
          </p:cNvSpPr>
          <p:nvPr>
            <p:ph type="body" sz="quarter" idx="10" hasCustomPrompt="1"/>
          </p:nvPr>
        </p:nvSpPr>
        <p:spPr>
          <a:xfrm>
            <a:off x="666854" y="3728635"/>
            <a:ext cx="5180542" cy="365760"/>
          </a:xfrm>
        </p:spPr>
        <p:txBody>
          <a:bodyPr>
            <a:noAutofit/>
          </a:bodyPr>
          <a:lstStyle>
            <a:lvl1pPr marL="0" indent="0">
              <a:buNone/>
              <a:defRPr sz="2000">
                <a:solidFill>
                  <a:schemeClr val="tx1"/>
                </a:solidFill>
              </a:defRPr>
            </a:lvl1pPr>
            <a:lvl2pPr marL="346075" indent="0">
              <a:buNone/>
              <a:defRPr/>
            </a:lvl2pPr>
          </a:lstStyle>
          <a:p>
            <a:pPr lvl="0"/>
            <a:r>
              <a:rPr lang="en-US"/>
              <a:t>Click to edit presenter’s position</a:t>
            </a:r>
          </a:p>
        </p:txBody>
      </p:sp>
      <p:pic>
        <p:nvPicPr>
          <p:cNvPr id="31" name="Picture 30">
            <a:extLst>
              <a:ext uri="{FF2B5EF4-FFF2-40B4-BE49-F238E27FC236}">
                <a16:creationId xmlns:a16="http://schemas.microsoft.com/office/drawing/2014/main" id="{10EE13BA-A156-2078-A3E5-EADB37AB25F5}"/>
              </a:ext>
            </a:extLst>
          </p:cNvPr>
          <p:cNvPicPr>
            <a:picLocks noChangeAspect="1"/>
          </p:cNvPicPr>
          <p:nvPr userDrawn="1"/>
        </p:nvPicPr>
        <p:blipFill rotWithShape="1">
          <a:blip r:embed="rId3"/>
          <a:srcRect l="2032" t="1" r="16121" b="22024"/>
          <a:stretch/>
        </p:blipFill>
        <p:spPr>
          <a:xfrm>
            <a:off x="6698402" y="1827709"/>
            <a:ext cx="5493598" cy="5030292"/>
          </a:xfrm>
          <a:prstGeom prst="rect">
            <a:avLst/>
          </a:prstGeom>
          <a:effectLst/>
        </p:spPr>
      </p:pic>
      <p:sp>
        <p:nvSpPr>
          <p:cNvPr id="30" name="TextBox 29">
            <a:extLst>
              <a:ext uri="{FF2B5EF4-FFF2-40B4-BE49-F238E27FC236}">
                <a16:creationId xmlns:a16="http://schemas.microsoft.com/office/drawing/2014/main" id="{69580556-AE23-77F3-90D7-4F9BB9A22352}"/>
              </a:ext>
            </a:extLst>
          </p:cNvPr>
          <p:cNvSpPr txBox="1"/>
          <p:nvPr userDrawn="1"/>
        </p:nvSpPr>
        <p:spPr>
          <a:xfrm>
            <a:off x="11011521" y="6668277"/>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sp>
        <p:nvSpPr>
          <p:cNvPr id="19" name="Title 1">
            <a:extLst>
              <a:ext uri="{FF2B5EF4-FFF2-40B4-BE49-F238E27FC236}">
                <a16:creationId xmlns:a16="http://schemas.microsoft.com/office/drawing/2014/main" id="{866031FC-F32B-A17C-186A-69D627E7D985}"/>
              </a:ext>
            </a:extLst>
          </p:cNvPr>
          <p:cNvSpPr>
            <a:spLocks noGrp="1"/>
          </p:cNvSpPr>
          <p:nvPr>
            <p:ph type="ctrTitle" hasCustomPrompt="1"/>
          </p:nvPr>
        </p:nvSpPr>
        <p:spPr>
          <a:xfrm>
            <a:off x="666854" y="868363"/>
            <a:ext cx="7257946" cy="2141537"/>
          </a:xfrm>
        </p:spPr>
        <p:txBody>
          <a:bodyPr anchor="b" anchorCtr="0">
            <a:noAutofit/>
          </a:bodyPr>
          <a:lstStyle>
            <a:lvl1pPr algn="l">
              <a:defRPr sz="4800" cap="none" baseline="0">
                <a:solidFill>
                  <a:schemeClr val="tx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p>
        </p:txBody>
      </p:sp>
      <p:pic>
        <p:nvPicPr>
          <p:cNvPr id="24" name="Graphic 23">
            <a:extLst>
              <a:ext uri="{FF2B5EF4-FFF2-40B4-BE49-F238E27FC236}">
                <a16:creationId xmlns:a16="http://schemas.microsoft.com/office/drawing/2014/main" id="{F2A34C0A-94A3-05DF-290B-67AF6442F9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00696" y="5895146"/>
            <a:ext cx="2160458" cy="654948"/>
          </a:xfrm>
          <a:prstGeom prst="rect">
            <a:avLst/>
          </a:prstGeom>
        </p:spPr>
      </p:pic>
    </p:spTree>
    <p:extLst>
      <p:ext uri="{BB962C8B-B14F-4D97-AF65-F5344CB8AC3E}">
        <p14:creationId xmlns:p14="http://schemas.microsoft.com/office/powerpoint/2010/main" val="3397757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tment">
    <p:bg>
      <p:bgRef idx="1001">
        <a:schemeClr val="bg1"/>
      </p:bgRef>
    </p:bg>
    <p:spTree>
      <p:nvGrpSpPr>
        <p:cNvPr id="1" name=""/>
        <p:cNvGrpSpPr/>
        <p:nvPr/>
      </p:nvGrpSpPr>
      <p:grpSpPr>
        <a:xfrm>
          <a:off x="0" y="0"/>
          <a:ext cx="0" cy="0"/>
          <a:chOff x="0" y="0"/>
          <a:chExt cx="0" cy="0"/>
        </a:xfrm>
      </p:grpSpPr>
      <p:pic>
        <p:nvPicPr>
          <p:cNvPr id="2" name="Picture 1" descr="A green and yellow circles&#10;&#10;Description automatically generated">
            <a:extLst>
              <a:ext uri="{FF2B5EF4-FFF2-40B4-BE49-F238E27FC236}">
                <a16:creationId xmlns:a16="http://schemas.microsoft.com/office/drawing/2014/main" id="{C4AF6F40-6102-9379-6850-A4C72B3BB304}"/>
              </a:ext>
            </a:extLst>
          </p:cNvPr>
          <p:cNvPicPr>
            <a:picLocks noChangeAspect="1"/>
          </p:cNvPicPr>
          <p:nvPr userDrawn="1"/>
        </p:nvPicPr>
        <p:blipFill rotWithShape="1">
          <a:blip r:embed="rId2"/>
          <a:srcRect t="2" r="14874" b="22875"/>
          <a:stretch/>
        </p:blipFill>
        <p:spPr>
          <a:xfrm>
            <a:off x="6619875" y="1809687"/>
            <a:ext cx="5572125" cy="5048313"/>
          </a:xfrm>
          <a:prstGeom prst="rect">
            <a:avLst/>
          </a:prstGeom>
        </p:spPr>
      </p:pic>
    </p:spTree>
    <p:extLst>
      <p:ext uri="{BB962C8B-B14F-4D97-AF65-F5344CB8AC3E}">
        <p14:creationId xmlns:p14="http://schemas.microsoft.com/office/powerpoint/2010/main" val="485863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487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00193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Sub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6">
            <a:extLst>
              <a:ext uri="{FF2B5EF4-FFF2-40B4-BE49-F238E27FC236}">
                <a16:creationId xmlns:a16="http://schemas.microsoft.com/office/drawing/2014/main" id="{B2E72ABD-7529-456D-97E2-F470CB60CC20}"/>
              </a:ext>
            </a:extLst>
          </p:cNvPr>
          <p:cNvSpPr>
            <a:spLocks noGrp="1"/>
          </p:cNvSpPr>
          <p:nvPr>
            <p:ph type="body" sz="quarter" idx="13" hasCustomPrompt="1"/>
          </p:nvPr>
        </p:nvSpPr>
        <p:spPr>
          <a:xfrm>
            <a:off x="621595" y="1324159"/>
            <a:ext cx="11277716" cy="460439"/>
          </a:xfrm>
        </p:spPr>
        <p:txBody>
          <a:bodyPr/>
          <a:lstStyle>
            <a:lvl1pPr marL="0" indent="0">
              <a:buNone/>
              <a:defRPr sz="2000" b="1">
                <a:solidFill>
                  <a:schemeClr val="tx1"/>
                </a:solidFill>
                <a:latin typeface="+mn-lt"/>
              </a:defRPr>
            </a:lvl1pPr>
          </a:lstStyle>
          <a:p>
            <a:pPr lvl="0"/>
            <a:r>
              <a:rPr lang="en-US"/>
              <a:t>Edit Master subtitle styles</a:t>
            </a:r>
          </a:p>
        </p:txBody>
      </p:sp>
    </p:spTree>
    <p:extLst>
      <p:ext uri="{BB962C8B-B14F-4D97-AF65-F5344CB8AC3E}">
        <p14:creationId xmlns:p14="http://schemas.microsoft.com/office/powerpoint/2010/main" val="1155811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650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1985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itle Centere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573121" y="125771"/>
            <a:ext cx="11071242" cy="1064051"/>
          </a:xfrm>
        </p:spPr>
        <p:txBody>
          <a:bodyPr/>
          <a:lstStyle>
            <a:lvl1pPr algn="ctr">
              <a:defRPr sz="3600"/>
            </a:lvl1pPr>
          </a:lstStyle>
          <a:p>
            <a:r>
              <a:rPr lang="en-US"/>
              <a:t>Click to edit Master title style</a:t>
            </a:r>
          </a:p>
        </p:txBody>
      </p:sp>
    </p:spTree>
    <p:extLst>
      <p:ext uri="{BB962C8B-B14F-4D97-AF65-F5344CB8AC3E}">
        <p14:creationId xmlns:p14="http://schemas.microsoft.com/office/powerpoint/2010/main" val="15423223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216D4F13-D3A7-AA72-87F8-F7F1333C62F6}"/>
              </a:ext>
            </a:extLst>
          </p:cNvPr>
          <p:cNvSpPr>
            <a:spLocks noGrp="1"/>
          </p:cNvSpPr>
          <p:nvPr>
            <p:ph type="body" sz="quarter" idx="11"/>
          </p:nvPr>
        </p:nvSpPr>
        <p:spPr>
          <a:xfrm>
            <a:off x="592138" y="1435396"/>
            <a:ext cx="11103676" cy="2892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230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Title and Sub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604010" y="125771"/>
            <a:ext cx="5953543" cy="1064051"/>
          </a:xfrm>
        </p:spPr>
        <p:txBody>
          <a:bodyPr/>
          <a:lstStyle>
            <a:lvl1pPr>
              <a:defRPr sz="2800"/>
            </a:lvl1pPr>
          </a:lstStyle>
          <a:p>
            <a:r>
              <a:rPr lang="en-US"/>
              <a:t>Click to edit Master title style</a:t>
            </a:r>
          </a:p>
        </p:txBody>
      </p:sp>
      <p:sp>
        <p:nvSpPr>
          <p:cNvPr id="8" name="Text Placeholder 6">
            <a:extLst>
              <a:ext uri="{FF2B5EF4-FFF2-40B4-BE49-F238E27FC236}">
                <a16:creationId xmlns:a16="http://schemas.microsoft.com/office/drawing/2014/main" id="{B2E72ABD-7529-456D-97E2-F470CB60CC20}"/>
              </a:ext>
            </a:extLst>
          </p:cNvPr>
          <p:cNvSpPr>
            <a:spLocks noGrp="1"/>
          </p:cNvSpPr>
          <p:nvPr>
            <p:ph type="body" sz="quarter" idx="13" hasCustomPrompt="1"/>
          </p:nvPr>
        </p:nvSpPr>
        <p:spPr>
          <a:xfrm>
            <a:off x="609482" y="1264988"/>
            <a:ext cx="5974197" cy="786550"/>
          </a:xfrm>
        </p:spPr>
        <p:txBody>
          <a:bodyPr/>
          <a:lstStyle>
            <a:lvl1pPr marL="0" indent="0">
              <a:buNone/>
              <a:defRPr sz="1400" b="0">
                <a:solidFill>
                  <a:schemeClr val="tx1"/>
                </a:solidFill>
                <a:latin typeface="+mn-lt"/>
              </a:defRPr>
            </a:lvl1pPr>
          </a:lstStyle>
          <a:p>
            <a:pPr lvl="0"/>
            <a:r>
              <a:rPr lang="en-US"/>
              <a:t>Edit Master subtitle styles</a:t>
            </a:r>
          </a:p>
        </p:txBody>
      </p:sp>
    </p:spTree>
    <p:extLst>
      <p:ext uri="{BB962C8B-B14F-4D97-AF65-F5344CB8AC3E}">
        <p14:creationId xmlns:p14="http://schemas.microsoft.com/office/powerpoint/2010/main" val="256758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green title centere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791209" y="347472"/>
            <a:ext cx="10606534" cy="545458"/>
          </a:xfrm>
        </p:spPr>
        <p:txBody>
          <a:bodyPr/>
          <a:lstStyle>
            <a:lvl1pPr algn="ctr">
              <a:defRPr sz="2800">
                <a:solidFill>
                  <a:schemeClr val="accent1"/>
                </a:solidFill>
              </a:defRPr>
            </a:lvl1pPr>
          </a:lstStyle>
          <a:p>
            <a:r>
              <a:rPr lang="en-US"/>
              <a:t>Click to edit Master title style</a:t>
            </a:r>
          </a:p>
        </p:txBody>
      </p:sp>
      <p:sp>
        <p:nvSpPr>
          <p:cNvPr id="8" name="Text Placeholder 6">
            <a:extLst>
              <a:ext uri="{FF2B5EF4-FFF2-40B4-BE49-F238E27FC236}">
                <a16:creationId xmlns:a16="http://schemas.microsoft.com/office/drawing/2014/main" id="{B2E72ABD-7529-456D-97E2-F470CB60CC20}"/>
              </a:ext>
            </a:extLst>
          </p:cNvPr>
          <p:cNvSpPr>
            <a:spLocks noGrp="1"/>
          </p:cNvSpPr>
          <p:nvPr>
            <p:ph type="body" sz="quarter" idx="13" hasCustomPrompt="1"/>
          </p:nvPr>
        </p:nvSpPr>
        <p:spPr>
          <a:xfrm>
            <a:off x="785919" y="921823"/>
            <a:ext cx="10617114" cy="553998"/>
          </a:xfrm>
        </p:spPr>
        <p:txBody>
          <a:bodyPr wrap="square" tIns="0" rIns="0" bIns="0">
            <a:spAutoFit/>
          </a:bodyPr>
          <a:lstStyle>
            <a:lvl1pPr marL="0" indent="0" algn="ctr">
              <a:lnSpc>
                <a:spcPct val="100000"/>
              </a:lnSpc>
              <a:spcBef>
                <a:spcPts val="0"/>
              </a:spcBef>
              <a:buNone/>
              <a:defRPr sz="3600" b="1">
                <a:solidFill>
                  <a:schemeClr val="tx1"/>
                </a:solidFill>
                <a:latin typeface="+mn-lt"/>
              </a:defRPr>
            </a:lvl1pPr>
          </a:lstStyle>
          <a:p>
            <a:pPr lvl="0"/>
            <a:r>
              <a:rPr lang="en-US"/>
              <a:t>Edit Master subtitle styles</a:t>
            </a:r>
          </a:p>
        </p:txBody>
      </p:sp>
    </p:spTree>
    <p:extLst>
      <p:ext uri="{BB962C8B-B14F-4D97-AF65-F5344CB8AC3E}">
        <p14:creationId xmlns:p14="http://schemas.microsoft.com/office/powerpoint/2010/main" val="1699017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CC623A-2DDF-4CB8-BA3A-17E88CC2A6F7}"/>
              </a:ext>
            </a:extLst>
          </p:cNvPr>
          <p:cNvPicPr>
            <a:picLocks noChangeAspect="1"/>
          </p:cNvPicPr>
          <p:nvPr userDrawn="1"/>
        </p:nvPicPr>
        <p:blipFill>
          <a:blip r:embed="rId2"/>
          <a:srcRect/>
          <a:stretch/>
        </p:blipFill>
        <p:spPr>
          <a:xfrm>
            <a:off x="0" y="0"/>
            <a:ext cx="12192000" cy="6858000"/>
          </a:xfrm>
          <a:prstGeom prst="rect">
            <a:avLst/>
          </a:prstGeom>
        </p:spPr>
      </p:pic>
      <p:sp>
        <p:nvSpPr>
          <p:cNvPr id="20" name="Subtitle 2">
            <a:extLst>
              <a:ext uri="{FF2B5EF4-FFF2-40B4-BE49-F238E27FC236}">
                <a16:creationId xmlns:a16="http://schemas.microsoft.com/office/drawing/2014/main" id="{EAFAD90D-3BB0-8175-1916-26854D70F953}"/>
              </a:ext>
            </a:extLst>
          </p:cNvPr>
          <p:cNvSpPr>
            <a:spLocks noGrp="1"/>
          </p:cNvSpPr>
          <p:nvPr>
            <p:ph type="subTitle" idx="1" hasCustomPrompt="1"/>
          </p:nvPr>
        </p:nvSpPr>
        <p:spPr>
          <a:xfrm>
            <a:off x="666854" y="3301049"/>
            <a:ext cx="5180542" cy="365760"/>
          </a:xfrm>
        </p:spPr>
        <p:txBody>
          <a:bodyPr>
            <a:noAutofit/>
          </a:bodyPr>
          <a:lstStyle>
            <a:lvl1pPr marL="0" indent="0" algn="l">
              <a:buNone/>
              <a:defRPr sz="2400" b="1">
                <a:solidFill>
                  <a:srgbClr val="FFFFF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21" name="Text Placeholder 12">
            <a:extLst>
              <a:ext uri="{FF2B5EF4-FFF2-40B4-BE49-F238E27FC236}">
                <a16:creationId xmlns:a16="http://schemas.microsoft.com/office/drawing/2014/main" id="{50BFDAFA-55E2-4309-6CFA-F6137F022B90}"/>
              </a:ext>
            </a:extLst>
          </p:cNvPr>
          <p:cNvSpPr>
            <a:spLocks noGrp="1"/>
          </p:cNvSpPr>
          <p:nvPr>
            <p:ph type="body" sz="quarter" idx="10" hasCustomPrompt="1"/>
          </p:nvPr>
        </p:nvSpPr>
        <p:spPr>
          <a:xfrm>
            <a:off x="666854" y="3728635"/>
            <a:ext cx="5180542" cy="365760"/>
          </a:xfrm>
        </p:spPr>
        <p:txBody>
          <a:bodyPr>
            <a:noAutofit/>
          </a:bodyPr>
          <a:lstStyle>
            <a:lvl1pPr marL="0" indent="0">
              <a:buNone/>
              <a:defRPr sz="2000">
                <a:solidFill>
                  <a:srgbClr val="FFFFFE"/>
                </a:solidFill>
              </a:defRPr>
            </a:lvl1pPr>
            <a:lvl2pPr marL="346075" indent="0">
              <a:buNone/>
              <a:defRPr/>
            </a:lvl2pPr>
          </a:lstStyle>
          <a:p>
            <a:pPr lvl="0"/>
            <a:r>
              <a:rPr lang="en-US"/>
              <a:t>Click to edit presenter’s position</a:t>
            </a:r>
          </a:p>
        </p:txBody>
      </p:sp>
      <p:pic>
        <p:nvPicPr>
          <p:cNvPr id="31" name="Picture 30">
            <a:extLst>
              <a:ext uri="{FF2B5EF4-FFF2-40B4-BE49-F238E27FC236}">
                <a16:creationId xmlns:a16="http://schemas.microsoft.com/office/drawing/2014/main" id="{10EE13BA-A156-2078-A3E5-EADB37AB25F5}"/>
              </a:ext>
            </a:extLst>
          </p:cNvPr>
          <p:cNvPicPr>
            <a:picLocks noChangeAspect="1"/>
          </p:cNvPicPr>
          <p:nvPr userDrawn="1"/>
        </p:nvPicPr>
        <p:blipFill rotWithShape="1">
          <a:blip r:embed="rId3"/>
          <a:srcRect l="2032" t="1" r="16121" b="22024"/>
          <a:stretch/>
        </p:blipFill>
        <p:spPr>
          <a:xfrm>
            <a:off x="6698402" y="1827709"/>
            <a:ext cx="5493598" cy="5030292"/>
          </a:xfrm>
          <a:prstGeom prst="rect">
            <a:avLst/>
          </a:prstGeom>
          <a:effectLst/>
        </p:spPr>
      </p:pic>
      <p:sp>
        <p:nvSpPr>
          <p:cNvPr id="30" name="TextBox 29">
            <a:extLst>
              <a:ext uri="{FF2B5EF4-FFF2-40B4-BE49-F238E27FC236}">
                <a16:creationId xmlns:a16="http://schemas.microsoft.com/office/drawing/2014/main" id="{69580556-AE23-77F3-90D7-4F9BB9A22352}"/>
              </a:ext>
            </a:extLst>
          </p:cNvPr>
          <p:cNvSpPr txBox="1"/>
          <p:nvPr userDrawn="1"/>
        </p:nvSpPr>
        <p:spPr>
          <a:xfrm>
            <a:off x="11011521" y="6668277"/>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sp>
        <p:nvSpPr>
          <p:cNvPr id="19" name="Title 1">
            <a:extLst>
              <a:ext uri="{FF2B5EF4-FFF2-40B4-BE49-F238E27FC236}">
                <a16:creationId xmlns:a16="http://schemas.microsoft.com/office/drawing/2014/main" id="{866031FC-F32B-A17C-186A-69D627E7D985}"/>
              </a:ext>
            </a:extLst>
          </p:cNvPr>
          <p:cNvSpPr>
            <a:spLocks noGrp="1"/>
          </p:cNvSpPr>
          <p:nvPr>
            <p:ph type="ctrTitle" hasCustomPrompt="1"/>
          </p:nvPr>
        </p:nvSpPr>
        <p:spPr>
          <a:xfrm>
            <a:off x="666854" y="868363"/>
            <a:ext cx="7257946" cy="2141537"/>
          </a:xfrm>
        </p:spPr>
        <p:txBody>
          <a:bodyPr anchor="b" anchorCtr="0">
            <a:noAutofit/>
          </a:bodyPr>
          <a:lstStyle>
            <a:lvl1pPr algn="l">
              <a:defRPr sz="4800" cap="none" baseline="0">
                <a:solidFill>
                  <a:srgbClr val="FFFFFE"/>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p>
        </p:txBody>
      </p:sp>
      <p:grpSp>
        <p:nvGrpSpPr>
          <p:cNvPr id="44" name="Group 43">
            <a:extLst>
              <a:ext uri="{FF2B5EF4-FFF2-40B4-BE49-F238E27FC236}">
                <a16:creationId xmlns:a16="http://schemas.microsoft.com/office/drawing/2014/main" id="{B3772512-9592-DA59-E369-6883B2FCCC6E}"/>
              </a:ext>
            </a:extLst>
          </p:cNvPr>
          <p:cNvGrpSpPr/>
          <p:nvPr userDrawn="1"/>
        </p:nvGrpSpPr>
        <p:grpSpPr>
          <a:xfrm>
            <a:off x="669743" y="6178033"/>
            <a:ext cx="1267120" cy="348093"/>
            <a:chOff x="1855788" y="3378201"/>
            <a:chExt cx="3709987" cy="1019175"/>
          </a:xfrm>
          <a:solidFill>
            <a:srgbClr val="FFFFFE"/>
          </a:solidFill>
        </p:grpSpPr>
        <p:sp>
          <p:nvSpPr>
            <p:cNvPr id="45" name="Freeform 5">
              <a:extLst>
                <a:ext uri="{FF2B5EF4-FFF2-40B4-BE49-F238E27FC236}">
                  <a16:creationId xmlns:a16="http://schemas.microsoft.com/office/drawing/2014/main" id="{16AFF57A-7C01-C9AF-6076-8A4708B78EE9}"/>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6" name="Freeform 6">
              <a:extLst>
                <a:ext uri="{FF2B5EF4-FFF2-40B4-BE49-F238E27FC236}">
                  <a16:creationId xmlns:a16="http://schemas.microsoft.com/office/drawing/2014/main" id="{1A7EDAC2-850B-F36F-4EC3-F20BA13520D7}"/>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7" name="Freeform 7">
              <a:extLst>
                <a:ext uri="{FF2B5EF4-FFF2-40B4-BE49-F238E27FC236}">
                  <a16:creationId xmlns:a16="http://schemas.microsoft.com/office/drawing/2014/main" id="{9EE29FC6-3F65-E10E-DD9C-88BF35E3C359}"/>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8" name="Freeform 8">
              <a:extLst>
                <a:ext uri="{FF2B5EF4-FFF2-40B4-BE49-F238E27FC236}">
                  <a16:creationId xmlns:a16="http://schemas.microsoft.com/office/drawing/2014/main" id="{76A2248E-2DB3-80C3-72FC-801D94BE7766}"/>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9" name="Freeform 9">
              <a:extLst>
                <a:ext uri="{FF2B5EF4-FFF2-40B4-BE49-F238E27FC236}">
                  <a16:creationId xmlns:a16="http://schemas.microsoft.com/office/drawing/2014/main" id="{851E7B05-C144-D459-AB0F-18CB3F3327BF}"/>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0" name="Freeform 10">
              <a:extLst>
                <a:ext uri="{FF2B5EF4-FFF2-40B4-BE49-F238E27FC236}">
                  <a16:creationId xmlns:a16="http://schemas.microsoft.com/office/drawing/2014/main" id="{F1237A5A-4999-EBDA-EC43-FCBBA0208F93}"/>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1" name="Freeform 11">
              <a:extLst>
                <a:ext uri="{FF2B5EF4-FFF2-40B4-BE49-F238E27FC236}">
                  <a16:creationId xmlns:a16="http://schemas.microsoft.com/office/drawing/2014/main" id="{B50720E6-DE43-6676-41C6-BD3327D1B26F}"/>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2" name="Freeform 12">
              <a:extLst>
                <a:ext uri="{FF2B5EF4-FFF2-40B4-BE49-F238E27FC236}">
                  <a16:creationId xmlns:a16="http://schemas.microsoft.com/office/drawing/2014/main" id="{376D3E23-16DD-CDB6-067C-2E14EBDAB791}"/>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3" name="Freeform 13">
              <a:extLst>
                <a:ext uri="{FF2B5EF4-FFF2-40B4-BE49-F238E27FC236}">
                  <a16:creationId xmlns:a16="http://schemas.microsoft.com/office/drawing/2014/main" id="{20016463-D46F-6B33-6637-4FD811F0F6F7}"/>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4" name="Freeform 14">
              <a:extLst>
                <a:ext uri="{FF2B5EF4-FFF2-40B4-BE49-F238E27FC236}">
                  <a16:creationId xmlns:a16="http://schemas.microsoft.com/office/drawing/2014/main" id="{D8E45AFC-95C2-ECE7-C8AA-5A76804E91F9}"/>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5" name="Freeform 15">
              <a:extLst>
                <a:ext uri="{FF2B5EF4-FFF2-40B4-BE49-F238E27FC236}">
                  <a16:creationId xmlns:a16="http://schemas.microsoft.com/office/drawing/2014/main" id="{0B6EB691-2356-4E6D-317A-DF9A8B58DD73}"/>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6" name="Rectangle 16">
              <a:extLst>
                <a:ext uri="{FF2B5EF4-FFF2-40B4-BE49-F238E27FC236}">
                  <a16:creationId xmlns:a16="http://schemas.microsoft.com/office/drawing/2014/main" id="{EA1275D6-DAC5-E21D-DACA-BC7F0423C3FA}"/>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7" name="Freeform 17">
              <a:extLst>
                <a:ext uri="{FF2B5EF4-FFF2-40B4-BE49-F238E27FC236}">
                  <a16:creationId xmlns:a16="http://schemas.microsoft.com/office/drawing/2014/main" id="{5F1062E0-9CFB-5D56-D505-A33E8BDFE862}"/>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8" name="Freeform 18">
              <a:extLst>
                <a:ext uri="{FF2B5EF4-FFF2-40B4-BE49-F238E27FC236}">
                  <a16:creationId xmlns:a16="http://schemas.microsoft.com/office/drawing/2014/main" id="{83D879A6-579E-4408-3160-553FCB0C4C15}"/>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9" name="Freeform 19">
              <a:extLst>
                <a:ext uri="{FF2B5EF4-FFF2-40B4-BE49-F238E27FC236}">
                  <a16:creationId xmlns:a16="http://schemas.microsoft.com/office/drawing/2014/main" id="{1B6EA606-D3D9-3C77-BF94-0E1BE7AF449E}"/>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0" name="Freeform 20">
              <a:extLst>
                <a:ext uri="{FF2B5EF4-FFF2-40B4-BE49-F238E27FC236}">
                  <a16:creationId xmlns:a16="http://schemas.microsoft.com/office/drawing/2014/main" id="{B90A367C-0D09-710E-ED03-B696EA70D8A4}"/>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1" name="Freeform 21">
              <a:extLst>
                <a:ext uri="{FF2B5EF4-FFF2-40B4-BE49-F238E27FC236}">
                  <a16:creationId xmlns:a16="http://schemas.microsoft.com/office/drawing/2014/main" id="{D793B88D-4F4F-C5B7-1F7B-46156B79F581}"/>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1744845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exture Black">
    <p:bg>
      <p:bgRef idx="1001">
        <a:schemeClr val="bg1"/>
      </p:bgRef>
    </p:bg>
    <p:spTree>
      <p:nvGrpSpPr>
        <p:cNvPr id="1" name=""/>
        <p:cNvGrpSpPr/>
        <p:nvPr/>
      </p:nvGrpSpPr>
      <p:grpSpPr>
        <a:xfrm>
          <a:off x="0" y="0"/>
          <a:ext cx="0" cy="0"/>
          <a:chOff x="0" y="0"/>
          <a:chExt cx="0" cy="0"/>
        </a:xfrm>
      </p:grpSpPr>
      <p:pic>
        <p:nvPicPr>
          <p:cNvPr id="7" name="Picture 6" descr="A black and white striped background&#10;&#10;Description automatically generated">
            <a:extLst>
              <a:ext uri="{FF2B5EF4-FFF2-40B4-BE49-F238E27FC236}">
                <a16:creationId xmlns:a16="http://schemas.microsoft.com/office/drawing/2014/main" id="{C9BD7566-9DA2-45FE-6FD2-BF3ED7E8726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92001991-2FA1-FB79-C2F6-11DF292F3E9E}"/>
              </a:ext>
            </a:extLst>
          </p:cNvPr>
          <p:cNvSpPr txBox="1"/>
          <p:nvPr userDrawn="1"/>
        </p:nvSpPr>
        <p:spPr>
          <a:xfrm>
            <a:off x="603497" y="6695171"/>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grpSp>
        <p:nvGrpSpPr>
          <p:cNvPr id="10" name="Group 9">
            <a:extLst>
              <a:ext uri="{FF2B5EF4-FFF2-40B4-BE49-F238E27FC236}">
                <a16:creationId xmlns:a16="http://schemas.microsoft.com/office/drawing/2014/main" id="{0421961B-0D43-8CC1-9D7D-DE79BDB147F5}"/>
              </a:ext>
            </a:extLst>
          </p:cNvPr>
          <p:cNvGrpSpPr/>
          <p:nvPr userDrawn="1"/>
        </p:nvGrpSpPr>
        <p:grpSpPr>
          <a:xfrm>
            <a:off x="10842866" y="6524864"/>
            <a:ext cx="867564" cy="238330"/>
            <a:chOff x="1855788" y="3378201"/>
            <a:chExt cx="3709987" cy="1019175"/>
          </a:xfrm>
          <a:solidFill>
            <a:schemeClr val="tx1"/>
          </a:solidFill>
        </p:grpSpPr>
        <p:sp>
          <p:nvSpPr>
            <p:cNvPr id="11" name="Freeform 5">
              <a:extLst>
                <a:ext uri="{FF2B5EF4-FFF2-40B4-BE49-F238E27FC236}">
                  <a16:creationId xmlns:a16="http://schemas.microsoft.com/office/drawing/2014/main" id="{5C8F86F1-4E10-931A-EEF4-EEB0D21F3484}"/>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2" name="Freeform 6">
              <a:extLst>
                <a:ext uri="{FF2B5EF4-FFF2-40B4-BE49-F238E27FC236}">
                  <a16:creationId xmlns:a16="http://schemas.microsoft.com/office/drawing/2014/main" id="{AB789384-12D3-B903-1E69-83A081C89E80}"/>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3" name="Freeform 7">
              <a:extLst>
                <a:ext uri="{FF2B5EF4-FFF2-40B4-BE49-F238E27FC236}">
                  <a16:creationId xmlns:a16="http://schemas.microsoft.com/office/drawing/2014/main" id="{6935B190-FCE6-D07E-7C57-E374134A4513}"/>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4" name="Freeform 8">
              <a:extLst>
                <a:ext uri="{FF2B5EF4-FFF2-40B4-BE49-F238E27FC236}">
                  <a16:creationId xmlns:a16="http://schemas.microsoft.com/office/drawing/2014/main" id="{C1C5AC62-64AD-806E-63B1-4C58116B2837}"/>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5" name="Freeform 9">
              <a:extLst>
                <a:ext uri="{FF2B5EF4-FFF2-40B4-BE49-F238E27FC236}">
                  <a16:creationId xmlns:a16="http://schemas.microsoft.com/office/drawing/2014/main" id="{A224D006-C188-EB9E-FBA9-2571D7BE500D}"/>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10">
              <a:extLst>
                <a:ext uri="{FF2B5EF4-FFF2-40B4-BE49-F238E27FC236}">
                  <a16:creationId xmlns:a16="http://schemas.microsoft.com/office/drawing/2014/main" id="{198BC54A-55B7-95DE-258D-A62434AA9D21}"/>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7" name="Freeform 11">
              <a:extLst>
                <a:ext uri="{FF2B5EF4-FFF2-40B4-BE49-F238E27FC236}">
                  <a16:creationId xmlns:a16="http://schemas.microsoft.com/office/drawing/2014/main" id="{2DF2F4DA-0A31-21C7-675D-21F67756367C}"/>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8" name="Freeform 12">
              <a:extLst>
                <a:ext uri="{FF2B5EF4-FFF2-40B4-BE49-F238E27FC236}">
                  <a16:creationId xmlns:a16="http://schemas.microsoft.com/office/drawing/2014/main" id="{22005396-329E-FA49-93A0-35373F1A530B}"/>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9" name="Freeform 13">
              <a:extLst>
                <a:ext uri="{FF2B5EF4-FFF2-40B4-BE49-F238E27FC236}">
                  <a16:creationId xmlns:a16="http://schemas.microsoft.com/office/drawing/2014/main" id="{D2A0BD63-4519-7210-B09B-1F521F41D48C}"/>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0" name="Freeform 14">
              <a:extLst>
                <a:ext uri="{FF2B5EF4-FFF2-40B4-BE49-F238E27FC236}">
                  <a16:creationId xmlns:a16="http://schemas.microsoft.com/office/drawing/2014/main" id="{4441585B-B9F5-B3F4-AECD-3A37A7B59132}"/>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1" name="Freeform 15">
              <a:extLst>
                <a:ext uri="{FF2B5EF4-FFF2-40B4-BE49-F238E27FC236}">
                  <a16:creationId xmlns:a16="http://schemas.microsoft.com/office/drawing/2014/main" id="{AD0692A0-2A45-6B2B-AEC8-2CAF87F4FCB9}"/>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2" name="Rectangle 16">
              <a:extLst>
                <a:ext uri="{FF2B5EF4-FFF2-40B4-BE49-F238E27FC236}">
                  <a16:creationId xmlns:a16="http://schemas.microsoft.com/office/drawing/2014/main" id="{9877F5C9-B880-55B0-CC97-1200907C1CFE}"/>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3" name="Freeform 17">
              <a:extLst>
                <a:ext uri="{FF2B5EF4-FFF2-40B4-BE49-F238E27FC236}">
                  <a16:creationId xmlns:a16="http://schemas.microsoft.com/office/drawing/2014/main" id="{AB0973D3-DB70-B350-23A3-942EDA2821BE}"/>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4" name="Freeform 18">
              <a:extLst>
                <a:ext uri="{FF2B5EF4-FFF2-40B4-BE49-F238E27FC236}">
                  <a16:creationId xmlns:a16="http://schemas.microsoft.com/office/drawing/2014/main" id="{9586FCC2-1547-A015-0ECE-BA6784EEC5BB}"/>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19">
              <a:extLst>
                <a:ext uri="{FF2B5EF4-FFF2-40B4-BE49-F238E27FC236}">
                  <a16:creationId xmlns:a16="http://schemas.microsoft.com/office/drawing/2014/main" id="{B73FC9B2-68C4-ADA6-A05F-6A3EB68D243B}"/>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20">
              <a:extLst>
                <a:ext uri="{FF2B5EF4-FFF2-40B4-BE49-F238E27FC236}">
                  <a16:creationId xmlns:a16="http://schemas.microsoft.com/office/drawing/2014/main" id="{91ACFB9D-2A63-B2D8-008C-EE4CED659350}"/>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7" name="Freeform 21">
              <a:extLst>
                <a:ext uri="{FF2B5EF4-FFF2-40B4-BE49-F238E27FC236}">
                  <a16:creationId xmlns:a16="http://schemas.microsoft.com/office/drawing/2014/main" id="{CD92022B-D073-C9B7-A9D6-D69E4A23463E}"/>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634499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p:bg>
      <p:bgRef idx="1001">
        <a:schemeClr val="bg1"/>
      </p:bgRef>
    </p:bg>
    <p:spTree>
      <p:nvGrpSpPr>
        <p:cNvPr id="1" name=""/>
        <p:cNvGrpSpPr/>
        <p:nvPr/>
      </p:nvGrpSpPr>
      <p:grpSpPr>
        <a:xfrm>
          <a:off x="0" y="0"/>
          <a:ext cx="0" cy="0"/>
          <a:chOff x="0" y="0"/>
          <a:chExt cx="0" cy="0"/>
        </a:xfrm>
      </p:grpSpPr>
      <p:pic>
        <p:nvPicPr>
          <p:cNvPr id="5" name="Picture 4" descr="A black and white striped background&#10;&#10;Description automatically generated">
            <a:extLst>
              <a:ext uri="{FF2B5EF4-FFF2-40B4-BE49-F238E27FC236}">
                <a16:creationId xmlns:a16="http://schemas.microsoft.com/office/drawing/2014/main" id="{5988D3E3-C213-66EB-58C8-46D69EBBD5DC}"/>
              </a:ext>
            </a:extLst>
          </p:cNvPr>
          <p:cNvPicPr>
            <a:picLocks noChangeAspect="1"/>
          </p:cNvPicPr>
          <p:nvPr userDrawn="1"/>
        </p:nvPicPr>
        <p:blipFill rotWithShape="1">
          <a:blip r:embed="rId2"/>
          <a:stretch/>
        </p:blipFill>
        <p:spPr>
          <a:xfrm>
            <a:off x="0" y="0"/>
            <a:ext cx="12192000" cy="6858000"/>
          </a:xfrm>
          <a:prstGeom prst="rect">
            <a:avLst/>
          </a:prstGeom>
        </p:spPr>
      </p:pic>
      <p:sp>
        <p:nvSpPr>
          <p:cNvPr id="26" name="TextBox 25">
            <a:extLst>
              <a:ext uri="{FF2B5EF4-FFF2-40B4-BE49-F238E27FC236}">
                <a16:creationId xmlns:a16="http://schemas.microsoft.com/office/drawing/2014/main" id="{92199BFE-C32E-0872-9B32-361194EA3F17}"/>
              </a:ext>
            </a:extLst>
          </p:cNvPr>
          <p:cNvSpPr txBox="1"/>
          <p:nvPr userDrawn="1"/>
        </p:nvSpPr>
        <p:spPr>
          <a:xfrm>
            <a:off x="603497" y="6695171"/>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bg1"/>
                </a:solidFill>
                <a:latin typeface="+mn-lt"/>
                <a:ea typeface="+mn-ea"/>
                <a:cs typeface="Calibri" panose="020F0502020204030204" pitchFamily="34" charset="0"/>
              </a:rPr>
              <a:t>© 2024 Juniper Networks</a:t>
            </a:r>
          </a:p>
        </p:txBody>
      </p:sp>
      <p:pic>
        <p:nvPicPr>
          <p:cNvPr id="6" name="Picture 5">
            <a:extLst>
              <a:ext uri="{FF2B5EF4-FFF2-40B4-BE49-F238E27FC236}">
                <a16:creationId xmlns:a16="http://schemas.microsoft.com/office/drawing/2014/main" id="{FAD31E49-A979-D6A6-2208-F353B2917F53}"/>
              </a:ext>
            </a:extLst>
          </p:cNvPr>
          <p:cNvPicPr>
            <a:picLocks noChangeAspect="1"/>
          </p:cNvPicPr>
          <p:nvPr userDrawn="1"/>
        </p:nvPicPr>
        <p:blipFill rotWithShape="1">
          <a:blip r:embed="rId3"/>
          <a:srcRect l="2032" r="607" b="1242"/>
          <a:stretch/>
        </p:blipFill>
        <p:spPr>
          <a:xfrm>
            <a:off x="4911024" y="640080"/>
            <a:ext cx="2370726" cy="2311273"/>
          </a:xfrm>
          <a:prstGeom prst="rect">
            <a:avLst/>
          </a:prstGeom>
          <a:effectLst/>
        </p:spPr>
      </p:pic>
      <p:cxnSp>
        <p:nvCxnSpPr>
          <p:cNvPr id="7" name="Straight Connector 6">
            <a:extLst>
              <a:ext uri="{FF2B5EF4-FFF2-40B4-BE49-F238E27FC236}">
                <a16:creationId xmlns:a16="http://schemas.microsoft.com/office/drawing/2014/main" id="{EDC177A4-E108-3E82-AC89-B7F6687AFCF4}"/>
              </a:ext>
            </a:extLst>
          </p:cNvPr>
          <p:cNvCxnSpPr>
            <a:cxnSpLocks/>
          </p:cNvCxnSpPr>
          <p:nvPr userDrawn="1"/>
        </p:nvCxnSpPr>
        <p:spPr>
          <a:xfrm>
            <a:off x="5395347" y="4640078"/>
            <a:ext cx="1402080" cy="0"/>
          </a:xfrm>
          <a:prstGeom prst="line">
            <a:avLst/>
          </a:prstGeom>
          <a:ln w="22225" cap="rnd">
            <a:solidFill>
              <a:srgbClr val="FFFFFE"/>
            </a:solidFill>
            <a:round/>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4A44518E-D59F-2613-6894-9317900FA8A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37899" y="3807071"/>
            <a:ext cx="2316976" cy="466614"/>
          </a:xfrm>
          <a:prstGeom prst="rect">
            <a:avLst/>
          </a:prstGeom>
        </p:spPr>
      </p:pic>
      <p:pic>
        <p:nvPicPr>
          <p:cNvPr id="2" name="Graphic 1">
            <a:extLst>
              <a:ext uri="{FF2B5EF4-FFF2-40B4-BE49-F238E27FC236}">
                <a16:creationId xmlns:a16="http://schemas.microsoft.com/office/drawing/2014/main" id="{204D39B7-A361-7C47-D2DA-11120A6C21F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83588" y="5146766"/>
            <a:ext cx="2312908" cy="701164"/>
          </a:xfrm>
          <a:prstGeom prst="rect">
            <a:avLst/>
          </a:prstGeom>
        </p:spPr>
      </p:pic>
    </p:spTree>
    <p:extLst>
      <p:ext uri="{BB962C8B-B14F-4D97-AF65-F5344CB8AC3E}">
        <p14:creationId xmlns:p14="http://schemas.microsoft.com/office/powerpoint/2010/main" val="225384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hank You">
    <p:bg>
      <p:bgRef idx="1001">
        <a:schemeClr val="bg1"/>
      </p:bgRef>
    </p:bg>
    <p:spTree>
      <p:nvGrpSpPr>
        <p:cNvPr id="1" name=""/>
        <p:cNvGrpSpPr/>
        <p:nvPr/>
      </p:nvGrpSpPr>
      <p:grpSpPr>
        <a:xfrm>
          <a:off x="0" y="0"/>
          <a:ext cx="0" cy="0"/>
          <a:chOff x="0" y="0"/>
          <a:chExt cx="0" cy="0"/>
        </a:xfrm>
      </p:grpSpPr>
      <p:pic>
        <p:nvPicPr>
          <p:cNvPr id="3" name="Picture 2" descr="A green and white striped background&#10;&#10;Description automatically generated">
            <a:extLst>
              <a:ext uri="{FF2B5EF4-FFF2-40B4-BE49-F238E27FC236}">
                <a16:creationId xmlns:a16="http://schemas.microsoft.com/office/drawing/2014/main" id="{E928B4D9-DEA1-1579-BA73-91508B681708}"/>
              </a:ext>
            </a:extLst>
          </p:cNvPr>
          <p:cNvPicPr>
            <a:picLocks noChangeAspect="1"/>
          </p:cNvPicPr>
          <p:nvPr userDrawn="1"/>
        </p:nvPicPr>
        <p:blipFill rotWithShape="1">
          <a:blip r:embed="rId2"/>
          <a:stretch/>
        </p:blipFill>
        <p:spPr>
          <a:xfrm>
            <a:off x="0" y="0"/>
            <a:ext cx="12192000" cy="6858000"/>
          </a:xfrm>
          <a:prstGeom prst="rect">
            <a:avLst/>
          </a:prstGeom>
        </p:spPr>
      </p:pic>
      <p:sp>
        <p:nvSpPr>
          <p:cNvPr id="5" name="TextBox 4">
            <a:extLst>
              <a:ext uri="{FF2B5EF4-FFF2-40B4-BE49-F238E27FC236}">
                <a16:creationId xmlns:a16="http://schemas.microsoft.com/office/drawing/2014/main" id="{9035C74F-E2E3-C46A-8288-766170157348}"/>
              </a:ext>
            </a:extLst>
          </p:cNvPr>
          <p:cNvSpPr txBox="1"/>
          <p:nvPr userDrawn="1"/>
        </p:nvSpPr>
        <p:spPr>
          <a:xfrm>
            <a:off x="603497" y="6695171"/>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bg1"/>
                </a:solidFill>
                <a:latin typeface="+mn-lt"/>
                <a:ea typeface="+mn-ea"/>
                <a:cs typeface="Calibri" panose="020F0502020204030204" pitchFamily="34" charset="0"/>
              </a:rPr>
              <a:t>© 2024 Juniper Networks</a:t>
            </a:r>
          </a:p>
        </p:txBody>
      </p:sp>
      <p:pic>
        <p:nvPicPr>
          <p:cNvPr id="25" name="Picture 24">
            <a:extLst>
              <a:ext uri="{FF2B5EF4-FFF2-40B4-BE49-F238E27FC236}">
                <a16:creationId xmlns:a16="http://schemas.microsoft.com/office/drawing/2014/main" id="{3173F253-F019-38F1-1328-E8AF05BD99B5}"/>
              </a:ext>
            </a:extLst>
          </p:cNvPr>
          <p:cNvPicPr>
            <a:picLocks noChangeAspect="1"/>
          </p:cNvPicPr>
          <p:nvPr userDrawn="1"/>
        </p:nvPicPr>
        <p:blipFill rotWithShape="1">
          <a:blip r:embed="rId3"/>
          <a:srcRect l="2032" r="607" b="1242"/>
          <a:stretch/>
        </p:blipFill>
        <p:spPr>
          <a:xfrm>
            <a:off x="4911024" y="640080"/>
            <a:ext cx="2370726" cy="2311273"/>
          </a:xfrm>
          <a:prstGeom prst="rect">
            <a:avLst/>
          </a:prstGeom>
          <a:effectLst/>
        </p:spPr>
      </p:pic>
      <p:cxnSp>
        <p:nvCxnSpPr>
          <p:cNvPr id="26" name="Straight Connector 25">
            <a:extLst>
              <a:ext uri="{FF2B5EF4-FFF2-40B4-BE49-F238E27FC236}">
                <a16:creationId xmlns:a16="http://schemas.microsoft.com/office/drawing/2014/main" id="{9E7D7ADC-7E35-0899-42AE-177F32B06F99}"/>
              </a:ext>
            </a:extLst>
          </p:cNvPr>
          <p:cNvCxnSpPr>
            <a:cxnSpLocks/>
          </p:cNvCxnSpPr>
          <p:nvPr userDrawn="1"/>
        </p:nvCxnSpPr>
        <p:spPr>
          <a:xfrm>
            <a:off x="5395347" y="4796832"/>
            <a:ext cx="1402080" cy="0"/>
          </a:xfrm>
          <a:prstGeom prst="line">
            <a:avLst/>
          </a:prstGeom>
          <a:ln w="22225" cap="rnd">
            <a:solidFill>
              <a:srgbClr val="FFFFFE"/>
            </a:solidFill>
            <a:round/>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488EDC5A-E9BE-E5E0-8660-AF43E970D4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37899" y="3963825"/>
            <a:ext cx="2316976" cy="466614"/>
          </a:xfrm>
          <a:prstGeom prst="rect">
            <a:avLst/>
          </a:prstGeom>
        </p:spPr>
      </p:pic>
      <p:pic>
        <p:nvPicPr>
          <p:cNvPr id="4" name="Graphic 3">
            <a:extLst>
              <a:ext uri="{FF2B5EF4-FFF2-40B4-BE49-F238E27FC236}">
                <a16:creationId xmlns:a16="http://schemas.microsoft.com/office/drawing/2014/main" id="{A5A794FF-3415-6EB5-6942-904534E4915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83588" y="5146766"/>
            <a:ext cx="2312908" cy="701164"/>
          </a:xfrm>
          <a:prstGeom prst="rect">
            <a:avLst/>
          </a:prstGeom>
        </p:spPr>
      </p:pic>
    </p:spTree>
    <p:extLst>
      <p:ext uri="{BB962C8B-B14F-4D97-AF65-F5344CB8AC3E}">
        <p14:creationId xmlns:p14="http://schemas.microsoft.com/office/powerpoint/2010/main" val="4054003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hank You">
    <p:bg>
      <p:bgRef idx="1001">
        <a:schemeClr val="bg1"/>
      </p:bgRef>
    </p:bg>
    <p:spTree>
      <p:nvGrpSpPr>
        <p:cNvPr id="1" name=""/>
        <p:cNvGrpSpPr/>
        <p:nvPr/>
      </p:nvGrpSpPr>
      <p:grpSpPr>
        <a:xfrm>
          <a:off x="0" y="0"/>
          <a:ext cx="0" cy="0"/>
          <a:chOff x="0" y="0"/>
          <a:chExt cx="0" cy="0"/>
        </a:xfrm>
      </p:grpSpPr>
      <p:pic>
        <p:nvPicPr>
          <p:cNvPr id="6" name="Picture 5" descr="A white and grey striped background&#10;&#10;Description automatically generated">
            <a:extLst>
              <a:ext uri="{FF2B5EF4-FFF2-40B4-BE49-F238E27FC236}">
                <a16:creationId xmlns:a16="http://schemas.microsoft.com/office/drawing/2014/main" id="{FEC2526B-FF80-5637-393D-F25A5C10FF47}"/>
              </a:ext>
            </a:extLst>
          </p:cNvPr>
          <p:cNvPicPr>
            <a:picLocks noChangeAspect="1"/>
          </p:cNvPicPr>
          <p:nvPr userDrawn="1"/>
        </p:nvPicPr>
        <p:blipFill rotWithShape="1">
          <a:blip r:embed="rId2"/>
          <a:stretch/>
        </p:blipFill>
        <p:spPr>
          <a:xfrm>
            <a:off x="0" y="0"/>
            <a:ext cx="12192000" cy="6858000"/>
          </a:xfrm>
          <a:prstGeom prst="rect">
            <a:avLst/>
          </a:prstGeom>
        </p:spPr>
      </p:pic>
      <p:sp>
        <p:nvSpPr>
          <p:cNvPr id="26" name="TextBox 25">
            <a:extLst>
              <a:ext uri="{FF2B5EF4-FFF2-40B4-BE49-F238E27FC236}">
                <a16:creationId xmlns:a16="http://schemas.microsoft.com/office/drawing/2014/main" id="{8D24FD19-4AA8-D483-446E-FA840F27EF22}"/>
              </a:ext>
            </a:extLst>
          </p:cNvPr>
          <p:cNvSpPr txBox="1"/>
          <p:nvPr userDrawn="1"/>
        </p:nvSpPr>
        <p:spPr>
          <a:xfrm>
            <a:off x="603497" y="6695171"/>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grpSp>
        <p:nvGrpSpPr>
          <p:cNvPr id="27" name="Group 26">
            <a:extLst>
              <a:ext uri="{FF2B5EF4-FFF2-40B4-BE49-F238E27FC236}">
                <a16:creationId xmlns:a16="http://schemas.microsoft.com/office/drawing/2014/main" id="{B8E64A69-E0F3-3ACD-17C3-FB2E7869F4D4}"/>
              </a:ext>
            </a:extLst>
          </p:cNvPr>
          <p:cNvGrpSpPr/>
          <p:nvPr userDrawn="1"/>
        </p:nvGrpSpPr>
        <p:grpSpPr>
          <a:xfrm>
            <a:off x="10842866" y="6524864"/>
            <a:ext cx="867564" cy="238330"/>
            <a:chOff x="1855788" y="3378201"/>
            <a:chExt cx="3709987" cy="1019175"/>
          </a:xfrm>
          <a:solidFill>
            <a:schemeClr val="tx1"/>
          </a:solidFill>
        </p:grpSpPr>
        <p:sp>
          <p:nvSpPr>
            <p:cNvPr id="28" name="Freeform 5">
              <a:extLst>
                <a:ext uri="{FF2B5EF4-FFF2-40B4-BE49-F238E27FC236}">
                  <a16:creationId xmlns:a16="http://schemas.microsoft.com/office/drawing/2014/main" id="{1FCCE0EC-ACB8-AB9C-07C7-6561859E499D}"/>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9" name="Freeform 6">
              <a:extLst>
                <a:ext uri="{FF2B5EF4-FFF2-40B4-BE49-F238E27FC236}">
                  <a16:creationId xmlns:a16="http://schemas.microsoft.com/office/drawing/2014/main" id="{2CFE70C9-01B9-EB2E-44E3-39699F4BAA18}"/>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0" name="Freeform 7">
              <a:extLst>
                <a:ext uri="{FF2B5EF4-FFF2-40B4-BE49-F238E27FC236}">
                  <a16:creationId xmlns:a16="http://schemas.microsoft.com/office/drawing/2014/main" id="{B5124BE3-59F7-E4EC-0212-289FBDF00CAB}"/>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1" name="Freeform 8">
              <a:extLst>
                <a:ext uri="{FF2B5EF4-FFF2-40B4-BE49-F238E27FC236}">
                  <a16:creationId xmlns:a16="http://schemas.microsoft.com/office/drawing/2014/main" id="{204E472F-2717-D36D-CECB-28A21A6030A5}"/>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2" name="Freeform 9">
              <a:extLst>
                <a:ext uri="{FF2B5EF4-FFF2-40B4-BE49-F238E27FC236}">
                  <a16:creationId xmlns:a16="http://schemas.microsoft.com/office/drawing/2014/main" id="{3C207C30-C249-2C39-68FC-27350D7D7919}"/>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3" name="Freeform 10">
              <a:extLst>
                <a:ext uri="{FF2B5EF4-FFF2-40B4-BE49-F238E27FC236}">
                  <a16:creationId xmlns:a16="http://schemas.microsoft.com/office/drawing/2014/main" id="{CE32FE29-C2CF-2713-8926-CB77792B87C1}"/>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4" name="Freeform 11">
              <a:extLst>
                <a:ext uri="{FF2B5EF4-FFF2-40B4-BE49-F238E27FC236}">
                  <a16:creationId xmlns:a16="http://schemas.microsoft.com/office/drawing/2014/main" id="{EFAEA92F-F25F-9407-5016-C087CF0EDDC1}"/>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Freeform 12">
              <a:extLst>
                <a:ext uri="{FF2B5EF4-FFF2-40B4-BE49-F238E27FC236}">
                  <a16:creationId xmlns:a16="http://schemas.microsoft.com/office/drawing/2014/main" id="{CFFB9862-2D7A-9123-6035-8CBA78BD2A87}"/>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6" name="Freeform 13">
              <a:extLst>
                <a:ext uri="{FF2B5EF4-FFF2-40B4-BE49-F238E27FC236}">
                  <a16:creationId xmlns:a16="http://schemas.microsoft.com/office/drawing/2014/main" id="{455ACCB1-DF0A-72A7-9B8E-CE1CB5FD164E}"/>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7" name="Freeform 14">
              <a:extLst>
                <a:ext uri="{FF2B5EF4-FFF2-40B4-BE49-F238E27FC236}">
                  <a16:creationId xmlns:a16="http://schemas.microsoft.com/office/drawing/2014/main" id="{5FE4956E-B4A7-A45C-BB77-954E99DF603D}"/>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8" name="Freeform 15">
              <a:extLst>
                <a:ext uri="{FF2B5EF4-FFF2-40B4-BE49-F238E27FC236}">
                  <a16:creationId xmlns:a16="http://schemas.microsoft.com/office/drawing/2014/main" id="{3467BFFD-F354-69C3-C4F1-4DF02701740A}"/>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9" name="Rectangle 16">
              <a:extLst>
                <a:ext uri="{FF2B5EF4-FFF2-40B4-BE49-F238E27FC236}">
                  <a16:creationId xmlns:a16="http://schemas.microsoft.com/office/drawing/2014/main" id="{B74C3B11-B2CD-02EF-5CA8-037CB145E347}"/>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0" name="Freeform 17">
              <a:extLst>
                <a:ext uri="{FF2B5EF4-FFF2-40B4-BE49-F238E27FC236}">
                  <a16:creationId xmlns:a16="http://schemas.microsoft.com/office/drawing/2014/main" id="{AFB6904A-A484-3D0B-16EA-375A26325CDF}"/>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1" name="Freeform 18">
              <a:extLst>
                <a:ext uri="{FF2B5EF4-FFF2-40B4-BE49-F238E27FC236}">
                  <a16:creationId xmlns:a16="http://schemas.microsoft.com/office/drawing/2014/main" id="{385DC645-5CF7-4533-9F13-814892C51A2C}"/>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2" name="Freeform 19">
              <a:extLst>
                <a:ext uri="{FF2B5EF4-FFF2-40B4-BE49-F238E27FC236}">
                  <a16:creationId xmlns:a16="http://schemas.microsoft.com/office/drawing/2014/main" id="{022FBBA7-F316-9D2B-A2E5-EE57EE05B41F}"/>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3" name="Freeform 20">
              <a:extLst>
                <a:ext uri="{FF2B5EF4-FFF2-40B4-BE49-F238E27FC236}">
                  <a16:creationId xmlns:a16="http://schemas.microsoft.com/office/drawing/2014/main" id="{D44C35E3-369E-4398-0404-8CB4C1B2CCEA}"/>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4" name="Freeform 21">
              <a:extLst>
                <a:ext uri="{FF2B5EF4-FFF2-40B4-BE49-F238E27FC236}">
                  <a16:creationId xmlns:a16="http://schemas.microsoft.com/office/drawing/2014/main" id="{2288D552-72B1-3AAF-29D5-115B5065118C}"/>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pic>
        <p:nvPicPr>
          <p:cNvPr id="5" name="Picture 4">
            <a:extLst>
              <a:ext uri="{FF2B5EF4-FFF2-40B4-BE49-F238E27FC236}">
                <a16:creationId xmlns:a16="http://schemas.microsoft.com/office/drawing/2014/main" id="{7C8D194A-2FB0-E826-5C5A-13070B815E0E}"/>
              </a:ext>
            </a:extLst>
          </p:cNvPr>
          <p:cNvPicPr>
            <a:picLocks noChangeAspect="1"/>
          </p:cNvPicPr>
          <p:nvPr userDrawn="1"/>
        </p:nvPicPr>
        <p:blipFill rotWithShape="1">
          <a:blip r:embed="rId3"/>
          <a:srcRect l="2032" r="607" b="1242"/>
          <a:stretch/>
        </p:blipFill>
        <p:spPr>
          <a:xfrm>
            <a:off x="4911024" y="640080"/>
            <a:ext cx="2370726" cy="2311273"/>
          </a:xfrm>
          <a:prstGeom prst="rect">
            <a:avLst/>
          </a:prstGeom>
          <a:effectLst/>
        </p:spPr>
      </p:pic>
      <p:cxnSp>
        <p:nvCxnSpPr>
          <p:cNvPr id="7" name="Straight Connector 6">
            <a:extLst>
              <a:ext uri="{FF2B5EF4-FFF2-40B4-BE49-F238E27FC236}">
                <a16:creationId xmlns:a16="http://schemas.microsoft.com/office/drawing/2014/main" id="{44136A97-CFFA-1DCA-7536-710E4A916201}"/>
              </a:ext>
            </a:extLst>
          </p:cNvPr>
          <p:cNvCxnSpPr>
            <a:cxnSpLocks/>
          </p:cNvCxnSpPr>
          <p:nvPr userDrawn="1"/>
        </p:nvCxnSpPr>
        <p:spPr>
          <a:xfrm>
            <a:off x="5395347" y="4796832"/>
            <a:ext cx="1402080" cy="0"/>
          </a:xfrm>
          <a:prstGeom prst="line">
            <a:avLst/>
          </a:prstGeom>
          <a:ln w="22225" cap="rnd">
            <a:solidFill>
              <a:schemeClr val="tx1"/>
            </a:solidFill>
            <a:round/>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B3B07C74-107B-FFF8-6E76-C656EAD896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37899" y="3963825"/>
            <a:ext cx="2316976" cy="466614"/>
          </a:xfrm>
          <a:prstGeom prst="rect">
            <a:avLst/>
          </a:prstGeom>
        </p:spPr>
      </p:pic>
      <p:pic>
        <p:nvPicPr>
          <p:cNvPr id="3" name="Graphic 2">
            <a:extLst>
              <a:ext uri="{FF2B5EF4-FFF2-40B4-BE49-F238E27FC236}">
                <a16:creationId xmlns:a16="http://schemas.microsoft.com/office/drawing/2014/main" id="{F95F8C31-8D14-2D50-8DE8-9604107CEC6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83588" y="5146766"/>
            <a:ext cx="2312908" cy="701164"/>
          </a:xfrm>
          <a:prstGeom prst="rect">
            <a:avLst/>
          </a:prstGeom>
        </p:spPr>
      </p:pic>
    </p:spTree>
    <p:extLst>
      <p:ext uri="{BB962C8B-B14F-4D97-AF65-F5344CB8AC3E}">
        <p14:creationId xmlns:p14="http://schemas.microsoft.com/office/powerpoint/2010/main" val="815856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381000" y="228600"/>
            <a:ext cx="11430000" cy="9144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8900A0F-BE51-4119-A570-5810C65FA109}"/>
              </a:ext>
            </a:extLst>
          </p:cNvPr>
          <p:cNvSpPr>
            <a:spLocks noGrp="1"/>
          </p:cNvSpPr>
          <p:nvPr>
            <p:ph idx="1"/>
          </p:nvPr>
        </p:nvSpPr>
        <p:spPr>
          <a:xfrm>
            <a:off x="381000" y="1371600"/>
            <a:ext cx="11430000" cy="5029200"/>
          </a:xfrm>
        </p:spPr>
        <p:txBody>
          <a:bodyPr/>
          <a:lstStyle>
            <a:lvl1pPr marL="173038" marR="0" indent="-173038" algn="l" defTabSz="914377" rtl="0" eaLnBrk="1" fontAlgn="auto" latinLnBrk="0" hangingPunct="1">
              <a:lnSpc>
                <a:spcPct val="110000"/>
              </a:lnSpc>
              <a:spcBef>
                <a:spcPts val="0"/>
              </a:spcBef>
              <a:spcAft>
                <a:spcPts val="400"/>
              </a:spcAft>
              <a:buClr>
                <a:srgbClr val="437C0D"/>
              </a:buClr>
              <a:buSzTx/>
              <a:buFont typeface="Arial" panose="020B0604020202020204" pitchFamily="34" charset="0"/>
              <a:buChar char="•"/>
              <a:tabLst/>
              <a:defRPr sz="2000"/>
            </a:lvl1pPr>
            <a:lvl2pPr marL="460375" marR="0" indent="-230188" algn="l" defTabSz="914377" rtl="0" eaLnBrk="1" fontAlgn="auto" latinLnBrk="0" hangingPunct="1">
              <a:lnSpc>
                <a:spcPct val="95000"/>
              </a:lnSpc>
              <a:spcBef>
                <a:spcPts val="500"/>
              </a:spcBef>
              <a:spcAft>
                <a:spcPts val="400"/>
              </a:spcAft>
              <a:buClr>
                <a:srgbClr val="437C0D"/>
              </a:buClr>
              <a:buSzTx/>
              <a:buFont typeface="Lato" panose="020F0502020204030203" pitchFamily="34" charset="0"/>
              <a:buChar char="–"/>
              <a:tabLst/>
              <a:defRPr/>
            </a:lvl2pPr>
            <a:lvl3pPr marL="692150" marR="0" indent="-231775" algn="l" defTabSz="914377" rtl="0" eaLnBrk="1" fontAlgn="auto" latinLnBrk="0" hangingPunct="1">
              <a:lnSpc>
                <a:spcPct val="95000"/>
              </a:lnSpc>
              <a:spcBef>
                <a:spcPts val="500"/>
              </a:spcBef>
              <a:spcAft>
                <a:spcPts val="400"/>
              </a:spcAft>
              <a:buClr>
                <a:srgbClr val="437C0D"/>
              </a:buClr>
              <a:buSzTx/>
              <a:buFont typeface="Arial" panose="020B0604020202020204" pitchFamily="34" charset="0"/>
              <a:buChar char="•"/>
              <a:tabLst/>
              <a:defRPr/>
            </a:lvl3pPr>
            <a:lvl4pPr marL="914400" marR="0" indent="-222250" algn="l" defTabSz="914377" rtl="0" eaLnBrk="1" fontAlgn="auto" latinLnBrk="0" hangingPunct="1">
              <a:lnSpc>
                <a:spcPct val="95000"/>
              </a:lnSpc>
              <a:spcBef>
                <a:spcPts val="500"/>
              </a:spcBef>
              <a:spcAft>
                <a:spcPts val="400"/>
              </a:spcAft>
              <a:buClr>
                <a:srgbClr val="437C0D"/>
              </a:buClr>
              <a:buSzTx/>
              <a:buFont typeface="Lato" panose="020F0502020204030203" pitchFamily="34" charset="0"/>
              <a:buChar char="–"/>
              <a:tabLst/>
              <a:defRPr/>
            </a:lvl4pPr>
            <a:lvl5pPr marL="1146175" marR="0" indent="-231775" algn="l" defTabSz="914377" rtl="0" eaLnBrk="1" fontAlgn="auto" latinLnBrk="0" hangingPunct="1">
              <a:lnSpc>
                <a:spcPct val="95000"/>
              </a:lnSpc>
              <a:spcBef>
                <a:spcPts val="500"/>
              </a:spcBef>
              <a:spcAft>
                <a:spcPts val="400"/>
              </a:spcAft>
              <a:buClr>
                <a:srgbClr val="437C0D"/>
              </a:buClr>
              <a:buSzTx/>
              <a:buFont typeface="Lato" panose="020F0502020204030203" pitchFamily="34" charset="0"/>
              <a:buChar char="–"/>
              <a:tabLst/>
              <a:defRPr/>
            </a:lvl5pPr>
          </a:lstStyle>
          <a:p>
            <a:pPr marL="173038" marR="0" lvl="0" indent="-173038" algn="l" defTabSz="914377" rtl="0" eaLnBrk="1" fontAlgn="auto" latinLnBrk="0" hangingPunct="1">
              <a:lnSpc>
                <a:spcPct val="110000"/>
              </a:lnSpc>
              <a:spcBef>
                <a:spcPts val="0"/>
              </a:spcBef>
              <a:spcAft>
                <a:spcPts val="400"/>
              </a:spcAft>
              <a:buClr>
                <a:srgbClr val="437C0D"/>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460375" marR="0" lvl="1" indent="-230188" algn="l" defTabSz="914377" rtl="0" eaLnBrk="1" fontAlgn="auto" latinLnBrk="0" hangingPunct="1">
              <a:lnSpc>
                <a:spcPct val="95000"/>
              </a:lnSpc>
              <a:spcBef>
                <a:spcPts val="500"/>
              </a:spcBef>
              <a:spcAft>
                <a:spcPts val="400"/>
              </a:spcAft>
              <a:buClr>
                <a:srgbClr val="437C0D"/>
              </a:buClr>
              <a:buSzTx/>
              <a:buFont typeface="Lato" panose="020F0502020204030203"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mn-cs"/>
              </a:rPr>
              <a:t>Second level</a:t>
            </a:r>
          </a:p>
          <a:p>
            <a:pPr marL="692150" marR="0" lvl="2" indent="-231775" algn="l" defTabSz="914377" rtl="0" eaLnBrk="1" fontAlgn="auto" latinLnBrk="0" hangingPunct="1">
              <a:lnSpc>
                <a:spcPct val="95000"/>
              </a:lnSpc>
              <a:spcBef>
                <a:spcPts val="500"/>
              </a:spcBef>
              <a:spcAft>
                <a:spcPts val="400"/>
              </a:spcAft>
              <a:buClr>
                <a:srgbClr val="437C0D"/>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Third level</a:t>
            </a:r>
          </a:p>
          <a:p>
            <a:pPr marL="914400" marR="0" lvl="3" indent="-222250" algn="l" defTabSz="914377" rtl="0" eaLnBrk="1" fontAlgn="auto" latinLnBrk="0" hangingPunct="1">
              <a:lnSpc>
                <a:spcPct val="95000"/>
              </a:lnSpc>
              <a:spcBef>
                <a:spcPts val="500"/>
              </a:spcBef>
              <a:spcAft>
                <a:spcPts val="400"/>
              </a:spcAft>
              <a:buClr>
                <a:srgbClr val="437C0D"/>
              </a:buClr>
              <a:buSzTx/>
              <a:buFont typeface="Lato" panose="020F0502020204030203"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Fourth level</a:t>
            </a:r>
          </a:p>
          <a:p>
            <a:pPr marL="1146175" marR="0" lvl="4" indent="-231775" algn="l" defTabSz="914377" rtl="0" eaLnBrk="1" fontAlgn="auto" latinLnBrk="0" hangingPunct="1">
              <a:lnSpc>
                <a:spcPct val="95000"/>
              </a:lnSpc>
              <a:spcBef>
                <a:spcPts val="500"/>
              </a:spcBef>
              <a:spcAft>
                <a:spcPts val="400"/>
              </a:spcAft>
              <a:buClr>
                <a:srgbClr val="437C0D"/>
              </a:buClr>
              <a:buSzTx/>
              <a:buFont typeface="Lato" panose="020F0502020204030203"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Box 3">
            <a:extLst>
              <a:ext uri="{FF2B5EF4-FFF2-40B4-BE49-F238E27FC236}">
                <a16:creationId xmlns:a16="http://schemas.microsoft.com/office/drawing/2014/main" id="{859D369F-14FE-8349-9144-79703501BC86}"/>
              </a:ext>
            </a:extLst>
          </p:cNvPr>
          <p:cNvSpPr txBox="1"/>
          <p:nvPr userDrawn="1"/>
        </p:nvSpPr>
        <p:spPr>
          <a:xfrm>
            <a:off x="623455" y="6625244"/>
            <a:ext cx="0" cy="0"/>
          </a:xfrm>
          <a:prstGeom prst="rect">
            <a:avLst/>
          </a:prstGeom>
          <a:noFill/>
        </p:spPr>
        <p:txBody>
          <a:bodyPr wrap="none" lIns="0" tIns="0" rIns="0" bIns="0" rtlCol="0" anchor="ctr">
            <a:noAutofit/>
          </a:bodyPr>
          <a:lstStyle/>
          <a:p>
            <a:pPr algn="ctr"/>
            <a:endParaRPr lang="en-US" sz="1200"/>
          </a:p>
        </p:txBody>
      </p:sp>
    </p:spTree>
    <p:extLst>
      <p:ext uri="{BB962C8B-B14F-4D97-AF65-F5344CB8AC3E}">
        <p14:creationId xmlns:p14="http://schemas.microsoft.com/office/powerpoint/2010/main" val="7476816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I 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5BD575-9D8B-0D34-2867-DA4684C32168}"/>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24CD91FC-94C5-721D-CE9D-7767592E0D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0" y="11869"/>
            <a:ext cx="12192000" cy="6846131"/>
          </a:xfrm>
          <a:prstGeom prst="rect">
            <a:avLst/>
          </a:prstGeom>
        </p:spPr>
      </p:pic>
      <p:sp>
        <p:nvSpPr>
          <p:cNvPr id="2" name="Title 1">
            <a:extLst>
              <a:ext uri="{FF2B5EF4-FFF2-40B4-BE49-F238E27FC236}">
                <a16:creationId xmlns:a16="http://schemas.microsoft.com/office/drawing/2014/main" id="{8E4C1FE7-0F81-747D-A009-E187D2FED1C6}"/>
              </a:ext>
            </a:extLst>
          </p:cNvPr>
          <p:cNvSpPr>
            <a:spLocks noGrp="1"/>
          </p:cNvSpPr>
          <p:nvPr userDrawn="1">
            <p:ph type="ctrTitle"/>
          </p:nvPr>
        </p:nvSpPr>
        <p:spPr>
          <a:xfrm>
            <a:off x="847724" y="2851104"/>
            <a:ext cx="6873111" cy="1683562"/>
          </a:xfrm>
        </p:spPr>
        <p:txBody>
          <a:bodyPr anchor="b">
            <a:normAutofit/>
          </a:bodyPr>
          <a:lstStyle>
            <a:lvl1pPr algn="l">
              <a:lnSpc>
                <a:spcPct val="100000"/>
              </a:lnSpc>
              <a:defRPr sz="4000" cap="all"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6909DF52-AADC-70B3-1BFE-C1A0837246E3}"/>
              </a:ext>
            </a:extLst>
          </p:cNvPr>
          <p:cNvSpPr>
            <a:spLocks noGrp="1"/>
          </p:cNvSpPr>
          <p:nvPr userDrawn="1">
            <p:ph type="subTitle" idx="1" hasCustomPrompt="1"/>
          </p:nvPr>
        </p:nvSpPr>
        <p:spPr>
          <a:xfrm>
            <a:off x="847725" y="4914900"/>
            <a:ext cx="5993087" cy="379412"/>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13" name="Text Placeholder 12">
            <a:extLst>
              <a:ext uri="{FF2B5EF4-FFF2-40B4-BE49-F238E27FC236}">
                <a16:creationId xmlns:a16="http://schemas.microsoft.com/office/drawing/2014/main" id="{DA322102-8066-8EAF-E11F-1215CEF820EE}"/>
              </a:ext>
            </a:extLst>
          </p:cNvPr>
          <p:cNvSpPr>
            <a:spLocks noGrp="1"/>
          </p:cNvSpPr>
          <p:nvPr userDrawn="1">
            <p:ph type="body" sz="quarter" idx="10" hasCustomPrompt="1"/>
          </p:nvPr>
        </p:nvSpPr>
        <p:spPr>
          <a:xfrm>
            <a:off x="847725" y="5410200"/>
            <a:ext cx="5867400" cy="466725"/>
          </a:xfrm>
        </p:spPr>
        <p:txBody>
          <a:bodyPr>
            <a:normAutofit/>
          </a:bodyPr>
          <a:lstStyle>
            <a:lvl1pPr marL="0" indent="0">
              <a:buNone/>
              <a:defRPr sz="2000">
                <a:solidFill>
                  <a:schemeClr val="bg1"/>
                </a:solidFill>
              </a:defRPr>
            </a:lvl1pPr>
            <a:lvl2pPr marL="346075" indent="0">
              <a:buNone/>
              <a:defRPr/>
            </a:lvl2pPr>
          </a:lstStyle>
          <a:p>
            <a:pPr lvl="0"/>
            <a:r>
              <a:rPr lang="en-US"/>
              <a:t>Click to edit presenter’s position</a:t>
            </a:r>
          </a:p>
        </p:txBody>
      </p:sp>
      <p:grpSp>
        <p:nvGrpSpPr>
          <p:cNvPr id="31" name="Graphic 25">
            <a:extLst>
              <a:ext uri="{FF2B5EF4-FFF2-40B4-BE49-F238E27FC236}">
                <a16:creationId xmlns:a16="http://schemas.microsoft.com/office/drawing/2014/main" id="{82335936-C678-2F29-12EB-E63059CF24CF}"/>
              </a:ext>
            </a:extLst>
          </p:cNvPr>
          <p:cNvGrpSpPr/>
          <p:nvPr/>
        </p:nvGrpSpPr>
        <p:grpSpPr>
          <a:xfrm>
            <a:off x="6978456" y="-97"/>
            <a:ext cx="5216581" cy="6573277"/>
            <a:chOff x="6978456" y="-97"/>
            <a:chExt cx="5216581" cy="6573277"/>
          </a:xfrm>
          <a:solidFill>
            <a:srgbClr val="84B135"/>
          </a:solidFill>
        </p:grpSpPr>
        <p:sp>
          <p:nvSpPr>
            <p:cNvPr id="33" name="Freeform: Shape 32">
              <a:extLst>
                <a:ext uri="{FF2B5EF4-FFF2-40B4-BE49-F238E27FC236}">
                  <a16:creationId xmlns:a16="http://schemas.microsoft.com/office/drawing/2014/main" id="{5AC9B133-CED7-961F-E70D-39E56A6F010D}"/>
                </a:ext>
              </a:extLst>
            </p:cNvPr>
            <p:cNvSpPr/>
            <p:nvPr/>
          </p:nvSpPr>
          <p:spPr>
            <a:xfrm>
              <a:off x="7821246" y="-97"/>
              <a:ext cx="4373594" cy="5730880"/>
            </a:xfrm>
            <a:custGeom>
              <a:avLst/>
              <a:gdLst>
                <a:gd name="connsiteX0" fmla="*/ 3346958 w 4373594"/>
                <a:gd name="connsiteY0" fmla="*/ 3895360 h 5730880"/>
                <a:gd name="connsiteX1" fmla="*/ 3227105 w 4373594"/>
                <a:gd name="connsiteY1" fmla="*/ 4521083 h 5730880"/>
                <a:gd name="connsiteX2" fmla="*/ 3121365 w 4373594"/>
                <a:gd name="connsiteY2" fmla="*/ 5072033 h 5730880"/>
                <a:gd name="connsiteX3" fmla="*/ 1674802 w 4373594"/>
                <a:gd name="connsiteY3" fmla="*/ 5582216 h 5730880"/>
                <a:gd name="connsiteX4" fmla="*/ 1164620 w 4373594"/>
                <a:gd name="connsiteY4" fmla="*/ 4135653 h 5730880"/>
                <a:gd name="connsiteX5" fmla="*/ 1694108 w 4373594"/>
                <a:gd name="connsiteY5" fmla="*/ 3616749 h 5730880"/>
                <a:gd name="connsiteX6" fmla="*/ 2399112 w 4373594"/>
                <a:gd name="connsiteY6" fmla="*/ 2926248 h 5730880"/>
                <a:gd name="connsiteX7" fmla="*/ 1720274 w 4373594"/>
                <a:gd name="connsiteY7" fmla="*/ 1001745 h 5730880"/>
                <a:gd name="connsiteX8" fmla="*/ 1097294 w 4373594"/>
                <a:gd name="connsiteY8" fmla="*/ 860039 h 5730880"/>
                <a:gd name="connsiteX9" fmla="*/ 984595 w 4373594"/>
                <a:gd name="connsiteY9" fmla="*/ 864547 h 5730880"/>
                <a:gd name="connsiteX10" fmla="*/ 539092 w 4373594"/>
                <a:gd name="connsiteY10" fmla="*/ 781150 h 5730880"/>
                <a:gd name="connsiteX11" fmla="*/ 92511 w 4373594"/>
                <a:gd name="connsiteY11" fmla="*/ 283315 h 5730880"/>
                <a:gd name="connsiteX12" fmla="*/ 42434 w 4373594"/>
                <a:gd name="connsiteY12" fmla="*/ 0 h 5730880"/>
                <a:gd name="connsiteX13" fmla="*/ 0 w 4373594"/>
                <a:gd name="connsiteY13" fmla="*/ 0 h 5730880"/>
                <a:gd name="connsiteX14" fmla="*/ 52527 w 4373594"/>
                <a:gd name="connsiteY14" fmla="*/ 297427 h 5730880"/>
                <a:gd name="connsiteX15" fmla="*/ 520766 w 4373594"/>
                <a:gd name="connsiteY15" fmla="*/ 819369 h 5730880"/>
                <a:gd name="connsiteX16" fmla="*/ 987927 w 4373594"/>
                <a:gd name="connsiteY16" fmla="*/ 906784 h 5730880"/>
                <a:gd name="connsiteX17" fmla="*/ 1702046 w 4373594"/>
                <a:gd name="connsiteY17" fmla="*/ 1040063 h 5730880"/>
                <a:gd name="connsiteX18" fmla="*/ 2360893 w 4373594"/>
                <a:gd name="connsiteY18" fmla="*/ 2907923 h 5730880"/>
                <a:gd name="connsiteX19" fmla="*/ 1676664 w 4373594"/>
                <a:gd name="connsiteY19" fmla="*/ 3578137 h 5730880"/>
                <a:gd name="connsiteX20" fmla="*/ 1126400 w 4373594"/>
                <a:gd name="connsiteY20" fmla="*/ 4117426 h 5730880"/>
                <a:gd name="connsiteX21" fmla="*/ 1656574 w 4373594"/>
                <a:gd name="connsiteY21" fmla="*/ 5620534 h 5730880"/>
                <a:gd name="connsiteX22" fmla="*/ 2141277 w 4373594"/>
                <a:gd name="connsiteY22" fmla="*/ 5730881 h 5730880"/>
                <a:gd name="connsiteX23" fmla="*/ 3159682 w 4373594"/>
                <a:gd name="connsiteY23" fmla="*/ 5090359 h 5730880"/>
                <a:gd name="connsiteX24" fmla="*/ 3269441 w 4373594"/>
                <a:gd name="connsiteY24" fmla="*/ 4517849 h 5730880"/>
                <a:gd name="connsiteX25" fmla="*/ 3385178 w 4373594"/>
                <a:gd name="connsiteY25" fmla="*/ 3913686 h 5730880"/>
                <a:gd name="connsiteX26" fmla="*/ 4373595 w 4373594"/>
                <a:gd name="connsiteY26" fmla="*/ 3240629 h 5730880"/>
                <a:gd name="connsiteX27" fmla="*/ 4373595 w 4373594"/>
                <a:gd name="connsiteY27" fmla="*/ 3198097 h 5730880"/>
                <a:gd name="connsiteX28" fmla="*/ 3346958 w 4373594"/>
                <a:gd name="connsiteY28" fmla="*/ 3895262 h 57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3594" h="5730880">
                  <a:moveTo>
                    <a:pt x="3346958" y="3895360"/>
                  </a:moveTo>
                  <a:cubicBezTo>
                    <a:pt x="3252193" y="4093416"/>
                    <a:pt x="3210740" y="4309798"/>
                    <a:pt x="3227105" y="4521083"/>
                  </a:cubicBezTo>
                  <a:cubicBezTo>
                    <a:pt x="3241511" y="4706693"/>
                    <a:pt x="3204958" y="4897203"/>
                    <a:pt x="3121365" y="5072033"/>
                  </a:cubicBezTo>
                  <a:cubicBezTo>
                    <a:pt x="2863236" y="5611517"/>
                    <a:pt x="2214286" y="5840443"/>
                    <a:pt x="1674802" y="5582216"/>
                  </a:cubicBezTo>
                  <a:cubicBezTo>
                    <a:pt x="1135318" y="5324087"/>
                    <a:pt x="906490" y="4675138"/>
                    <a:pt x="1164620" y="4135653"/>
                  </a:cubicBezTo>
                  <a:cubicBezTo>
                    <a:pt x="1274672" y="3905650"/>
                    <a:pt x="1462732" y="3721314"/>
                    <a:pt x="1694108" y="3616749"/>
                  </a:cubicBezTo>
                  <a:cubicBezTo>
                    <a:pt x="2002315" y="3477394"/>
                    <a:pt x="2252702" y="3232201"/>
                    <a:pt x="2399112" y="2926248"/>
                  </a:cubicBezTo>
                  <a:cubicBezTo>
                    <a:pt x="2742501" y="2208504"/>
                    <a:pt x="2438018" y="1345231"/>
                    <a:pt x="1720274" y="1001745"/>
                  </a:cubicBezTo>
                  <a:cubicBezTo>
                    <a:pt x="1524962" y="908254"/>
                    <a:pt x="1311716" y="860039"/>
                    <a:pt x="1097294" y="860039"/>
                  </a:cubicBezTo>
                  <a:cubicBezTo>
                    <a:pt x="1059761" y="860039"/>
                    <a:pt x="1022129" y="861509"/>
                    <a:pt x="984595" y="864547"/>
                  </a:cubicBezTo>
                  <a:cubicBezTo>
                    <a:pt x="832305" y="876601"/>
                    <a:pt x="678251" y="847691"/>
                    <a:pt x="539092" y="781150"/>
                  </a:cubicBezTo>
                  <a:cubicBezTo>
                    <a:pt x="328884" y="680505"/>
                    <a:pt x="170224" y="503715"/>
                    <a:pt x="92511" y="283315"/>
                  </a:cubicBezTo>
                  <a:cubicBezTo>
                    <a:pt x="59877" y="190804"/>
                    <a:pt x="43316" y="95255"/>
                    <a:pt x="42434" y="0"/>
                  </a:cubicBezTo>
                  <a:lnTo>
                    <a:pt x="0" y="0"/>
                  </a:lnTo>
                  <a:cubicBezTo>
                    <a:pt x="980" y="99959"/>
                    <a:pt x="18228" y="200212"/>
                    <a:pt x="52527" y="297427"/>
                  </a:cubicBezTo>
                  <a:cubicBezTo>
                    <a:pt x="134063" y="528508"/>
                    <a:pt x="300367" y="713922"/>
                    <a:pt x="520766" y="819369"/>
                  </a:cubicBezTo>
                  <a:cubicBezTo>
                    <a:pt x="666589" y="889144"/>
                    <a:pt x="828189" y="919426"/>
                    <a:pt x="987927" y="906784"/>
                  </a:cubicBezTo>
                  <a:cubicBezTo>
                    <a:pt x="1232337" y="887380"/>
                    <a:pt x="1479196" y="933440"/>
                    <a:pt x="1702046" y="1040063"/>
                  </a:cubicBezTo>
                  <a:cubicBezTo>
                    <a:pt x="2398720" y="1373357"/>
                    <a:pt x="2694187" y="2211346"/>
                    <a:pt x="2360893" y="2907923"/>
                  </a:cubicBezTo>
                  <a:cubicBezTo>
                    <a:pt x="2218794" y="3204958"/>
                    <a:pt x="1975757" y="3442899"/>
                    <a:pt x="1676664" y="3578137"/>
                  </a:cubicBezTo>
                  <a:cubicBezTo>
                    <a:pt x="1436175" y="3686818"/>
                    <a:pt x="1240765" y="3878308"/>
                    <a:pt x="1126400" y="4117426"/>
                  </a:cubicBezTo>
                  <a:cubicBezTo>
                    <a:pt x="858177" y="4677980"/>
                    <a:pt x="1096020" y="5352311"/>
                    <a:pt x="1656574" y="5620534"/>
                  </a:cubicBezTo>
                  <a:cubicBezTo>
                    <a:pt x="1813079" y="5695404"/>
                    <a:pt x="1978305" y="5730881"/>
                    <a:pt x="2141277" y="5730881"/>
                  </a:cubicBezTo>
                  <a:cubicBezTo>
                    <a:pt x="2561889" y="5730881"/>
                    <a:pt x="2966330" y="5494507"/>
                    <a:pt x="3159682" y="5090359"/>
                  </a:cubicBezTo>
                  <a:cubicBezTo>
                    <a:pt x="3246509" y="4908865"/>
                    <a:pt x="3284533" y="4710908"/>
                    <a:pt x="3269441" y="4517849"/>
                  </a:cubicBezTo>
                  <a:cubicBezTo>
                    <a:pt x="3253663" y="4313914"/>
                    <a:pt x="3293647" y="4104980"/>
                    <a:pt x="3385178" y="3913686"/>
                  </a:cubicBezTo>
                  <a:cubicBezTo>
                    <a:pt x="3575982" y="3514928"/>
                    <a:pt x="3961412" y="3270911"/>
                    <a:pt x="4373595" y="3240629"/>
                  </a:cubicBezTo>
                  <a:lnTo>
                    <a:pt x="4373595" y="3198097"/>
                  </a:lnTo>
                  <a:cubicBezTo>
                    <a:pt x="3945536" y="3228379"/>
                    <a:pt x="3545014" y="3481315"/>
                    <a:pt x="3346958" y="3895262"/>
                  </a:cubicBezTo>
                  <a:close/>
                </a:path>
              </a:pathLst>
            </a:custGeom>
            <a:solidFill>
              <a:srgbClr val="84B135"/>
            </a:solidFill>
            <a:ln w="9794"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DE141F7B-ECFA-2CD1-D104-2AA3913E411E}"/>
                </a:ext>
              </a:extLst>
            </p:cNvPr>
            <p:cNvSpPr/>
            <p:nvPr/>
          </p:nvSpPr>
          <p:spPr>
            <a:xfrm>
              <a:off x="7715702" y="-97"/>
              <a:ext cx="4479139" cy="5836424"/>
            </a:xfrm>
            <a:custGeom>
              <a:avLst/>
              <a:gdLst>
                <a:gd name="connsiteX0" fmla="*/ 3547464 w 4479139"/>
                <a:gd name="connsiteY0" fmla="*/ 3940832 h 5836424"/>
                <a:gd name="connsiteX1" fmla="*/ 3437607 w 4479139"/>
                <a:gd name="connsiteY1" fmla="*/ 4513145 h 5836424"/>
                <a:gd name="connsiteX2" fmla="*/ 3321871 w 4479139"/>
                <a:gd name="connsiteY2" fmla="*/ 5117505 h 5836424"/>
                <a:gd name="connsiteX3" fmla="*/ 2644110 w 4479139"/>
                <a:gd name="connsiteY3" fmla="*/ 5725490 h 5836424"/>
                <a:gd name="connsiteX4" fmla="*/ 1734875 w 4479139"/>
                <a:gd name="connsiteY4" fmla="*/ 5677275 h 5836424"/>
                <a:gd name="connsiteX5" fmla="*/ 1126890 w 4479139"/>
                <a:gd name="connsiteY5" fmla="*/ 4999514 h 5836424"/>
                <a:gd name="connsiteX6" fmla="*/ 1175105 w 4479139"/>
                <a:gd name="connsiteY6" fmla="*/ 4090280 h 5836424"/>
                <a:gd name="connsiteX7" fmla="*/ 1755651 w 4479139"/>
                <a:gd name="connsiteY7" fmla="*/ 3521200 h 5836424"/>
                <a:gd name="connsiteX8" fmla="*/ 2409696 w 4479139"/>
                <a:gd name="connsiteY8" fmla="*/ 2880875 h 5836424"/>
                <a:gd name="connsiteX9" fmla="*/ 2463988 w 4479139"/>
                <a:gd name="connsiteY9" fmla="*/ 1858746 h 5836424"/>
                <a:gd name="connsiteX10" fmla="*/ 1780445 w 4479139"/>
                <a:gd name="connsiteY10" fmla="*/ 1096902 h 5836424"/>
                <a:gd name="connsiteX11" fmla="*/ 1202251 w 4479139"/>
                <a:gd name="connsiteY11" fmla="*/ 965486 h 5836424"/>
                <a:gd name="connsiteX12" fmla="*/ 1097588 w 4479139"/>
                <a:gd name="connsiteY12" fmla="*/ 969602 h 5836424"/>
                <a:gd name="connsiteX13" fmla="*/ 599166 w 4479139"/>
                <a:gd name="connsiteY13" fmla="*/ 876111 h 5836424"/>
                <a:gd name="connsiteX14" fmla="*/ 98783 w 4479139"/>
                <a:gd name="connsiteY14" fmla="*/ 318301 h 5836424"/>
                <a:gd name="connsiteX15" fmla="*/ 42433 w 4479139"/>
                <a:gd name="connsiteY15" fmla="*/ 0 h 5836424"/>
                <a:gd name="connsiteX16" fmla="*/ 0 w 4479139"/>
                <a:gd name="connsiteY16" fmla="*/ 0 h 5836424"/>
                <a:gd name="connsiteX17" fmla="*/ 58799 w 4479139"/>
                <a:gd name="connsiteY17" fmla="*/ 332412 h 5836424"/>
                <a:gd name="connsiteX18" fmla="*/ 580840 w 4479139"/>
                <a:gd name="connsiteY18" fmla="*/ 914330 h 5836424"/>
                <a:gd name="connsiteX19" fmla="*/ 1100822 w 4479139"/>
                <a:gd name="connsiteY19" fmla="*/ 1011839 h 5836424"/>
                <a:gd name="connsiteX20" fmla="*/ 1762021 w 4479139"/>
                <a:gd name="connsiteY20" fmla="*/ 1135024 h 5836424"/>
                <a:gd name="connsiteX21" fmla="*/ 2423906 w 4479139"/>
                <a:gd name="connsiteY21" fmla="*/ 1872760 h 5836424"/>
                <a:gd name="connsiteX22" fmla="*/ 2371379 w 4479139"/>
                <a:gd name="connsiteY22" fmla="*/ 2862451 h 5836424"/>
                <a:gd name="connsiteX23" fmla="*/ 1738109 w 4479139"/>
                <a:gd name="connsiteY23" fmla="*/ 3482491 h 5836424"/>
                <a:gd name="connsiteX24" fmla="*/ 1136886 w 4479139"/>
                <a:gd name="connsiteY24" fmla="*/ 4071856 h 5836424"/>
                <a:gd name="connsiteX25" fmla="*/ 1086906 w 4479139"/>
                <a:gd name="connsiteY25" fmla="*/ 5013528 h 5836424"/>
                <a:gd name="connsiteX26" fmla="*/ 1716648 w 4479139"/>
                <a:gd name="connsiteY26" fmla="*/ 5715397 h 5836424"/>
                <a:gd name="connsiteX27" fmla="*/ 2246626 w 4479139"/>
                <a:gd name="connsiteY27" fmla="*/ 5836425 h 5836424"/>
                <a:gd name="connsiteX28" fmla="*/ 2658319 w 4479139"/>
                <a:gd name="connsiteY28" fmla="*/ 5765376 h 5836424"/>
                <a:gd name="connsiteX29" fmla="*/ 3360188 w 4479139"/>
                <a:gd name="connsiteY29" fmla="*/ 5135635 h 5836424"/>
                <a:gd name="connsiteX30" fmla="*/ 3479943 w 4479139"/>
                <a:gd name="connsiteY30" fmla="*/ 4509618 h 5836424"/>
                <a:gd name="connsiteX31" fmla="*/ 3585684 w 4479139"/>
                <a:gd name="connsiteY31" fmla="*/ 3958961 h 5836424"/>
                <a:gd name="connsiteX32" fmla="*/ 4479140 w 4479139"/>
                <a:gd name="connsiteY32" fmla="*/ 3346076 h 5836424"/>
                <a:gd name="connsiteX33" fmla="*/ 4479140 w 4479139"/>
                <a:gd name="connsiteY33" fmla="*/ 3303544 h 5836424"/>
                <a:gd name="connsiteX34" fmla="*/ 3547464 w 4479139"/>
                <a:gd name="connsiteY34" fmla="*/ 3940636 h 583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79139" h="5836424">
                  <a:moveTo>
                    <a:pt x="3547464" y="3940832"/>
                  </a:moveTo>
                  <a:cubicBezTo>
                    <a:pt x="3460441" y="4122718"/>
                    <a:pt x="3422515" y="4320578"/>
                    <a:pt x="3437607" y="4513145"/>
                  </a:cubicBezTo>
                  <a:cubicBezTo>
                    <a:pt x="3453679" y="4716689"/>
                    <a:pt x="3413695" y="4925623"/>
                    <a:pt x="3321871" y="5117505"/>
                  </a:cubicBezTo>
                  <a:cubicBezTo>
                    <a:pt x="3184868" y="5403760"/>
                    <a:pt x="2944183" y="5619652"/>
                    <a:pt x="2644110" y="5725490"/>
                  </a:cubicBezTo>
                  <a:cubicBezTo>
                    <a:pt x="2344037" y="5831330"/>
                    <a:pt x="2021130" y="5814180"/>
                    <a:pt x="1734875" y="5677275"/>
                  </a:cubicBezTo>
                  <a:cubicBezTo>
                    <a:pt x="1448620" y="5540273"/>
                    <a:pt x="1232729" y="5299587"/>
                    <a:pt x="1126890" y="4999514"/>
                  </a:cubicBezTo>
                  <a:cubicBezTo>
                    <a:pt x="1021051" y="4699441"/>
                    <a:pt x="1038201" y="4376535"/>
                    <a:pt x="1175105" y="4090280"/>
                  </a:cubicBezTo>
                  <a:cubicBezTo>
                    <a:pt x="1295644" y="3838423"/>
                    <a:pt x="1501834" y="3636251"/>
                    <a:pt x="1755651" y="3521200"/>
                  </a:cubicBezTo>
                  <a:cubicBezTo>
                    <a:pt x="2041710" y="3391842"/>
                    <a:pt x="2273968" y="3164484"/>
                    <a:pt x="2409696" y="2880875"/>
                  </a:cubicBezTo>
                  <a:cubicBezTo>
                    <a:pt x="2563652" y="2559046"/>
                    <a:pt x="2582958" y="2196058"/>
                    <a:pt x="2463988" y="1858746"/>
                  </a:cubicBezTo>
                  <a:cubicBezTo>
                    <a:pt x="2345017" y="1521434"/>
                    <a:pt x="2102274" y="1250859"/>
                    <a:pt x="1780445" y="1096902"/>
                  </a:cubicBezTo>
                  <a:cubicBezTo>
                    <a:pt x="1599441" y="1010271"/>
                    <a:pt x="1401483" y="965486"/>
                    <a:pt x="1202251" y="965486"/>
                  </a:cubicBezTo>
                  <a:cubicBezTo>
                    <a:pt x="1167364" y="965486"/>
                    <a:pt x="1132476" y="966858"/>
                    <a:pt x="1097588" y="969602"/>
                  </a:cubicBezTo>
                  <a:cubicBezTo>
                    <a:pt x="926776" y="982733"/>
                    <a:pt x="754494" y="950492"/>
                    <a:pt x="599166" y="876111"/>
                  </a:cubicBezTo>
                  <a:cubicBezTo>
                    <a:pt x="363576" y="763412"/>
                    <a:pt x="185904" y="565258"/>
                    <a:pt x="98783" y="318301"/>
                  </a:cubicBezTo>
                  <a:cubicBezTo>
                    <a:pt x="62131" y="214324"/>
                    <a:pt x="43414" y="107015"/>
                    <a:pt x="42433" y="0"/>
                  </a:cubicBezTo>
                  <a:lnTo>
                    <a:pt x="0" y="0"/>
                  </a:lnTo>
                  <a:cubicBezTo>
                    <a:pt x="980" y="111719"/>
                    <a:pt x="20482" y="223830"/>
                    <a:pt x="58799" y="332412"/>
                  </a:cubicBezTo>
                  <a:cubicBezTo>
                    <a:pt x="149644" y="590052"/>
                    <a:pt x="335058" y="796731"/>
                    <a:pt x="580840" y="914330"/>
                  </a:cubicBezTo>
                  <a:cubicBezTo>
                    <a:pt x="742832" y="991847"/>
                    <a:pt x="922660" y="1025559"/>
                    <a:pt x="1100822" y="1011839"/>
                  </a:cubicBezTo>
                  <a:cubicBezTo>
                    <a:pt x="1327396" y="993905"/>
                    <a:pt x="1556027" y="1036535"/>
                    <a:pt x="1762021" y="1135024"/>
                  </a:cubicBezTo>
                  <a:cubicBezTo>
                    <a:pt x="2073560" y="1284080"/>
                    <a:pt x="2308659" y="1546129"/>
                    <a:pt x="2423906" y="1872760"/>
                  </a:cubicBezTo>
                  <a:cubicBezTo>
                    <a:pt x="2539153" y="2199390"/>
                    <a:pt x="2520435" y="2550913"/>
                    <a:pt x="2371379" y="2862451"/>
                  </a:cubicBezTo>
                  <a:cubicBezTo>
                    <a:pt x="2239962" y="3137044"/>
                    <a:pt x="2015054" y="3357248"/>
                    <a:pt x="1738109" y="3482491"/>
                  </a:cubicBezTo>
                  <a:cubicBezTo>
                    <a:pt x="1475178" y="3601657"/>
                    <a:pt x="1261638" y="3810983"/>
                    <a:pt x="1136886" y="4071856"/>
                  </a:cubicBezTo>
                  <a:cubicBezTo>
                    <a:pt x="994983" y="4368303"/>
                    <a:pt x="977245" y="4702773"/>
                    <a:pt x="1086906" y="5013528"/>
                  </a:cubicBezTo>
                  <a:cubicBezTo>
                    <a:pt x="1196567" y="5324283"/>
                    <a:pt x="1420201" y="5573592"/>
                    <a:pt x="1716648" y="5715397"/>
                  </a:cubicBezTo>
                  <a:cubicBezTo>
                    <a:pt x="1884814" y="5795853"/>
                    <a:pt x="2065230" y="5836425"/>
                    <a:pt x="2246626" y="5836425"/>
                  </a:cubicBezTo>
                  <a:cubicBezTo>
                    <a:pt x="2385001" y="5836425"/>
                    <a:pt x="2523865" y="5812808"/>
                    <a:pt x="2658319" y="5765376"/>
                  </a:cubicBezTo>
                  <a:cubicBezTo>
                    <a:pt x="2969074" y="5655715"/>
                    <a:pt x="3218384" y="5432081"/>
                    <a:pt x="3360188" y="5135635"/>
                  </a:cubicBezTo>
                  <a:cubicBezTo>
                    <a:pt x="3455247" y="4936991"/>
                    <a:pt x="3496603" y="4720609"/>
                    <a:pt x="3479943" y="4509618"/>
                  </a:cubicBezTo>
                  <a:cubicBezTo>
                    <a:pt x="3465341" y="4324497"/>
                    <a:pt x="3501895" y="4134085"/>
                    <a:pt x="3585684" y="3958961"/>
                  </a:cubicBezTo>
                  <a:cubicBezTo>
                    <a:pt x="3758456" y="3597933"/>
                    <a:pt x="4106254" y="3376064"/>
                    <a:pt x="4479140" y="3346076"/>
                  </a:cubicBezTo>
                  <a:lnTo>
                    <a:pt x="4479140" y="3303544"/>
                  </a:lnTo>
                  <a:cubicBezTo>
                    <a:pt x="4090476" y="3333630"/>
                    <a:pt x="3727488" y="3564418"/>
                    <a:pt x="3547464" y="3940636"/>
                  </a:cubicBezTo>
                  <a:close/>
                </a:path>
              </a:pathLst>
            </a:custGeom>
            <a:solidFill>
              <a:srgbClr val="84B135"/>
            </a:solidFill>
            <a:ln w="9794"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C9FE4D67-2DFA-B6D9-0FF5-8921B6A76435}"/>
                </a:ext>
              </a:extLst>
            </p:cNvPr>
            <p:cNvSpPr/>
            <p:nvPr/>
          </p:nvSpPr>
          <p:spPr>
            <a:xfrm>
              <a:off x="7610451" y="0"/>
              <a:ext cx="4584390" cy="5941675"/>
            </a:xfrm>
            <a:custGeom>
              <a:avLst/>
              <a:gdLst>
                <a:gd name="connsiteX0" fmla="*/ 3747774 w 4584390"/>
                <a:gd name="connsiteY0" fmla="*/ 3986205 h 5941675"/>
                <a:gd name="connsiteX1" fmla="*/ 3648011 w 4584390"/>
                <a:gd name="connsiteY1" fmla="*/ 4505404 h 5941675"/>
                <a:gd name="connsiteX2" fmla="*/ 3522278 w 4584390"/>
                <a:gd name="connsiteY2" fmla="*/ 5162879 h 5941675"/>
                <a:gd name="connsiteX3" fmla="*/ 1794851 w 4584390"/>
                <a:gd name="connsiteY3" fmla="*/ 5772138 h 5941675"/>
                <a:gd name="connsiteX4" fmla="*/ 1185493 w 4584390"/>
                <a:gd name="connsiteY4" fmla="*/ 4044711 h 5941675"/>
                <a:gd name="connsiteX5" fmla="*/ 1820135 w 4584390"/>
                <a:gd name="connsiteY5" fmla="*/ 3424083 h 5941675"/>
                <a:gd name="connsiteX6" fmla="*/ 2419986 w 4584390"/>
                <a:gd name="connsiteY6" fmla="*/ 2835306 h 5941675"/>
                <a:gd name="connsiteX7" fmla="*/ 2469966 w 4584390"/>
                <a:gd name="connsiteY7" fmla="*/ 1893634 h 5941675"/>
                <a:gd name="connsiteX8" fmla="*/ 1840224 w 4584390"/>
                <a:gd name="connsiteY8" fmla="*/ 1191765 h 5941675"/>
                <a:gd name="connsiteX9" fmla="*/ 1309070 w 4584390"/>
                <a:gd name="connsiteY9" fmla="*/ 1070443 h 5941675"/>
                <a:gd name="connsiteX10" fmla="*/ 1212443 w 4584390"/>
                <a:gd name="connsiteY10" fmla="*/ 1074362 h 5941675"/>
                <a:gd name="connsiteX11" fmla="*/ 659043 w 4584390"/>
                <a:gd name="connsiteY11" fmla="*/ 971072 h 5941675"/>
                <a:gd name="connsiteX12" fmla="*/ 104859 w 4584390"/>
                <a:gd name="connsiteY12" fmla="*/ 353286 h 5941675"/>
                <a:gd name="connsiteX13" fmla="*/ 42434 w 4584390"/>
                <a:gd name="connsiteY13" fmla="*/ 0 h 5941675"/>
                <a:gd name="connsiteX14" fmla="*/ 0 w 4584390"/>
                <a:gd name="connsiteY14" fmla="*/ 0 h 5941675"/>
                <a:gd name="connsiteX15" fmla="*/ 64777 w 4584390"/>
                <a:gd name="connsiteY15" fmla="*/ 367398 h 5941675"/>
                <a:gd name="connsiteX16" fmla="*/ 640717 w 4584390"/>
                <a:gd name="connsiteY16" fmla="*/ 1009291 h 5941675"/>
                <a:gd name="connsiteX17" fmla="*/ 1215873 w 4584390"/>
                <a:gd name="connsiteY17" fmla="*/ 1116600 h 5941675"/>
                <a:gd name="connsiteX18" fmla="*/ 1821898 w 4584390"/>
                <a:gd name="connsiteY18" fmla="*/ 1229985 h 5941675"/>
                <a:gd name="connsiteX19" fmla="*/ 2429884 w 4584390"/>
                <a:gd name="connsiteY19" fmla="*/ 1907745 h 5941675"/>
                <a:gd name="connsiteX20" fmla="*/ 2381668 w 4584390"/>
                <a:gd name="connsiteY20" fmla="*/ 2816980 h 5941675"/>
                <a:gd name="connsiteX21" fmla="*/ 1802495 w 4584390"/>
                <a:gd name="connsiteY21" fmla="*/ 3385471 h 5941675"/>
                <a:gd name="connsiteX22" fmla="*/ 1147176 w 4584390"/>
                <a:gd name="connsiteY22" fmla="*/ 4026385 h 5941675"/>
                <a:gd name="connsiteX23" fmla="*/ 1776427 w 4584390"/>
                <a:gd name="connsiteY23" fmla="*/ 5810358 h 5941675"/>
                <a:gd name="connsiteX24" fmla="*/ 2351681 w 4584390"/>
                <a:gd name="connsiteY24" fmla="*/ 5941676 h 5941675"/>
                <a:gd name="connsiteX25" fmla="*/ 2798556 w 4584390"/>
                <a:gd name="connsiteY25" fmla="*/ 5864551 h 5941675"/>
                <a:gd name="connsiteX26" fmla="*/ 3560400 w 4584390"/>
                <a:gd name="connsiteY26" fmla="*/ 5181008 h 5941675"/>
                <a:gd name="connsiteX27" fmla="*/ 3690248 w 4584390"/>
                <a:gd name="connsiteY27" fmla="*/ 4501876 h 5941675"/>
                <a:gd name="connsiteX28" fmla="*/ 3785994 w 4584390"/>
                <a:gd name="connsiteY28" fmla="*/ 4004335 h 5941675"/>
                <a:gd name="connsiteX29" fmla="*/ 4584391 w 4584390"/>
                <a:gd name="connsiteY29" fmla="*/ 3451719 h 5941675"/>
                <a:gd name="connsiteX30" fmla="*/ 4584391 w 4584390"/>
                <a:gd name="connsiteY30" fmla="*/ 3409187 h 5941675"/>
                <a:gd name="connsiteX31" fmla="*/ 3747676 w 4584390"/>
                <a:gd name="connsiteY31" fmla="*/ 3986107 h 594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584390" h="5941675">
                  <a:moveTo>
                    <a:pt x="3747774" y="3986205"/>
                  </a:moveTo>
                  <a:cubicBezTo>
                    <a:pt x="3668689" y="4151431"/>
                    <a:pt x="3634193" y="4330966"/>
                    <a:pt x="3648011" y="4505404"/>
                  </a:cubicBezTo>
                  <a:cubicBezTo>
                    <a:pt x="3665357" y="4727175"/>
                    <a:pt x="3621943" y="4954533"/>
                    <a:pt x="3522278" y="5162879"/>
                  </a:cubicBezTo>
                  <a:cubicBezTo>
                    <a:pt x="3213974" y="5807124"/>
                    <a:pt x="2439096" y="6080443"/>
                    <a:pt x="1794851" y="5772138"/>
                  </a:cubicBezTo>
                  <a:cubicBezTo>
                    <a:pt x="1150606" y="5463833"/>
                    <a:pt x="877287" y="4688956"/>
                    <a:pt x="1185493" y="4044711"/>
                  </a:cubicBezTo>
                  <a:cubicBezTo>
                    <a:pt x="1316714" y="3770411"/>
                    <a:pt x="1542112" y="3550012"/>
                    <a:pt x="1820135" y="3424083"/>
                  </a:cubicBezTo>
                  <a:cubicBezTo>
                    <a:pt x="2082772" y="3303937"/>
                    <a:pt x="2295822" y="3094905"/>
                    <a:pt x="2419986" y="2835306"/>
                  </a:cubicBezTo>
                  <a:cubicBezTo>
                    <a:pt x="2561889" y="2538859"/>
                    <a:pt x="2579626" y="2204388"/>
                    <a:pt x="2469966" y="1893634"/>
                  </a:cubicBezTo>
                  <a:cubicBezTo>
                    <a:pt x="2360305" y="1582879"/>
                    <a:pt x="2136671" y="1333570"/>
                    <a:pt x="1840224" y="1191765"/>
                  </a:cubicBezTo>
                  <a:cubicBezTo>
                    <a:pt x="1673136" y="1111798"/>
                    <a:pt x="1491250" y="1070443"/>
                    <a:pt x="1309070" y="1070443"/>
                  </a:cubicBezTo>
                  <a:cubicBezTo>
                    <a:pt x="1276828" y="1070443"/>
                    <a:pt x="1244587" y="1071716"/>
                    <a:pt x="1212443" y="1074362"/>
                  </a:cubicBezTo>
                  <a:cubicBezTo>
                    <a:pt x="1023893" y="1089846"/>
                    <a:pt x="832501" y="1054077"/>
                    <a:pt x="659043" y="971072"/>
                  </a:cubicBezTo>
                  <a:cubicBezTo>
                    <a:pt x="398170" y="846221"/>
                    <a:pt x="201290" y="626801"/>
                    <a:pt x="104859" y="353286"/>
                  </a:cubicBezTo>
                  <a:cubicBezTo>
                    <a:pt x="64189" y="237843"/>
                    <a:pt x="43512" y="118775"/>
                    <a:pt x="42434" y="0"/>
                  </a:cubicBezTo>
                  <a:lnTo>
                    <a:pt x="0" y="0"/>
                  </a:lnTo>
                  <a:cubicBezTo>
                    <a:pt x="980" y="123479"/>
                    <a:pt x="22442" y="247349"/>
                    <a:pt x="64777" y="367398"/>
                  </a:cubicBezTo>
                  <a:cubicBezTo>
                    <a:pt x="165030" y="651595"/>
                    <a:pt x="369554" y="879541"/>
                    <a:pt x="640717" y="1009291"/>
                  </a:cubicBezTo>
                  <a:cubicBezTo>
                    <a:pt x="820937" y="1095530"/>
                    <a:pt x="1019875" y="1132672"/>
                    <a:pt x="1215873" y="1116600"/>
                  </a:cubicBezTo>
                  <a:cubicBezTo>
                    <a:pt x="1422455" y="1099940"/>
                    <a:pt x="1632075" y="1139140"/>
                    <a:pt x="1821898" y="1229985"/>
                  </a:cubicBezTo>
                  <a:cubicBezTo>
                    <a:pt x="2108153" y="1366987"/>
                    <a:pt x="2324045" y="1607673"/>
                    <a:pt x="2429884" y="1907745"/>
                  </a:cubicBezTo>
                  <a:cubicBezTo>
                    <a:pt x="2535723" y="2207818"/>
                    <a:pt x="2518573" y="2530725"/>
                    <a:pt x="2381668" y="2816980"/>
                  </a:cubicBezTo>
                  <a:cubicBezTo>
                    <a:pt x="2261718" y="3067563"/>
                    <a:pt x="2056018" y="3269539"/>
                    <a:pt x="1802495" y="3385471"/>
                  </a:cubicBezTo>
                  <a:cubicBezTo>
                    <a:pt x="1515456" y="3515516"/>
                    <a:pt x="1282708" y="3743168"/>
                    <a:pt x="1147176" y="4026385"/>
                  </a:cubicBezTo>
                  <a:cubicBezTo>
                    <a:pt x="828777" y="4691700"/>
                    <a:pt x="1111112" y="5492057"/>
                    <a:pt x="1776427" y="5810358"/>
                  </a:cubicBezTo>
                  <a:cubicBezTo>
                    <a:pt x="1958999" y="5897675"/>
                    <a:pt x="2154801" y="5941676"/>
                    <a:pt x="2351681" y="5941676"/>
                  </a:cubicBezTo>
                  <a:cubicBezTo>
                    <a:pt x="2501815" y="5941676"/>
                    <a:pt x="2652636" y="5916098"/>
                    <a:pt x="2798556" y="5864551"/>
                  </a:cubicBezTo>
                  <a:cubicBezTo>
                    <a:pt x="3135869" y="5745580"/>
                    <a:pt x="3406444" y="5502837"/>
                    <a:pt x="3560400" y="5181008"/>
                  </a:cubicBezTo>
                  <a:cubicBezTo>
                    <a:pt x="3663299" y="4965999"/>
                    <a:pt x="3708182" y="4731193"/>
                    <a:pt x="3690248" y="4501876"/>
                  </a:cubicBezTo>
                  <a:cubicBezTo>
                    <a:pt x="3677019" y="4334885"/>
                    <a:pt x="3710142" y="4162799"/>
                    <a:pt x="3785994" y="4004335"/>
                  </a:cubicBezTo>
                  <a:cubicBezTo>
                    <a:pt x="3940734" y="3681036"/>
                    <a:pt x="4250901" y="3481314"/>
                    <a:pt x="4584391" y="3451719"/>
                  </a:cubicBezTo>
                  <a:lnTo>
                    <a:pt x="4584391" y="3409187"/>
                  </a:lnTo>
                  <a:cubicBezTo>
                    <a:pt x="4235025" y="3438979"/>
                    <a:pt x="3909668" y="3647521"/>
                    <a:pt x="3747676" y="3986107"/>
                  </a:cubicBezTo>
                  <a:close/>
                </a:path>
              </a:pathLst>
            </a:custGeom>
            <a:solidFill>
              <a:srgbClr val="84B135"/>
            </a:solidFill>
            <a:ln w="9794"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52403A3-B39B-171B-E88D-9FD443C49DFE}"/>
                </a:ext>
              </a:extLst>
            </p:cNvPr>
            <p:cNvSpPr/>
            <p:nvPr/>
          </p:nvSpPr>
          <p:spPr>
            <a:xfrm>
              <a:off x="7508630" y="0"/>
              <a:ext cx="4686211" cy="6047220"/>
            </a:xfrm>
            <a:custGeom>
              <a:avLst/>
              <a:gdLst>
                <a:gd name="connsiteX0" fmla="*/ 3944556 w 4686211"/>
                <a:gd name="connsiteY0" fmla="*/ 4031677 h 6047220"/>
                <a:gd name="connsiteX1" fmla="*/ 3854789 w 4686211"/>
                <a:gd name="connsiteY1" fmla="*/ 4498054 h 6047220"/>
                <a:gd name="connsiteX2" fmla="*/ 3718962 w 4686211"/>
                <a:gd name="connsiteY2" fmla="*/ 5208350 h 6047220"/>
                <a:gd name="connsiteX3" fmla="*/ 2921251 w 4686211"/>
                <a:gd name="connsiteY3" fmla="*/ 5924036 h 6047220"/>
                <a:gd name="connsiteX4" fmla="*/ 1851102 w 4686211"/>
                <a:gd name="connsiteY4" fmla="*/ 5867197 h 6047220"/>
                <a:gd name="connsiteX5" fmla="*/ 1135416 w 4686211"/>
                <a:gd name="connsiteY5" fmla="*/ 5069485 h 6047220"/>
                <a:gd name="connsiteX6" fmla="*/ 1192255 w 4686211"/>
                <a:gd name="connsiteY6" fmla="*/ 3999337 h 6047220"/>
                <a:gd name="connsiteX7" fmla="*/ 1877072 w 4686211"/>
                <a:gd name="connsiteY7" fmla="*/ 3328828 h 6047220"/>
                <a:gd name="connsiteX8" fmla="*/ 2426748 w 4686211"/>
                <a:gd name="connsiteY8" fmla="*/ 2789834 h 6047220"/>
                <a:gd name="connsiteX9" fmla="*/ 1896574 w 4686211"/>
                <a:gd name="connsiteY9" fmla="*/ 1286726 h 6047220"/>
                <a:gd name="connsiteX10" fmla="*/ 1405991 w 4686211"/>
                <a:gd name="connsiteY10" fmla="*/ 1172851 h 6047220"/>
                <a:gd name="connsiteX11" fmla="*/ 1321614 w 4686211"/>
                <a:gd name="connsiteY11" fmla="*/ 1176281 h 6047220"/>
                <a:gd name="connsiteX12" fmla="*/ 718430 w 4686211"/>
                <a:gd name="connsiteY12" fmla="*/ 1059565 h 6047220"/>
                <a:gd name="connsiteX13" fmla="*/ 42434 w 4686211"/>
                <a:gd name="connsiteY13" fmla="*/ 0 h 6047220"/>
                <a:gd name="connsiteX14" fmla="*/ 0 w 4686211"/>
                <a:gd name="connsiteY14" fmla="*/ 0 h 6047220"/>
                <a:gd name="connsiteX15" fmla="*/ 700105 w 4686211"/>
                <a:gd name="connsiteY15" fmla="*/ 1097882 h 6047220"/>
                <a:gd name="connsiteX16" fmla="*/ 1324946 w 4686211"/>
                <a:gd name="connsiteY16" fmla="*/ 1218617 h 6047220"/>
                <a:gd name="connsiteX17" fmla="*/ 1878248 w 4686211"/>
                <a:gd name="connsiteY17" fmla="*/ 1325044 h 6047220"/>
                <a:gd name="connsiteX18" fmla="*/ 2388431 w 4686211"/>
                <a:gd name="connsiteY18" fmla="*/ 2771606 h 6047220"/>
                <a:gd name="connsiteX19" fmla="*/ 1859530 w 4686211"/>
                <a:gd name="connsiteY19" fmla="*/ 3290217 h 6047220"/>
                <a:gd name="connsiteX20" fmla="*/ 1153938 w 4686211"/>
                <a:gd name="connsiteY20" fmla="*/ 3981011 h 6047220"/>
                <a:gd name="connsiteX21" fmla="*/ 1832776 w 4686211"/>
                <a:gd name="connsiteY21" fmla="*/ 5905514 h 6047220"/>
                <a:gd name="connsiteX22" fmla="*/ 2453306 w 4686211"/>
                <a:gd name="connsiteY22" fmla="*/ 6047221 h 6047220"/>
                <a:gd name="connsiteX23" fmla="*/ 2935363 w 4686211"/>
                <a:gd name="connsiteY23" fmla="*/ 5964118 h 6047220"/>
                <a:gd name="connsiteX24" fmla="*/ 3757182 w 4686211"/>
                <a:gd name="connsiteY24" fmla="*/ 5226774 h 6047220"/>
                <a:gd name="connsiteX25" fmla="*/ 3897026 w 4686211"/>
                <a:gd name="connsiteY25" fmla="*/ 4494820 h 6047220"/>
                <a:gd name="connsiteX26" fmla="*/ 3982775 w 4686211"/>
                <a:gd name="connsiteY26" fmla="*/ 4050100 h 6047220"/>
                <a:gd name="connsiteX27" fmla="*/ 4480610 w 4686211"/>
                <a:gd name="connsiteY27" fmla="*/ 3603519 h 6047220"/>
                <a:gd name="connsiteX28" fmla="*/ 4686212 w 4686211"/>
                <a:gd name="connsiteY28" fmla="*/ 3557558 h 6047220"/>
                <a:gd name="connsiteX29" fmla="*/ 4686212 w 4686211"/>
                <a:gd name="connsiteY29" fmla="*/ 3514830 h 6047220"/>
                <a:gd name="connsiteX30" fmla="*/ 4466498 w 4686211"/>
                <a:gd name="connsiteY30" fmla="*/ 3563536 h 6047220"/>
                <a:gd name="connsiteX31" fmla="*/ 3944556 w 4686211"/>
                <a:gd name="connsiteY31" fmla="*/ 4031775 h 604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6211" h="6047220">
                  <a:moveTo>
                    <a:pt x="3944556" y="4031677"/>
                  </a:moveTo>
                  <a:cubicBezTo>
                    <a:pt x="3873212" y="4180733"/>
                    <a:pt x="3842147" y="4342039"/>
                    <a:pt x="3854789" y="4498054"/>
                  </a:cubicBezTo>
                  <a:cubicBezTo>
                    <a:pt x="3873604" y="4737759"/>
                    <a:pt x="3826663" y="4983345"/>
                    <a:pt x="3718962" y="5208350"/>
                  </a:cubicBezTo>
                  <a:cubicBezTo>
                    <a:pt x="3557754" y="5545270"/>
                    <a:pt x="3274439" y="5799382"/>
                    <a:pt x="2921251" y="5924036"/>
                  </a:cubicBezTo>
                  <a:cubicBezTo>
                    <a:pt x="2568062" y="6048593"/>
                    <a:pt x="2188023" y="6028405"/>
                    <a:pt x="1851102" y="5867197"/>
                  </a:cubicBezTo>
                  <a:cubicBezTo>
                    <a:pt x="1514182" y="5705989"/>
                    <a:pt x="1260070" y="5422674"/>
                    <a:pt x="1135416" y="5069485"/>
                  </a:cubicBezTo>
                  <a:cubicBezTo>
                    <a:pt x="1010859" y="4716297"/>
                    <a:pt x="1031047" y="4336258"/>
                    <a:pt x="1192255" y="3999337"/>
                  </a:cubicBezTo>
                  <a:cubicBezTo>
                    <a:pt x="1334256" y="3702596"/>
                    <a:pt x="1577489" y="3464459"/>
                    <a:pt x="1877072" y="3328828"/>
                  </a:cubicBezTo>
                  <a:cubicBezTo>
                    <a:pt x="2117464" y="3219559"/>
                    <a:pt x="2312677" y="3028167"/>
                    <a:pt x="2426748" y="2789834"/>
                  </a:cubicBezTo>
                  <a:cubicBezTo>
                    <a:pt x="2694971" y="2229280"/>
                    <a:pt x="2457128" y="1554949"/>
                    <a:pt x="1896574" y="1286726"/>
                  </a:cubicBezTo>
                  <a:cubicBezTo>
                    <a:pt x="1739775" y="1211659"/>
                    <a:pt x="1571805" y="1172851"/>
                    <a:pt x="1405991" y="1172851"/>
                  </a:cubicBezTo>
                  <a:cubicBezTo>
                    <a:pt x="1377767" y="1172851"/>
                    <a:pt x="1349642" y="1173929"/>
                    <a:pt x="1321614" y="1176281"/>
                  </a:cubicBezTo>
                  <a:cubicBezTo>
                    <a:pt x="1119246" y="1191961"/>
                    <a:pt x="910704" y="1151586"/>
                    <a:pt x="718430" y="1059565"/>
                  </a:cubicBezTo>
                  <a:cubicBezTo>
                    <a:pt x="296839" y="857883"/>
                    <a:pt x="48216" y="438545"/>
                    <a:pt x="42434" y="0"/>
                  </a:cubicBezTo>
                  <a:lnTo>
                    <a:pt x="0" y="0"/>
                  </a:lnTo>
                  <a:cubicBezTo>
                    <a:pt x="5782" y="454323"/>
                    <a:pt x="263323" y="888850"/>
                    <a:pt x="700105" y="1097882"/>
                  </a:cubicBezTo>
                  <a:cubicBezTo>
                    <a:pt x="899140" y="1193137"/>
                    <a:pt x="1115130" y="1234885"/>
                    <a:pt x="1324946" y="1218617"/>
                  </a:cubicBezTo>
                  <a:cubicBezTo>
                    <a:pt x="1510164" y="1203721"/>
                    <a:pt x="1701458" y="1240471"/>
                    <a:pt x="1878248" y="1325044"/>
                  </a:cubicBezTo>
                  <a:cubicBezTo>
                    <a:pt x="2417732" y="1583173"/>
                    <a:pt x="2646560" y="2232122"/>
                    <a:pt x="2388431" y="2771606"/>
                  </a:cubicBezTo>
                  <a:cubicBezTo>
                    <a:pt x="2278672" y="3000924"/>
                    <a:pt x="2090808" y="3185162"/>
                    <a:pt x="1859530" y="3290217"/>
                  </a:cubicBezTo>
                  <a:cubicBezTo>
                    <a:pt x="1550833" y="3429963"/>
                    <a:pt x="1300250" y="3675254"/>
                    <a:pt x="1153938" y="3981011"/>
                  </a:cubicBezTo>
                  <a:cubicBezTo>
                    <a:pt x="810549" y="4698756"/>
                    <a:pt x="1115032" y="5562028"/>
                    <a:pt x="1832776" y="5905514"/>
                  </a:cubicBezTo>
                  <a:cubicBezTo>
                    <a:pt x="2029754" y="5999789"/>
                    <a:pt x="2240942" y="6047221"/>
                    <a:pt x="2453306" y="6047221"/>
                  </a:cubicBezTo>
                  <a:cubicBezTo>
                    <a:pt x="2615298" y="6047221"/>
                    <a:pt x="2777878" y="6019585"/>
                    <a:pt x="2935363" y="5964118"/>
                  </a:cubicBezTo>
                  <a:cubicBezTo>
                    <a:pt x="3299233" y="5835739"/>
                    <a:pt x="3591171" y="5573886"/>
                    <a:pt x="3757182" y="5226774"/>
                  </a:cubicBezTo>
                  <a:cubicBezTo>
                    <a:pt x="3868117" y="4995006"/>
                    <a:pt x="3916430" y="4741875"/>
                    <a:pt x="3897026" y="4494820"/>
                  </a:cubicBezTo>
                  <a:cubicBezTo>
                    <a:pt x="3884972" y="4346253"/>
                    <a:pt x="3914666" y="4192493"/>
                    <a:pt x="3982775" y="4050100"/>
                  </a:cubicBezTo>
                  <a:cubicBezTo>
                    <a:pt x="4083420" y="3839893"/>
                    <a:pt x="4260211" y="3681233"/>
                    <a:pt x="4480610" y="3603519"/>
                  </a:cubicBezTo>
                  <a:cubicBezTo>
                    <a:pt x="4548033" y="3579705"/>
                    <a:pt x="4616926" y="3564516"/>
                    <a:pt x="4686212" y="3557558"/>
                  </a:cubicBezTo>
                  <a:lnTo>
                    <a:pt x="4686212" y="3514830"/>
                  </a:lnTo>
                  <a:cubicBezTo>
                    <a:pt x="4612223" y="3521886"/>
                    <a:pt x="4538527" y="3538056"/>
                    <a:pt x="4466498" y="3563536"/>
                  </a:cubicBezTo>
                  <a:cubicBezTo>
                    <a:pt x="4235417" y="3645071"/>
                    <a:pt x="4050003" y="3811375"/>
                    <a:pt x="3944556" y="4031775"/>
                  </a:cubicBezTo>
                  <a:close/>
                </a:path>
              </a:pathLst>
            </a:custGeom>
            <a:solidFill>
              <a:srgbClr val="84B135"/>
            </a:solidFill>
            <a:ln w="9794"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53295F8-DE2E-6781-E315-AE99A2289494}"/>
                </a:ext>
              </a:extLst>
            </p:cNvPr>
            <p:cNvSpPr/>
            <p:nvPr/>
          </p:nvSpPr>
          <p:spPr>
            <a:xfrm>
              <a:off x="7400145" y="0"/>
              <a:ext cx="4794696" cy="6152569"/>
            </a:xfrm>
            <a:custGeom>
              <a:avLst/>
              <a:gdLst>
                <a:gd name="connsiteX0" fmla="*/ 4148100 w 4794696"/>
                <a:gd name="connsiteY0" fmla="*/ 4077148 h 6152569"/>
                <a:gd name="connsiteX1" fmla="*/ 4068329 w 4794696"/>
                <a:gd name="connsiteY1" fmla="*/ 4489822 h 6152569"/>
                <a:gd name="connsiteX2" fmla="*/ 3922506 w 4794696"/>
                <a:gd name="connsiteY2" fmla="*/ 5253821 h 6152569"/>
                <a:gd name="connsiteX3" fmla="*/ 3064819 w 4794696"/>
                <a:gd name="connsiteY3" fmla="*/ 6023309 h 6152569"/>
                <a:gd name="connsiteX4" fmla="*/ 1914116 w 4794696"/>
                <a:gd name="connsiteY4" fmla="*/ 5962256 h 6152569"/>
                <a:gd name="connsiteX5" fmla="*/ 1144628 w 4794696"/>
                <a:gd name="connsiteY5" fmla="*/ 5104569 h 6152569"/>
                <a:gd name="connsiteX6" fmla="*/ 1205681 w 4794696"/>
                <a:gd name="connsiteY6" fmla="*/ 3953865 h 6152569"/>
                <a:gd name="connsiteX7" fmla="*/ 1942241 w 4794696"/>
                <a:gd name="connsiteY7" fmla="*/ 3232887 h 6152569"/>
                <a:gd name="connsiteX8" fmla="*/ 2440174 w 4794696"/>
                <a:gd name="connsiteY8" fmla="*/ 2744460 h 6152569"/>
                <a:gd name="connsiteX9" fmla="*/ 2481628 w 4794696"/>
                <a:gd name="connsiteY9" fmla="*/ 1963801 h 6152569"/>
                <a:gd name="connsiteX10" fmla="*/ 1959587 w 4794696"/>
                <a:gd name="connsiteY10" fmla="*/ 1381883 h 6152569"/>
                <a:gd name="connsiteX11" fmla="*/ 1517808 w 4794696"/>
                <a:gd name="connsiteY11" fmla="*/ 1281336 h 6152569"/>
                <a:gd name="connsiteX12" fmla="*/ 1438527 w 4794696"/>
                <a:gd name="connsiteY12" fmla="*/ 1284472 h 6152569"/>
                <a:gd name="connsiteX13" fmla="*/ 778308 w 4794696"/>
                <a:gd name="connsiteY13" fmla="*/ 1161190 h 6152569"/>
                <a:gd name="connsiteX14" fmla="*/ 42434 w 4794696"/>
                <a:gd name="connsiteY14" fmla="*/ 0 h 6152569"/>
                <a:gd name="connsiteX15" fmla="*/ 0 w 4794696"/>
                <a:gd name="connsiteY15" fmla="*/ 0 h 6152569"/>
                <a:gd name="connsiteX16" fmla="*/ 760080 w 4794696"/>
                <a:gd name="connsiteY16" fmla="*/ 1199311 h 6152569"/>
                <a:gd name="connsiteX17" fmla="*/ 1441957 w 4794696"/>
                <a:gd name="connsiteY17" fmla="*/ 1326612 h 6152569"/>
                <a:gd name="connsiteX18" fmla="*/ 1941261 w 4794696"/>
                <a:gd name="connsiteY18" fmla="*/ 1420005 h 6152569"/>
                <a:gd name="connsiteX19" fmla="*/ 2441644 w 4794696"/>
                <a:gd name="connsiteY19" fmla="*/ 1977815 h 6152569"/>
                <a:gd name="connsiteX20" fmla="*/ 2401954 w 4794696"/>
                <a:gd name="connsiteY20" fmla="*/ 2726135 h 6152569"/>
                <a:gd name="connsiteX21" fmla="*/ 1924797 w 4794696"/>
                <a:gd name="connsiteY21" fmla="*/ 3194276 h 6152569"/>
                <a:gd name="connsiteX22" fmla="*/ 1167462 w 4794696"/>
                <a:gd name="connsiteY22" fmla="*/ 3935638 h 6152569"/>
                <a:gd name="connsiteX23" fmla="*/ 1104644 w 4794696"/>
                <a:gd name="connsiteY23" fmla="*/ 5118681 h 6152569"/>
                <a:gd name="connsiteX24" fmla="*/ 1895790 w 4794696"/>
                <a:gd name="connsiteY24" fmla="*/ 6000573 h 6152569"/>
                <a:gd name="connsiteX25" fmla="*/ 2561595 w 4794696"/>
                <a:gd name="connsiteY25" fmla="*/ 6152570 h 6152569"/>
                <a:gd name="connsiteX26" fmla="*/ 3078833 w 4794696"/>
                <a:gd name="connsiteY26" fmla="*/ 6063390 h 6152569"/>
                <a:gd name="connsiteX27" fmla="*/ 3960726 w 4794696"/>
                <a:gd name="connsiteY27" fmla="*/ 5272245 h 6152569"/>
                <a:gd name="connsiteX28" fmla="*/ 4110566 w 4794696"/>
                <a:gd name="connsiteY28" fmla="*/ 4486588 h 6152569"/>
                <a:gd name="connsiteX29" fmla="*/ 4186319 w 4794696"/>
                <a:gd name="connsiteY29" fmla="*/ 4095572 h 6152569"/>
                <a:gd name="connsiteX30" fmla="*/ 4794697 w 4794696"/>
                <a:gd name="connsiteY30" fmla="*/ 3663788 h 6152569"/>
                <a:gd name="connsiteX31" fmla="*/ 4794697 w 4794696"/>
                <a:gd name="connsiteY31" fmla="*/ 3621061 h 6152569"/>
                <a:gd name="connsiteX32" fmla="*/ 4148001 w 4794696"/>
                <a:gd name="connsiteY32" fmla="*/ 4077246 h 615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94696" h="6152569">
                  <a:moveTo>
                    <a:pt x="4148100" y="4077148"/>
                  </a:moveTo>
                  <a:cubicBezTo>
                    <a:pt x="4084890" y="4209251"/>
                    <a:pt x="4057352" y="4351937"/>
                    <a:pt x="4068329" y="4489822"/>
                  </a:cubicBezTo>
                  <a:cubicBezTo>
                    <a:pt x="4088516" y="4748147"/>
                    <a:pt x="4038047" y="5012352"/>
                    <a:pt x="3922506" y="5253821"/>
                  </a:cubicBezTo>
                  <a:cubicBezTo>
                    <a:pt x="3749146" y="5616026"/>
                    <a:pt x="3444565" y="5889345"/>
                    <a:pt x="3064819" y="6023309"/>
                  </a:cubicBezTo>
                  <a:cubicBezTo>
                    <a:pt x="2685073" y="6157274"/>
                    <a:pt x="2276418" y="6135616"/>
                    <a:pt x="1914116" y="5962256"/>
                  </a:cubicBezTo>
                  <a:cubicBezTo>
                    <a:pt x="1551813" y="5788896"/>
                    <a:pt x="1278592" y="5484315"/>
                    <a:pt x="1144628" y="5104569"/>
                  </a:cubicBezTo>
                  <a:cubicBezTo>
                    <a:pt x="1010663" y="4724823"/>
                    <a:pt x="1032321" y="4316168"/>
                    <a:pt x="1205681" y="3953865"/>
                  </a:cubicBezTo>
                  <a:cubicBezTo>
                    <a:pt x="1358657" y="3634193"/>
                    <a:pt x="1620217" y="3378220"/>
                    <a:pt x="1942241" y="3232887"/>
                  </a:cubicBezTo>
                  <a:cubicBezTo>
                    <a:pt x="2159799" y="3134398"/>
                    <a:pt x="2336589" y="2960940"/>
                    <a:pt x="2440174" y="2744460"/>
                  </a:cubicBezTo>
                  <a:cubicBezTo>
                    <a:pt x="2557773" y="2498679"/>
                    <a:pt x="2572472" y="2221440"/>
                    <a:pt x="2481628" y="1963801"/>
                  </a:cubicBezTo>
                  <a:cubicBezTo>
                    <a:pt x="2390782" y="1706162"/>
                    <a:pt x="2205369" y="1499482"/>
                    <a:pt x="1959587" y="1381883"/>
                  </a:cubicBezTo>
                  <a:cubicBezTo>
                    <a:pt x="1821115" y="1315636"/>
                    <a:pt x="1669902" y="1281336"/>
                    <a:pt x="1517808" y="1281336"/>
                  </a:cubicBezTo>
                  <a:cubicBezTo>
                    <a:pt x="1491446" y="1281336"/>
                    <a:pt x="1464986" y="1282414"/>
                    <a:pt x="1438527" y="1284472"/>
                  </a:cubicBezTo>
                  <a:cubicBezTo>
                    <a:pt x="1212541" y="1302308"/>
                    <a:pt x="984204" y="1259678"/>
                    <a:pt x="778308" y="1161190"/>
                  </a:cubicBezTo>
                  <a:cubicBezTo>
                    <a:pt x="317027" y="940300"/>
                    <a:pt x="45864" y="480097"/>
                    <a:pt x="42434" y="0"/>
                  </a:cubicBezTo>
                  <a:lnTo>
                    <a:pt x="0" y="0"/>
                  </a:lnTo>
                  <a:cubicBezTo>
                    <a:pt x="3528" y="495875"/>
                    <a:pt x="283511" y="971268"/>
                    <a:pt x="760080" y="1199311"/>
                  </a:cubicBezTo>
                  <a:cubicBezTo>
                    <a:pt x="972640" y="1301034"/>
                    <a:pt x="1208523" y="1345036"/>
                    <a:pt x="1441957" y="1326612"/>
                  </a:cubicBezTo>
                  <a:cubicBezTo>
                    <a:pt x="1612867" y="1313186"/>
                    <a:pt x="1785541" y="1345427"/>
                    <a:pt x="1941261" y="1420005"/>
                  </a:cubicBezTo>
                  <a:cubicBezTo>
                    <a:pt x="2176851" y="1532703"/>
                    <a:pt x="2354523" y="1730857"/>
                    <a:pt x="2441644" y="1977815"/>
                  </a:cubicBezTo>
                  <a:cubicBezTo>
                    <a:pt x="2528765" y="2224772"/>
                    <a:pt x="2514653" y="2490545"/>
                    <a:pt x="2401954" y="2726135"/>
                  </a:cubicBezTo>
                  <a:cubicBezTo>
                    <a:pt x="2301211" y="2936636"/>
                    <a:pt x="2136181" y="3098531"/>
                    <a:pt x="1924797" y="3194276"/>
                  </a:cubicBezTo>
                  <a:cubicBezTo>
                    <a:pt x="1593659" y="3343724"/>
                    <a:pt x="1324750" y="3606949"/>
                    <a:pt x="1167462" y="3935638"/>
                  </a:cubicBezTo>
                  <a:cubicBezTo>
                    <a:pt x="989201" y="4308132"/>
                    <a:pt x="966956" y="4728253"/>
                    <a:pt x="1104644" y="5118681"/>
                  </a:cubicBezTo>
                  <a:cubicBezTo>
                    <a:pt x="1242333" y="5509109"/>
                    <a:pt x="1523296" y="5822313"/>
                    <a:pt x="1895790" y="6000573"/>
                  </a:cubicBezTo>
                  <a:cubicBezTo>
                    <a:pt x="2107076" y="6101708"/>
                    <a:pt x="2333747" y="6152570"/>
                    <a:pt x="2561595" y="6152570"/>
                  </a:cubicBezTo>
                  <a:cubicBezTo>
                    <a:pt x="2735347" y="6152570"/>
                    <a:pt x="2909883" y="6122974"/>
                    <a:pt x="3078833" y="6063390"/>
                  </a:cubicBezTo>
                  <a:cubicBezTo>
                    <a:pt x="3469261" y="5925702"/>
                    <a:pt x="3782466" y="5644739"/>
                    <a:pt x="3960726" y="5272245"/>
                  </a:cubicBezTo>
                  <a:cubicBezTo>
                    <a:pt x="4079500" y="5024014"/>
                    <a:pt x="4131244" y="4752361"/>
                    <a:pt x="4110566" y="4486588"/>
                  </a:cubicBezTo>
                  <a:cubicBezTo>
                    <a:pt x="4100178" y="4356151"/>
                    <a:pt x="4126344" y="4220913"/>
                    <a:pt x="4186319" y="4095572"/>
                  </a:cubicBezTo>
                  <a:cubicBezTo>
                    <a:pt x="4304898" y="3847733"/>
                    <a:pt x="4539900" y="3692502"/>
                    <a:pt x="4794697" y="3663788"/>
                  </a:cubicBezTo>
                  <a:lnTo>
                    <a:pt x="4794697" y="3621061"/>
                  </a:lnTo>
                  <a:cubicBezTo>
                    <a:pt x="4524024" y="3650069"/>
                    <a:pt x="4273930" y="3814217"/>
                    <a:pt x="4148001" y="4077246"/>
                  </a:cubicBezTo>
                  <a:close/>
                </a:path>
              </a:pathLst>
            </a:custGeom>
            <a:solidFill>
              <a:srgbClr val="84B135"/>
            </a:solidFill>
            <a:ln w="9794"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F9B9A842-C587-C8FB-804D-F51723DFA164}"/>
                </a:ext>
              </a:extLst>
            </p:cNvPr>
            <p:cNvSpPr/>
            <p:nvPr/>
          </p:nvSpPr>
          <p:spPr>
            <a:xfrm>
              <a:off x="7294796" y="0"/>
              <a:ext cx="4900143" cy="6257918"/>
            </a:xfrm>
            <a:custGeom>
              <a:avLst/>
              <a:gdLst>
                <a:gd name="connsiteX0" fmla="*/ 4348410 w 4900143"/>
                <a:gd name="connsiteY0" fmla="*/ 4122620 h 6257918"/>
                <a:gd name="connsiteX1" fmla="*/ 4278634 w 4900143"/>
                <a:gd name="connsiteY1" fmla="*/ 4482178 h 6257918"/>
                <a:gd name="connsiteX2" fmla="*/ 4122816 w 4900143"/>
                <a:gd name="connsiteY2" fmla="*/ 5299293 h 6257918"/>
                <a:gd name="connsiteX3" fmla="*/ 3205154 w 4900143"/>
                <a:gd name="connsiteY3" fmla="*/ 6122582 h 6257918"/>
                <a:gd name="connsiteX4" fmla="*/ 1973993 w 4900143"/>
                <a:gd name="connsiteY4" fmla="*/ 6057217 h 6257918"/>
                <a:gd name="connsiteX5" fmla="*/ 1216069 w 4900143"/>
                <a:gd name="connsiteY5" fmla="*/ 3908394 h 6257918"/>
                <a:gd name="connsiteX6" fmla="*/ 2003001 w 4900143"/>
                <a:gd name="connsiteY6" fmla="*/ 3137534 h 6257918"/>
                <a:gd name="connsiteX7" fmla="*/ 2450562 w 4900143"/>
                <a:gd name="connsiteY7" fmla="*/ 2698989 h 6257918"/>
                <a:gd name="connsiteX8" fmla="*/ 2487703 w 4900143"/>
                <a:gd name="connsiteY8" fmla="*/ 1998787 h 6257918"/>
                <a:gd name="connsiteX9" fmla="*/ 2019464 w 4900143"/>
                <a:gd name="connsiteY9" fmla="*/ 1476844 h 6257918"/>
                <a:gd name="connsiteX10" fmla="*/ 1623647 w 4900143"/>
                <a:gd name="connsiteY10" fmla="*/ 1386587 h 6257918"/>
                <a:gd name="connsiteX11" fmla="*/ 1551323 w 4900143"/>
                <a:gd name="connsiteY11" fmla="*/ 1389527 h 6257918"/>
                <a:gd name="connsiteX12" fmla="*/ 838283 w 4900143"/>
                <a:gd name="connsiteY12" fmla="*/ 1256150 h 6257918"/>
                <a:gd name="connsiteX13" fmla="*/ 42434 w 4900143"/>
                <a:gd name="connsiteY13" fmla="*/ 0 h 6257918"/>
                <a:gd name="connsiteX14" fmla="*/ 0 w 4900143"/>
                <a:gd name="connsiteY14" fmla="*/ 0 h 6257918"/>
                <a:gd name="connsiteX15" fmla="*/ 819957 w 4900143"/>
                <a:gd name="connsiteY15" fmla="*/ 1294370 h 6257918"/>
                <a:gd name="connsiteX16" fmla="*/ 1554753 w 4900143"/>
                <a:gd name="connsiteY16" fmla="*/ 1431765 h 6257918"/>
                <a:gd name="connsiteX17" fmla="*/ 2001237 w 4900143"/>
                <a:gd name="connsiteY17" fmla="*/ 1515064 h 6257918"/>
                <a:gd name="connsiteX18" fmla="*/ 2412342 w 4900143"/>
                <a:gd name="connsiteY18" fmla="*/ 2680663 h 6257918"/>
                <a:gd name="connsiteX19" fmla="*/ 1985557 w 4900143"/>
                <a:gd name="connsiteY19" fmla="*/ 3098923 h 6257918"/>
                <a:gd name="connsiteX20" fmla="*/ 1177849 w 4900143"/>
                <a:gd name="connsiteY20" fmla="*/ 3890166 h 6257918"/>
                <a:gd name="connsiteX21" fmla="*/ 1955765 w 4900143"/>
                <a:gd name="connsiteY21" fmla="*/ 6095534 h 6257918"/>
                <a:gd name="connsiteX22" fmla="*/ 2666846 w 4900143"/>
                <a:gd name="connsiteY22" fmla="*/ 6257919 h 6257918"/>
                <a:gd name="connsiteX23" fmla="*/ 3219266 w 4900143"/>
                <a:gd name="connsiteY23" fmla="*/ 6162663 h 6257918"/>
                <a:gd name="connsiteX24" fmla="*/ 4161134 w 4900143"/>
                <a:gd name="connsiteY24" fmla="*/ 5317717 h 6257918"/>
                <a:gd name="connsiteX25" fmla="*/ 4320970 w 4900143"/>
                <a:gd name="connsiteY25" fmla="*/ 4478944 h 6257918"/>
                <a:gd name="connsiteX26" fmla="*/ 4386727 w 4900143"/>
                <a:gd name="connsiteY26" fmla="*/ 4141043 h 6257918"/>
                <a:gd name="connsiteX27" fmla="*/ 4900144 w 4900143"/>
                <a:gd name="connsiteY27" fmla="*/ 3769823 h 6257918"/>
                <a:gd name="connsiteX28" fmla="*/ 4900144 w 4900143"/>
                <a:gd name="connsiteY28" fmla="*/ 3727096 h 6257918"/>
                <a:gd name="connsiteX29" fmla="*/ 4348508 w 4900143"/>
                <a:gd name="connsiteY29" fmla="*/ 4122718 h 625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00143" h="6257918">
                  <a:moveTo>
                    <a:pt x="4348410" y="4122620"/>
                  </a:moveTo>
                  <a:cubicBezTo>
                    <a:pt x="4293334" y="4237768"/>
                    <a:pt x="4269227" y="4362129"/>
                    <a:pt x="4278634" y="4482178"/>
                  </a:cubicBezTo>
                  <a:cubicBezTo>
                    <a:pt x="4299998" y="4759123"/>
                    <a:pt x="4246099" y="5041654"/>
                    <a:pt x="4122816" y="5299293"/>
                  </a:cubicBezTo>
                  <a:cubicBezTo>
                    <a:pt x="3937402" y="5686879"/>
                    <a:pt x="3611457" y="5979210"/>
                    <a:pt x="3205154" y="6122582"/>
                  </a:cubicBezTo>
                  <a:cubicBezTo>
                    <a:pt x="2798850" y="6265857"/>
                    <a:pt x="2361579" y="6242729"/>
                    <a:pt x="1973993" y="6057217"/>
                  </a:cubicBezTo>
                  <a:cubicBezTo>
                    <a:pt x="1172557" y="5673747"/>
                    <a:pt x="832599" y="4709829"/>
                    <a:pt x="1216069" y="3908394"/>
                  </a:cubicBezTo>
                  <a:cubicBezTo>
                    <a:pt x="1379433" y="3566868"/>
                    <a:pt x="1658926" y="3293157"/>
                    <a:pt x="2003001" y="3137534"/>
                  </a:cubicBezTo>
                  <a:cubicBezTo>
                    <a:pt x="2198508" y="3049237"/>
                    <a:pt x="2357463" y="2893517"/>
                    <a:pt x="2450562" y="2698989"/>
                  </a:cubicBezTo>
                  <a:cubicBezTo>
                    <a:pt x="2556009" y="2478491"/>
                    <a:pt x="2569239" y="2229868"/>
                    <a:pt x="2487703" y="1998787"/>
                  </a:cubicBezTo>
                  <a:cubicBezTo>
                    <a:pt x="2406168" y="1767705"/>
                    <a:pt x="2239864" y="1582291"/>
                    <a:pt x="2019464" y="1476844"/>
                  </a:cubicBezTo>
                  <a:cubicBezTo>
                    <a:pt x="1895104" y="1417359"/>
                    <a:pt x="1759571" y="1386587"/>
                    <a:pt x="1623647" y="1386587"/>
                  </a:cubicBezTo>
                  <a:cubicBezTo>
                    <a:pt x="1599539" y="1386587"/>
                    <a:pt x="1575431" y="1387567"/>
                    <a:pt x="1551323" y="1389527"/>
                  </a:cubicBezTo>
                  <a:cubicBezTo>
                    <a:pt x="1307502" y="1408833"/>
                    <a:pt x="1060937" y="1362773"/>
                    <a:pt x="838283" y="1256150"/>
                  </a:cubicBezTo>
                  <a:cubicBezTo>
                    <a:pt x="339174" y="1017229"/>
                    <a:pt x="45962" y="519394"/>
                    <a:pt x="42434" y="0"/>
                  </a:cubicBezTo>
                  <a:lnTo>
                    <a:pt x="0" y="0"/>
                  </a:lnTo>
                  <a:cubicBezTo>
                    <a:pt x="3528" y="535172"/>
                    <a:pt x="305659" y="1048197"/>
                    <a:pt x="819957" y="1294370"/>
                  </a:cubicBezTo>
                  <a:cubicBezTo>
                    <a:pt x="1049373" y="1404129"/>
                    <a:pt x="1303386" y="1451658"/>
                    <a:pt x="1554753" y="1431765"/>
                  </a:cubicBezTo>
                  <a:cubicBezTo>
                    <a:pt x="1707142" y="1419417"/>
                    <a:pt x="1861490" y="1448228"/>
                    <a:pt x="2001237" y="1515064"/>
                  </a:cubicBezTo>
                  <a:cubicBezTo>
                    <a:pt x="2435960" y="1723115"/>
                    <a:pt x="2620394" y="2245940"/>
                    <a:pt x="2412342" y="2680663"/>
                  </a:cubicBezTo>
                  <a:cubicBezTo>
                    <a:pt x="2323555" y="2866175"/>
                    <a:pt x="2172049" y="3014742"/>
                    <a:pt x="1985557" y="3098923"/>
                  </a:cubicBezTo>
                  <a:cubicBezTo>
                    <a:pt x="1632369" y="3258661"/>
                    <a:pt x="1345526" y="3539624"/>
                    <a:pt x="1177849" y="3890166"/>
                  </a:cubicBezTo>
                  <a:cubicBezTo>
                    <a:pt x="784286" y="4712672"/>
                    <a:pt x="1133260" y="5701971"/>
                    <a:pt x="1955765" y="6095534"/>
                  </a:cubicBezTo>
                  <a:cubicBezTo>
                    <a:pt x="2181457" y="6203529"/>
                    <a:pt x="2423514" y="6257919"/>
                    <a:pt x="2666846" y="6257919"/>
                  </a:cubicBezTo>
                  <a:cubicBezTo>
                    <a:pt x="2852456" y="6257919"/>
                    <a:pt x="3038849" y="6226265"/>
                    <a:pt x="3219266" y="6162663"/>
                  </a:cubicBezTo>
                  <a:cubicBezTo>
                    <a:pt x="3636251" y="6015568"/>
                    <a:pt x="3970721" y="5715494"/>
                    <a:pt x="4161134" y="5317717"/>
                  </a:cubicBezTo>
                  <a:cubicBezTo>
                    <a:pt x="4287650" y="5053316"/>
                    <a:pt x="4342922" y="4763337"/>
                    <a:pt x="4320970" y="4478944"/>
                  </a:cubicBezTo>
                  <a:cubicBezTo>
                    <a:pt x="4312052" y="4366343"/>
                    <a:pt x="4334788" y="4249430"/>
                    <a:pt x="4386727" y="4141043"/>
                  </a:cubicBezTo>
                  <a:cubicBezTo>
                    <a:pt x="4487274" y="3930934"/>
                    <a:pt x="4684742" y="3798047"/>
                    <a:pt x="4900144" y="3769823"/>
                  </a:cubicBezTo>
                  <a:lnTo>
                    <a:pt x="4900144" y="3727096"/>
                  </a:lnTo>
                  <a:cubicBezTo>
                    <a:pt x="4668866" y="3755516"/>
                    <a:pt x="4456306" y="3897418"/>
                    <a:pt x="4348508" y="4122718"/>
                  </a:cubicBezTo>
                  <a:close/>
                </a:path>
              </a:pathLst>
            </a:custGeom>
            <a:solidFill>
              <a:srgbClr val="84B135"/>
            </a:solidFill>
            <a:ln w="9794"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4B6E7D3-3ADF-CA37-F55A-E8FCE58DF834}"/>
                </a:ext>
              </a:extLst>
            </p:cNvPr>
            <p:cNvSpPr/>
            <p:nvPr/>
          </p:nvSpPr>
          <p:spPr>
            <a:xfrm>
              <a:off x="7189153" y="0"/>
              <a:ext cx="5005884" cy="6362777"/>
            </a:xfrm>
            <a:custGeom>
              <a:avLst/>
              <a:gdLst>
                <a:gd name="connsiteX0" fmla="*/ 4549013 w 5005884"/>
                <a:gd name="connsiteY0" fmla="*/ 4168091 h 6362777"/>
                <a:gd name="connsiteX1" fmla="*/ 4489136 w 5005884"/>
                <a:gd name="connsiteY1" fmla="*/ 4472770 h 6362777"/>
                <a:gd name="connsiteX2" fmla="*/ 4323420 w 5005884"/>
                <a:gd name="connsiteY2" fmla="*/ 5344765 h 6362777"/>
                <a:gd name="connsiteX3" fmla="*/ 2034164 w 5005884"/>
                <a:gd name="connsiteY3" fmla="*/ 6152276 h 6362777"/>
                <a:gd name="connsiteX4" fmla="*/ 1157074 w 5005884"/>
                <a:gd name="connsiteY4" fmla="*/ 5174639 h 6362777"/>
                <a:gd name="connsiteX5" fmla="*/ 1226653 w 5005884"/>
                <a:gd name="connsiteY5" fmla="*/ 3863020 h 6362777"/>
                <a:gd name="connsiteX6" fmla="*/ 2063760 w 5005884"/>
                <a:gd name="connsiteY6" fmla="*/ 3042377 h 6362777"/>
                <a:gd name="connsiteX7" fmla="*/ 2461244 w 5005884"/>
                <a:gd name="connsiteY7" fmla="*/ 2653615 h 6362777"/>
                <a:gd name="connsiteX8" fmla="*/ 2079734 w 5005884"/>
                <a:gd name="connsiteY8" fmla="*/ 1571903 h 6362777"/>
                <a:gd name="connsiteX9" fmla="*/ 1728506 w 5005884"/>
                <a:gd name="connsiteY9" fmla="*/ 1492034 h 6362777"/>
                <a:gd name="connsiteX10" fmla="*/ 1665982 w 5005884"/>
                <a:gd name="connsiteY10" fmla="*/ 1494484 h 6362777"/>
                <a:gd name="connsiteX11" fmla="*/ 898552 w 5005884"/>
                <a:gd name="connsiteY11" fmla="*/ 1351210 h 6362777"/>
                <a:gd name="connsiteX12" fmla="*/ 129065 w 5005884"/>
                <a:gd name="connsiteY12" fmla="*/ 493523 h 6362777"/>
                <a:gd name="connsiteX13" fmla="*/ 42434 w 5005884"/>
                <a:gd name="connsiteY13" fmla="*/ 0 h 6362777"/>
                <a:gd name="connsiteX14" fmla="*/ 0 w 5005884"/>
                <a:gd name="connsiteY14" fmla="*/ 0 h 6362777"/>
                <a:gd name="connsiteX15" fmla="*/ 89081 w 5005884"/>
                <a:gd name="connsiteY15" fmla="*/ 507439 h 6362777"/>
                <a:gd name="connsiteX16" fmla="*/ 880227 w 5005884"/>
                <a:gd name="connsiteY16" fmla="*/ 1389331 h 6362777"/>
                <a:gd name="connsiteX17" fmla="*/ 1669314 w 5005884"/>
                <a:gd name="connsiteY17" fmla="*/ 1536624 h 6362777"/>
                <a:gd name="connsiteX18" fmla="*/ 2061506 w 5005884"/>
                <a:gd name="connsiteY18" fmla="*/ 1610025 h 6362777"/>
                <a:gd name="connsiteX19" fmla="*/ 2423122 w 5005884"/>
                <a:gd name="connsiteY19" fmla="*/ 2635192 h 6362777"/>
                <a:gd name="connsiteX20" fmla="*/ 2046414 w 5005884"/>
                <a:gd name="connsiteY20" fmla="*/ 3003668 h 6362777"/>
                <a:gd name="connsiteX21" fmla="*/ 1188629 w 5005884"/>
                <a:gd name="connsiteY21" fmla="*/ 3844695 h 6362777"/>
                <a:gd name="connsiteX22" fmla="*/ 1117286 w 5005884"/>
                <a:gd name="connsiteY22" fmla="*/ 5188750 h 6362777"/>
                <a:gd name="connsiteX23" fmla="*/ 2016034 w 5005884"/>
                <a:gd name="connsiteY23" fmla="*/ 6190594 h 6362777"/>
                <a:gd name="connsiteX24" fmla="*/ 2772488 w 5005884"/>
                <a:gd name="connsiteY24" fmla="*/ 6362778 h 6362777"/>
                <a:gd name="connsiteX25" fmla="*/ 4361835 w 5005884"/>
                <a:gd name="connsiteY25" fmla="*/ 5363189 h 6362777"/>
                <a:gd name="connsiteX26" fmla="*/ 4531570 w 5005884"/>
                <a:gd name="connsiteY26" fmla="*/ 4469634 h 6362777"/>
                <a:gd name="connsiteX27" fmla="*/ 4587429 w 5005884"/>
                <a:gd name="connsiteY27" fmla="*/ 4186515 h 6362777"/>
                <a:gd name="connsiteX28" fmla="*/ 5005884 w 5005884"/>
                <a:gd name="connsiteY28" fmla="*/ 3876054 h 6362777"/>
                <a:gd name="connsiteX29" fmla="*/ 5005884 w 5005884"/>
                <a:gd name="connsiteY29" fmla="*/ 3833131 h 6362777"/>
                <a:gd name="connsiteX30" fmla="*/ 4549209 w 5005884"/>
                <a:gd name="connsiteY30" fmla="*/ 4168091 h 63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05884" h="6362777">
                  <a:moveTo>
                    <a:pt x="4549013" y="4168091"/>
                  </a:moveTo>
                  <a:cubicBezTo>
                    <a:pt x="4502072" y="4266188"/>
                    <a:pt x="4481394" y="4371537"/>
                    <a:pt x="4489136" y="4472770"/>
                  </a:cubicBezTo>
                  <a:cubicBezTo>
                    <a:pt x="4512166" y="4768531"/>
                    <a:pt x="4454934" y="5069975"/>
                    <a:pt x="4323420" y="5344765"/>
                  </a:cubicBezTo>
                  <a:cubicBezTo>
                    <a:pt x="3914862" y="6198531"/>
                    <a:pt x="2887931" y="6560735"/>
                    <a:pt x="2034164" y="6152276"/>
                  </a:cubicBezTo>
                  <a:cubicBezTo>
                    <a:pt x="1621295" y="5954710"/>
                    <a:pt x="1309756" y="5607500"/>
                    <a:pt x="1157074" y="5174639"/>
                  </a:cubicBezTo>
                  <a:cubicBezTo>
                    <a:pt x="1004391" y="4741777"/>
                    <a:pt x="1029087" y="4275988"/>
                    <a:pt x="1226653" y="3863020"/>
                  </a:cubicBezTo>
                  <a:cubicBezTo>
                    <a:pt x="1400209" y="3500424"/>
                    <a:pt x="1697440" y="3208878"/>
                    <a:pt x="2063760" y="3042377"/>
                  </a:cubicBezTo>
                  <a:cubicBezTo>
                    <a:pt x="2237708" y="2963782"/>
                    <a:pt x="2378925" y="2825702"/>
                    <a:pt x="2461244" y="2653615"/>
                  </a:cubicBezTo>
                  <a:cubicBezTo>
                    <a:pt x="2654302" y="2250154"/>
                    <a:pt x="2483098" y="1764961"/>
                    <a:pt x="2079734" y="1571903"/>
                  </a:cubicBezTo>
                  <a:cubicBezTo>
                    <a:pt x="1969681" y="1519278"/>
                    <a:pt x="1849436" y="1492034"/>
                    <a:pt x="1728506" y="1492034"/>
                  </a:cubicBezTo>
                  <a:cubicBezTo>
                    <a:pt x="1707632" y="1492034"/>
                    <a:pt x="1686758" y="1492818"/>
                    <a:pt x="1665982" y="1494484"/>
                  </a:cubicBezTo>
                  <a:cubicBezTo>
                    <a:pt x="1403051" y="1515162"/>
                    <a:pt x="1137670" y="1465672"/>
                    <a:pt x="898552" y="1351210"/>
                  </a:cubicBezTo>
                  <a:cubicBezTo>
                    <a:pt x="536348" y="1177849"/>
                    <a:pt x="263029" y="873269"/>
                    <a:pt x="129065" y="493523"/>
                  </a:cubicBezTo>
                  <a:cubicBezTo>
                    <a:pt x="72225" y="332216"/>
                    <a:pt x="43512" y="165814"/>
                    <a:pt x="42434" y="0"/>
                  </a:cubicBezTo>
                  <a:lnTo>
                    <a:pt x="0" y="0"/>
                  </a:lnTo>
                  <a:cubicBezTo>
                    <a:pt x="1078" y="170518"/>
                    <a:pt x="30576" y="341722"/>
                    <a:pt x="89081" y="507439"/>
                  </a:cubicBezTo>
                  <a:cubicBezTo>
                    <a:pt x="226770" y="897866"/>
                    <a:pt x="507733" y="1211071"/>
                    <a:pt x="880227" y="1389331"/>
                  </a:cubicBezTo>
                  <a:cubicBezTo>
                    <a:pt x="1126106" y="1506930"/>
                    <a:pt x="1398935" y="1557987"/>
                    <a:pt x="1669314" y="1536624"/>
                  </a:cubicBezTo>
                  <a:cubicBezTo>
                    <a:pt x="1803573" y="1526138"/>
                    <a:pt x="1939203" y="1551519"/>
                    <a:pt x="2061506" y="1610025"/>
                  </a:cubicBezTo>
                  <a:cubicBezTo>
                    <a:pt x="2443800" y="1792989"/>
                    <a:pt x="2606086" y="2252898"/>
                    <a:pt x="2423122" y="2635192"/>
                  </a:cubicBezTo>
                  <a:cubicBezTo>
                    <a:pt x="2345115" y="2798262"/>
                    <a:pt x="2211346" y="2929091"/>
                    <a:pt x="2046414" y="3003668"/>
                  </a:cubicBezTo>
                  <a:cubicBezTo>
                    <a:pt x="1671078" y="3174382"/>
                    <a:pt x="1366399" y="3473083"/>
                    <a:pt x="1188629" y="3844695"/>
                  </a:cubicBezTo>
                  <a:cubicBezTo>
                    <a:pt x="986163" y="4267854"/>
                    <a:pt x="960782" y="4745109"/>
                    <a:pt x="1117286" y="5188750"/>
                  </a:cubicBezTo>
                  <a:cubicBezTo>
                    <a:pt x="1273692" y="5632293"/>
                    <a:pt x="1592973" y="5988127"/>
                    <a:pt x="2016034" y="6190594"/>
                  </a:cubicBezTo>
                  <a:cubicBezTo>
                    <a:pt x="2260248" y="6307506"/>
                    <a:pt x="2518279" y="6362778"/>
                    <a:pt x="2772488" y="6362778"/>
                  </a:cubicBezTo>
                  <a:cubicBezTo>
                    <a:pt x="3428983" y="6362778"/>
                    <a:pt x="4060096" y="5993811"/>
                    <a:pt x="4361835" y="5363189"/>
                  </a:cubicBezTo>
                  <a:cubicBezTo>
                    <a:pt x="4496486" y="5081735"/>
                    <a:pt x="4555187" y="4772745"/>
                    <a:pt x="4531570" y="4469634"/>
                  </a:cubicBezTo>
                  <a:cubicBezTo>
                    <a:pt x="4524416" y="4375849"/>
                    <a:pt x="4543721" y="4277948"/>
                    <a:pt x="4587429" y="4186515"/>
                  </a:cubicBezTo>
                  <a:cubicBezTo>
                    <a:pt x="4669944" y="4014135"/>
                    <a:pt x="4829878" y="3903494"/>
                    <a:pt x="5005884" y="3876054"/>
                  </a:cubicBezTo>
                  <a:lnTo>
                    <a:pt x="5005884" y="3833131"/>
                  </a:lnTo>
                  <a:cubicBezTo>
                    <a:pt x="4814100" y="3860864"/>
                    <a:pt x="4638976" y="3980521"/>
                    <a:pt x="4549209" y="4168091"/>
                  </a:cubicBezTo>
                  <a:close/>
                </a:path>
              </a:pathLst>
            </a:custGeom>
            <a:solidFill>
              <a:srgbClr val="84B135"/>
            </a:solidFill>
            <a:ln w="9794"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D8359D96-8DF3-76CD-7332-5921657B0754}"/>
                </a:ext>
              </a:extLst>
            </p:cNvPr>
            <p:cNvSpPr/>
            <p:nvPr/>
          </p:nvSpPr>
          <p:spPr>
            <a:xfrm>
              <a:off x="7084196" y="0"/>
              <a:ext cx="5110742" cy="6467930"/>
            </a:xfrm>
            <a:custGeom>
              <a:avLst/>
              <a:gdLst>
                <a:gd name="connsiteX0" fmla="*/ 4749029 w 5110742"/>
                <a:gd name="connsiteY0" fmla="*/ 4213563 h 6467930"/>
                <a:gd name="connsiteX1" fmla="*/ 4699246 w 5110742"/>
                <a:gd name="connsiteY1" fmla="*/ 4466106 h 6467930"/>
                <a:gd name="connsiteX2" fmla="*/ 4523436 w 5110742"/>
                <a:gd name="connsiteY2" fmla="*/ 5390138 h 6467930"/>
                <a:gd name="connsiteX3" fmla="*/ 2093748 w 5110742"/>
                <a:gd name="connsiteY3" fmla="*/ 6247139 h 6467930"/>
                <a:gd name="connsiteX4" fmla="*/ 1236747 w 5110742"/>
                <a:gd name="connsiteY4" fmla="*/ 3817451 h 6467930"/>
                <a:gd name="connsiteX5" fmla="*/ 2126479 w 5110742"/>
                <a:gd name="connsiteY5" fmla="*/ 2945848 h 6467930"/>
                <a:gd name="connsiteX6" fmla="*/ 2471239 w 5110742"/>
                <a:gd name="connsiteY6" fmla="*/ 2608046 h 6467930"/>
                <a:gd name="connsiteX7" fmla="*/ 2499855 w 5110742"/>
                <a:gd name="connsiteY7" fmla="*/ 2068758 h 6467930"/>
                <a:gd name="connsiteX8" fmla="*/ 2139219 w 5110742"/>
                <a:gd name="connsiteY8" fmla="*/ 1666766 h 6467930"/>
                <a:gd name="connsiteX9" fmla="*/ 1833266 w 5110742"/>
                <a:gd name="connsiteY9" fmla="*/ 1597187 h 6467930"/>
                <a:gd name="connsiteX10" fmla="*/ 1780053 w 5110742"/>
                <a:gd name="connsiteY10" fmla="*/ 1599245 h 6467930"/>
                <a:gd name="connsiteX11" fmla="*/ 958038 w 5110742"/>
                <a:gd name="connsiteY11" fmla="*/ 1446072 h 6467930"/>
                <a:gd name="connsiteX12" fmla="*/ 42434 w 5110742"/>
                <a:gd name="connsiteY12" fmla="*/ 0 h 6467930"/>
                <a:gd name="connsiteX13" fmla="*/ 0 w 5110742"/>
                <a:gd name="connsiteY13" fmla="*/ 0 h 6467930"/>
                <a:gd name="connsiteX14" fmla="*/ 939614 w 5110742"/>
                <a:gd name="connsiteY14" fmla="*/ 1484292 h 6467930"/>
                <a:gd name="connsiteX15" fmla="*/ 1783287 w 5110742"/>
                <a:gd name="connsiteY15" fmla="*/ 1641482 h 6467930"/>
                <a:gd name="connsiteX16" fmla="*/ 2120893 w 5110742"/>
                <a:gd name="connsiteY16" fmla="*/ 1704986 h 6467930"/>
                <a:gd name="connsiteX17" fmla="*/ 2459872 w 5110742"/>
                <a:gd name="connsiteY17" fmla="*/ 2082772 h 6467930"/>
                <a:gd name="connsiteX18" fmla="*/ 2433020 w 5110742"/>
                <a:gd name="connsiteY18" fmla="*/ 2589622 h 6467930"/>
                <a:gd name="connsiteX19" fmla="*/ 2109133 w 5110742"/>
                <a:gd name="connsiteY19" fmla="*/ 2907139 h 6467930"/>
                <a:gd name="connsiteX20" fmla="*/ 1198527 w 5110742"/>
                <a:gd name="connsiteY20" fmla="*/ 3799125 h 6467930"/>
                <a:gd name="connsiteX21" fmla="*/ 2075520 w 5110742"/>
                <a:gd name="connsiteY21" fmla="*/ 6285456 h 6467930"/>
                <a:gd name="connsiteX22" fmla="*/ 2877249 w 5110742"/>
                <a:gd name="connsiteY22" fmla="*/ 6467930 h 6467930"/>
                <a:gd name="connsiteX23" fmla="*/ 4561753 w 5110742"/>
                <a:gd name="connsiteY23" fmla="*/ 5408464 h 6467930"/>
                <a:gd name="connsiteX24" fmla="*/ 4741581 w 5110742"/>
                <a:gd name="connsiteY24" fmla="*/ 4462774 h 6467930"/>
                <a:gd name="connsiteX25" fmla="*/ 4787347 w 5110742"/>
                <a:gd name="connsiteY25" fmla="*/ 4231791 h 6467930"/>
                <a:gd name="connsiteX26" fmla="*/ 5110743 w 5110742"/>
                <a:gd name="connsiteY26" fmla="*/ 3982775 h 6467930"/>
                <a:gd name="connsiteX27" fmla="*/ 5110743 w 5110742"/>
                <a:gd name="connsiteY27" fmla="*/ 3939753 h 6467930"/>
                <a:gd name="connsiteX28" fmla="*/ 4749127 w 5110742"/>
                <a:gd name="connsiteY28" fmla="*/ 4213465 h 64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10742" h="6467930">
                  <a:moveTo>
                    <a:pt x="4749029" y="4213563"/>
                  </a:moveTo>
                  <a:cubicBezTo>
                    <a:pt x="4710026" y="4295098"/>
                    <a:pt x="4692778" y="4382513"/>
                    <a:pt x="4699246" y="4466106"/>
                  </a:cubicBezTo>
                  <a:cubicBezTo>
                    <a:pt x="4723353" y="4779997"/>
                    <a:pt x="4662496" y="5099571"/>
                    <a:pt x="4523436" y="5390138"/>
                  </a:cubicBezTo>
                  <a:cubicBezTo>
                    <a:pt x="4089790" y="6296334"/>
                    <a:pt x="2999846" y="6680784"/>
                    <a:pt x="2093748" y="6247139"/>
                  </a:cubicBezTo>
                  <a:cubicBezTo>
                    <a:pt x="1187551" y="5813493"/>
                    <a:pt x="803101" y="4723549"/>
                    <a:pt x="1236747" y="3817451"/>
                  </a:cubicBezTo>
                  <a:cubicBezTo>
                    <a:pt x="1421671" y="3431041"/>
                    <a:pt x="1737619" y="3121462"/>
                    <a:pt x="2126479" y="2945848"/>
                  </a:cubicBezTo>
                  <a:cubicBezTo>
                    <a:pt x="2278966" y="2877445"/>
                    <a:pt x="2398230" y="2760630"/>
                    <a:pt x="2471239" y="2608046"/>
                  </a:cubicBezTo>
                  <a:cubicBezTo>
                    <a:pt x="2552481" y="2438214"/>
                    <a:pt x="2562673" y="2246724"/>
                    <a:pt x="2499855" y="2068758"/>
                  </a:cubicBezTo>
                  <a:cubicBezTo>
                    <a:pt x="2437038" y="1890792"/>
                    <a:pt x="2308953" y="1748007"/>
                    <a:pt x="2139219" y="1666766"/>
                  </a:cubicBezTo>
                  <a:cubicBezTo>
                    <a:pt x="2043376" y="1620903"/>
                    <a:pt x="1938615" y="1597187"/>
                    <a:pt x="1833266" y="1597187"/>
                  </a:cubicBezTo>
                  <a:cubicBezTo>
                    <a:pt x="1815529" y="1597187"/>
                    <a:pt x="1797791" y="1597873"/>
                    <a:pt x="1780053" y="1599245"/>
                  </a:cubicBezTo>
                  <a:cubicBezTo>
                    <a:pt x="1498306" y="1621589"/>
                    <a:pt x="1214109" y="1568669"/>
                    <a:pt x="958038" y="1446072"/>
                  </a:cubicBezTo>
                  <a:cubicBezTo>
                    <a:pt x="383470" y="1171185"/>
                    <a:pt x="46158" y="597892"/>
                    <a:pt x="42434" y="0"/>
                  </a:cubicBezTo>
                  <a:lnTo>
                    <a:pt x="0" y="0"/>
                  </a:lnTo>
                  <a:cubicBezTo>
                    <a:pt x="3724" y="613669"/>
                    <a:pt x="349954" y="1202153"/>
                    <a:pt x="939614" y="1484292"/>
                  </a:cubicBezTo>
                  <a:cubicBezTo>
                    <a:pt x="1202447" y="1610025"/>
                    <a:pt x="1494190" y="1664414"/>
                    <a:pt x="1783287" y="1641482"/>
                  </a:cubicBezTo>
                  <a:cubicBezTo>
                    <a:pt x="1898926" y="1632662"/>
                    <a:pt x="2015642" y="1654614"/>
                    <a:pt x="2120893" y="1704986"/>
                  </a:cubicBezTo>
                  <a:cubicBezTo>
                    <a:pt x="2280436" y="1781327"/>
                    <a:pt x="2400876" y="1915487"/>
                    <a:pt x="2459872" y="2082772"/>
                  </a:cubicBezTo>
                  <a:cubicBezTo>
                    <a:pt x="2518867" y="2250056"/>
                    <a:pt x="2509361" y="2430080"/>
                    <a:pt x="2433020" y="2589622"/>
                  </a:cubicBezTo>
                  <a:cubicBezTo>
                    <a:pt x="2364421" y="2732995"/>
                    <a:pt x="2252408" y="2842851"/>
                    <a:pt x="2109133" y="2907139"/>
                  </a:cubicBezTo>
                  <a:cubicBezTo>
                    <a:pt x="1711160" y="3086869"/>
                    <a:pt x="1387763" y="3403699"/>
                    <a:pt x="1198527" y="3799125"/>
                  </a:cubicBezTo>
                  <a:cubicBezTo>
                    <a:pt x="754788" y="4726391"/>
                    <a:pt x="1148254" y="5841717"/>
                    <a:pt x="2075520" y="6285456"/>
                  </a:cubicBezTo>
                  <a:cubicBezTo>
                    <a:pt x="2334433" y="6409327"/>
                    <a:pt x="2607752" y="6467930"/>
                    <a:pt x="2877249" y="6467930"/>
                  </a:cubicBezTo>
                  <a:cubicBezTo>
                    <a:pt x="3573042" y="6467930"/>
                    <a:pt x="4241983" y="6076914"/>
                    <a:pt x="4561753" y="5408464"/>
                  </a:cubicBezTo>
                  <a:cubicBezTo>
                    <a:pt x="4704048" y="5111135"/>
                    <a:pt x="4766179" y="4784113"/>
                    <a:pt x="4741581" y="4462774"/>
                  </a:cubicBezTo>
                  <a:cubicBezTo>
                    <a:pt x="4735701" y="4386531"/>
                    <a:pt x="4751479" y="4306564"/>
                    <a:pt x="4787347" y="4231791"/>
                  </a:cubicBezTo>
                  <a:cubicBezTo>
                    <a:pt x="4851732" y="4097238"/>
                    <a:pt x="4974427" y="4009039"/>
                    <a:pt x="5110743" y="3982775"/>
                  </a:cubicBezTo>
                  <a:lnTo>
                    <a:pt x="5110743" y="3939753"/>
                  </a:lnTo>
                  <a:cubicBezTo>
                    <a:pt x="4958453" y="3966507"/>
                    <a:pt x="4820764" y="4063722"/>
                    <a:pt x="4749127" y="4213465"/>
                  </a:cubicBezTo>
                  <a:close/>
                </a:path>
              </a:pathLst>
            </a:custGeom>
            <a:solidFill>
              <a:srgbClr val="84B135"/>
            </a:solidFill>
            <a:ln w="9794"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8D8B425-9B44-5FBC-352B-BDB5D171855E}"/>
                </a:ext>
              </a:extLst>
            </p:cNvPr>
            <p:cNvSpPr/>
            <p:nvPr/>
          </p:nvSpPr>
          <p:spPr>
            <a:xfrm>
              <a:off x="6978456" y="0"/>
              <a:ext cx="5216483" cy="6573180"/>
            </a:xfrm>
            <a:custGeom>
              <a:avLst/>
              <a:gdLst>
                <a:gd name="connsiteX0" fmla="*/ 4949731 w 5216483"/>
                <a:gd name="connsiteY0" fmla="*/ 4258936 h 6573180"/>
                <a:gd name="connsiteX1" fmla="*/ 4909943 w 5216483"/>
                <a:gd name="connsiteY1" fmla="*/ 4458560 h 6573180"/>
                <a:gd name="connsiteX2" fmla="*/ 4724137 w 5216483"/>
                <a:gd name="connsiteY2" fmla="*/ 5435609 h 6573180"/>
                <a:gd name="connsiteX3" fmla="*/ 2153919 w 5216483"/>
                <a:gd name="connsiteY3" fmla="*/ 6342198 h 6573180"/>
                <a:gd name="connsiteX4" fmla="*/ 1247331 w 5216483"/>
                <a:gd name="connsiteY4" fmla="*/ 3771979 h 6573180"/>
                <a:gd name="connsiteX5" fmla="*/ 2188415 w 5216483"/>
                <a:gd name="connsiteY5" fmla="*/ 2850005 h 6573180"/>
                <a:gd name="connsiteX6" fmla="*/ 2481823 w 5216483"/>
                <a:gd name="connsiteY6" fmla="*/ 2562477 h 6573180"/>
                <a:gd name="connsiteX7" fmla="*/ 2506225 w 5216483"/>
                <a:gd name="connsiteY7" fmla="*/ 2103645 h 6573180"/>
                <a:gd name="connsiteX8" fmla="*/ 2199390 w 5216483"/>
                <a:gd name="connsiteY8" fmla="*/ 1761629 h 6573180"/>
                <a:gd name="connsiteX9" fmla="*/ 1939595 w 5216483"/>
                <a:gd name="connsiteY9" fmla="*/ 1702242 h 6573180"/>
                <a:gd name="connsiteX10" fmla="*/ 1893438 w 5216483"/>
                <a:gd name="connsiteY10" fmla="*/ 1704104 h 6573180"/>
                <a:gd name="connsiteX11" fmla="*/ 1018111 w 5216483"/>
                <a:gd name="connsiteY11" fmla="*/ 1540935 h 6573180"/>
                <a:gd name="connsiteX12" fmla="*/ 42924 w 5216483"/>
                <a:gd name="connsiteY12" fmla="*/ 0 h 6573180"/>
                <a:gd name="connsiteX13" fmla="*/ 0 w 5216483"/>
                <a:gd name="connsiteY13" fmla="*/ 0 h 6573180"/>
                <a:gd name="connsiteX14" fmla="*/ 101233 w 5216483"/>
                <a:gd name="connsiteY14" fmla="*/ 577508 h 6573180"/>
                <a:gd name="connsiteX15" fmla="*/ 999981 w 5216483"/>
                <a:gd name="connsiteY15" fmla="*/ 1579351 h 6573180"/>
                <a:gd name="connsiteX16" fmla="*/ 1896966 w 5216483"/>
                <a:gd name="connsiteY16" fmla="*/ 1746537 h 6573180"/>
                <a:gd name="connsiteX17" fmla="*/ 2181163 w 5216483"/>
                <a:gd name="connsiteY17" fmla="*/ 1800045 h 6573180"/>
                <a:gd name="connsiteX18" fmla="*/ 2466340 w 5216483"/>
                <a:gd name="connsiteY18" fmla="*/ 2117855 h 6573180"/>
                <a:gd name="connsiteX19" fmla="*/ 2443702 w 5216483"/>
                <a:gd name="connsiteY19" fmla="*/ 2544249 h 6573180"/>
                <a:gd name="connsiteX20" fmla="*/ 2170971 w 5216483"/>
                <a:gd name="connsiteY20" fmla="*/ 2811394 h 6573180"/>
                <a:gd name="connsiteX21" fmla="*/ 1209111 w 5216483"/>
                <a:gd name="connsiteY21" fmla="*/ 3753654 h 6573180"/>
                <a:gd name="connsiteX22" fmla="*/ 1129242 w 5216483"/>
                <a:gd name="connsiteY22" fmla="*/ 5258623 h 6573180"/>
                <a:gd name="connsiteX23" fmla="*/ 2135691 w 5216483"/>
                <a:gd name="connsiteY23" fmla="*/ 6380417 h 6573180"/>
                <a:gd name="connsiteX24" fmla="*/ 2982696 w 5216483"/>
                <a:gd name="connsiteY24" fmla="*/ 6573181 h 6573180"/>
                <a:gd name="connsiteX25" fmla="*/ 4762455 w 5216483"/>
                <a:gd name="connsiteY25" fmla="*/ 5453936 h 6573180"/>
                <a:gd name="connsiteX26" fmla="*/ 4952279 w 5216483"/>
                <a:gd name="connsiteY26" fmla="*/ 4455130 h 6573180"/>
                <a:gd name="connsiteX27" fmla="*/ 4988049 w 5216483"/>
                <a:gd name="connsiteY27" fmla="*/ 4277262 h 6573180"/>
                <a:gd name="connsiteX28" fmla="*/ 5185908 w 5216483"/>
                <a:gd name="connsiteY28" fmla="*/ 4099786 h 6573180"/>
                <a:gd name="connsiteX29" fmla="*/ 5216484 w 5216483"/>
                <a:gd name="connsiteY29" fmla="*/ 4090574 h 6573180"/>
                <a:gd name="connsiteX30" fmla="*/ 5216484 w 5216483"/>
                <a:gd name="connsiteY30" fmla="*/ 4047062 h 6573180"/>
                <a:gd name="connsiteX31" fmla="*/ 4949829 w 5216483"/>
                <a:gd name="connsiteY31" fmla="*/ 4258936 h 657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16483" h="6573180">
                  <a:moveTo>
                    <a:pt x="4949731" y="4258936"/>
                  </a:moveTo>
                  <a:cubicBezTo>
                    <a:pt x="4917685" y="4325870"/>
                    <a:pt x="4904358" y="4393097"/>
                    <a:pt x="4909943" y="4458560"/>
                  </a:cubicBezTo>
                  <a:cubicBezTo>
                    <a:pt x="4935815" y="4789699"/>
                    <a:pt x="4871528" y="5127599"/>
                    <a:pt x="4724137" y="5435609"/>
                  </a:cubicBezTo>
                  <a:cubicBezTo>
                    <a:pt x="4265503" y="6394137"/>
                    <a:pt x="3112447" y="6800833"/>
                    <a:pt x="2153919" y="6342198"/>
                  </a:cubicBezTo>
                  <a:cubicBezTo>
                    <a:pt x="1195391" y="5883563"/>
                    <a:pt x="788696" y="4730507"/>
                    <a:pt x="1247331" y="3771979"/>
                  </a:cubicBezTo>
                  <a:cubicBezTo>
                    <a:pt x="1442447" y="3364304"/>
                    <a:pt x="1776623" y="3036889"/>
                    <a:pt x="2188415" y="2850005"/>
                  </a:cubicBezTo>
                  <a:cubicBezTo>
                    <a:pt x="2316793" y="2791794"/>
                    <a:pt x="2420966" y="2689679"/>
                    <a:pt x="2481823" y="2562477"/>
                  </a:cubicBezTo>
                  <a:cubicBezTo>
                    <a:pt x="2550913" y="2418026"/>
                    <a:pt x="2559635" y="2255054"/>
                    <a:pt x="2506225" y="2103645"/>
                  </a:cubicBezTo>
                  <a:cubicBezTo>
                    <a:pt x="2452816" y="1952237"/>
                    <a:pt x="2343841" y="1830816"/>
                    <a:pt x="2199390" y="1761629"/>
                  </a:cubicBezTo>
                  <a:cubicBezTo>
                    <a:pt x="2117659" y="1722528"/>
                    <a:pt x="2028676" y="1702242"/>
                    <a:pt x="1939595" y="1702242"/>
                  </a:cubicBezTo>
                  <a:cubicBezTo>
                    <a:pt x="1924209" y="1702242"/>
                    <a:pt x="1908824" y="1702830"/>
                    <a:pt x="1893438" y="1704104"/>
                  </a:cubicBezTo>
                  <a:cubicBezTo>
                    <a:pt x="1593953" y="1728015"/>
                    <a:pt x="1291332" y="1671666"/>
                    <a:pt x="1018111" y="1540935"/>
                  </a:cubicBezTo>
                  <a:cubicBezTo>
                    <a:pt x="406010" y="1248115"/>
                    <a:pt x="46648" y="637091"/>
                    <a:pt x="42924" y="0"/>
                  </a:cubicBezTo>
                  <a:lnTo>
                    <a:pt x="0" y="0"/>
                  </a:lnTo>
                  <a:cubicBezTo>
                    <a:pt x="1176" y="194136"/>
                    <a:pt x="34692" y="388860"/>
                    <a:pt x="101233" y="577508"/>
                  </a:cubicBezTo>
                  <a:cubicBezTo>
                    <a:pt x="257639" y="1021051"/>
                    <a:pt x="576920" y="1376885"/>
                    <a:pt x="999981" y="1579351"/>
                  </a:cubicBezTo>
                  <a:cubicBezTo>
                    <a:pt x="1279866" y="1713316"/>
                    <a:pt x="1590033" y="1771135"/>
                    <a:pt x="1896966" y="1746537"/>
                  </a:cubicBezTo>
                  <a:cubicBezTo>
                    <a:pt x="1993789" y="1738893"/>
                    <a:pt x="2092082" y="1757415"/>
                    <a:pt x="2181163" y="1800045"/>
                  </a:cubicBezTo>
                  <a:cubicBezTo>
                    <a:pt x="2315421" y="1864234"/>
                    <a:pt x="2416654" y="1977129"/>
                    <a:pt x="2466340" y="2117855"/>
                  </a:cubicBezTo>
                  <a:cubicBezTo>
                    <a:pt x="2516025" y="2258582"/>
                    <a:pt x="2507989" y="2409990"/>
                    <a:pt x="2443702" y="2544249"/>
                  </a:cubicBezTo>
                  <a:cubicBezTo>
                    <a:pt x="2387156" y="2662435"/>
                    <a:pt x="2290334" y="2757396"/>
                    <a:pt x="2170971" y="2811394"/>
                  </a:cubicBezTo>
                  <a:cubicBezTo>
                    <a:pt x="1750065" y="3002394"/>
                    <a:pt x="1408539" y="3336962"/>
                    <a:pt x="1209111" y="3753654"/>
                  </a:cubicBezTo>
                  <a:cubicBezTo>
                    <a:pt x="982439" y="4227479"/>
                    <a:pt x="954020" y="4761965"/>
                    <a:pt x="1129242" y="5258623"/>
                  </a:cubicBezTo>
                  <a:cubicBezTo>
                    <a:pt x="1304464" y="5755282"/>
                    <a:pt x="1661866" y="6153746"/>
                    <a:pt x="2135691" y="6380417"/>
                  </a:cubicBezTo>
                  <a:cubicBezTo>
                    <a:pt x="2409206" y="6511246"/>
                    <a:pt x="2698009" y="6573181"/>
                    <a:pt x="2982696" y="6573181"/>
                  </a:cubicBezTo>
                  <a:cubicBezTo>
                    <a:pt x="3717786" y="6573181"/>
                    <a:pt x="4424555" y="6160018"/>
                    <a:pt x="4762455" y="5453936"/>
                  </a:cubicBezTo>
                  <a:cubicBezTo>
                    <a:pt x="4913079" y="5139162"/>
                    <a:pt x="4978739" y="4793912"/>
                    <a:pt x="4952279" y="4455130"/>
                  </a:cubicBezTo>
                  <a:cubicBezTo>
                    <a:pt x="4947281" y="4397115"/>
                    <a:pt x="4959335" y="4337335"/>
                    <a:pt x="4988049" y="4277262"/>
                  </a:cubicBezTo>
                  <a:cubicBezTo>
                    <a:pt x="5028032" y="4193669"/>
                    <a:pt x="5098297" y="4130656"/>
                    <a:pt x="5185908" y="4099786"/>
                  </a:cubicBezTo>
                  <a:cubicBezTo>
                    <a:pt x="5196003" y="4096258"/>
                    <a:pt x="5206194" y="4093220"/>
                    <a:pt x="5216484" y="4090574"/>
                  </a:cubicBezTo>
                  <a:lnTo>
                    <a:pt x="5216484" y="4047062"/>
                  </a:lnTo>
                  <a:cubicBezTo>
                    <a:pt x="5103883" y="4072346"/>
                    <a:pt x="5003434" y="4147021"/>
                    <a:pt x="4949829" y="4258936"/>
                  </a:cubicBezTo>
                  <a:close/>
                </a:path>
              </a:pathLst>
            </a:custGeom>
            <a:solidFill>
              <a:srgbClr val="84B135"/>
            </a:solidFill>
            <a:ln w="9794" cap="flat">
              <a:noFill/>
              <a:prstDash val="solid"/>
              <a:miter/>
            </a:ln>
          </p:spPr>
          <p:txBody>
            <a:bodyPr rtlCol="0" anchor="ctr"/>
            <a:lstStyle/>
            <a:p>
              <a:endParaRPr lang="en-US"/>
            </a:p>
          </p:txBody>
        </p:sp>
      </p:grpSp>
      <p:grpSp>
        <p:nvGrpSpPr>
          <p:cNvPr id="46" name="Graphic 25">
            <a:extLst>
              <a:ext uri="{FF2B5EF4-FFF2-40B4-BE49-F238E27FC236}">
                <a16:creationId xmlns:a16="http://schemas.microsoft.com/office/drawing/2014/main" id="{440640D5-6BC4-0759-FF28-CECDC76AAC6F}"/>
              </a:ext>
            </a:extLst>
          </p:cNvPr>
          <p:cNvGrpSpPr/>
          <p:nvPr/>
        </p:nvGrpSpPr>
        <p:grpSpPr>
          <a:xfrm>
            <a:off x="6978456" y="-97"/>
            <a:ext cx="5216581" cy="6573277"/>
            <a:chOff x="6978456" y="-97"/>
            <a:chExt cx="5216581" cy="6573277"/>
          </a:xfrm>
          <a:solidFill>
            <a:srgbClr val="84B135"/>
          </a:solidFill>
        </p:grpSpPr>
        <p:sp>
          <p:nvSpPr>
            <p:cNvPr id="49" name="Freeform: Shape 48">
              <a:extLst>
                <a:ext uri="{FF2B5EF4-FFF2-40B4-BE49-F238E27FC236}">
                  <a16:creationId xmlns:a16="http://schemas.microsoft.com/office/drawing/2014/main" id="{F3BE5D10-9BB1-5241-C97F-2E6B397F382B}"/>
                </a:ext>
              </a:extLst>
            </p:cNvPr>
            <p:cNvSpPr/>
            <p:nvPr/>
          </p:nvSpPr>
          <p:spPr>
            <a:xfrm>
              <a:off x="7821246" y="-97"/>
              <a:ext cx="4373594" cy="5730880"/>
            </a:xfrm>
            <a:custGeom>
              <a:avLst/>
              <a:gdLst>
                <a:gd name="connsiteX0" fmla="*/ 3346958 w 4373594"/>
                <a:gd name="connsiteY0" fmla="*/ 3895360 h 5730880"/>
                <a:gd name="connsiteX1" fmla="*/ 3227105 w 4373594"/>
                <a:gd name="connsiteY1" fmla="*/ 4521083 h 5730880"/>
                <a:gd name="connsiteX2" fmla="*/ 3121365 w 4373594"/>
                <a:gd name="connsiteY2" fmla="*/ 5072033 h 5730880"/>
                <a:gd name="connsiteX3" fmla="*/ 1674802 w 4373594"/>
                <a:gd name="connsiteY3" fmla="*/ 5582216 h 5730880"/>
                <a:gd name="connsiteX4" fmla="*/ 1164620 w 4373594"/>
                <a:gd name="connsiteY4" fmla="*/ 4135653 h 5730880"/>
                <a:gd name="connsiteX5" fmla="*/ 1694108 w 4373594"/>
                <a:gd name="connsiteY5" fmla="*/ 3616749 h 5730880"/>
                <a:gd name="connsiteX6" fmla="*/ 2399112 w 4373594"/>
                <a:gd name="connsiteY6" fmla="*/ 2926248 h 5730880"/>
                <a:gd name="connsiteX7" fmla="*/ 1720274 w 4373594"/>
                <a:gd name="connsiteY7" fmla="*/ 1001745 h 5730880"/>
                <a:gd name="connsiteX8" fmla="*/ 1097294 w 4373594"/>
                <a:gd name="connsiteY8" fmla="*/ 860039 h 5730880"/>
                <a:gd name="connsiteX9" fmla="*/ 984595 w 4373594"/>
                <a:gd name="connsiteY9" fmla="*/ 864547 h 5730880"/>
                <a:gd name="connsiteX10" fmla="*/ 539092 w 4373594"/>
                <a:gd name="connsiteY10" fmla="*/ 781150 h 5730880"/>
                <a:gd name="connsiteX11" fmla="*/ 92511 w 4373594"/>
                <a:gd name="connsiteY11" fmla="*/ 283315 h 5730880"/>
                <a:gd name="connsiteX12" fmla="*/ 42434 w 4373594"/>
                <a:gd name="connsiteY12" fmla="*/ 0 h 5730880"/>
                <a:gd name="connsiteX13" fmla="*/ 0 w 4373594"/>
                <a:gd name="connsiteY13" fmla="*/ 0 h 5730880"/>
                <a:gd name="connsiteX14" fmla="*/ 52527 w 4373594"/>
                <a:gd name="connsiteY14" fmla="*/ 297427 h 5730880"/>
                <a:gd name="connsiteX15" fmla="*/ 520766 w 4373594"/>
                <a:gd name="connsiteY15" fmla="*/ 819369 h 5730880"/>
                <a:gd name="connsiteX16" fmla="*/ 987927 w 4373594"/>
                <a:gd name="connsiteY16" fmla="*/ 906784 h 5730880"/>
                <a:gd name="connsiteX17" fmla="*/ 1702046 w 4373594"/>
                <a:gd name="connsiteY17" fmla="*/ 1040063 h 5730880"/>
                <a:gd name="connsiteX18" fmla="*/ 2360893 w 4373594"/>
                <a:gd name="connsiteY18" fmla="*/ 2907923 h 5730880"/>
                <a:gd name="connsiteX19" fmla="*/ 1676664 w 4373594"/>
                <a:gd name="connsiteY19" fmla="*/ 3578137 h 5730880"/>
                <a:gd name="connsiteX20" fmla="*/ 1126400 w 4373594"/>
                <a:gd name="connsiteY20" fmla="*/ 4117426 h 5730880"/>
                <a:gd name="connsiteX21" fmla="*/ 1656574 w 4373594"/>
                <a:gd name="connsiteY21" fmla="*/ 5620534 h 5730880"/>
                <a:gd name="connsiteX22" fmla="*/ 2141277 w 4373594"/>
                <a:gd name="connsiteY22" fmla="*/ 5730881 h 5730880"/>
                <a:gd name="connsiteX23" fmla="*/ 3159682 w 4373594"/>
                <a:gd name="connsiteY23" fmla="*/ 5090359 h 5730880"/>
                <a:gd name="connsiteX24" fmla="*/ 3269441 w 4373594"/>
                <a:gd name="connsiteY24" fmla="*/ 4517849 h 5730880"/>
                <a:gd name="connsiteX25" fmla="*/ 3385178 w 4373594"/>
                <a:gd name="connsiteY25" fmla="*/ 3913686 h 5730880"/>
                <a:gd name="connsiteX26" fmla="*/ 4373595 w 4373594"/>
                <a:gd name="connsiteY26" fmla="*/ 3240629 h 5730880"/>
                <a:gd name="connsiteX27" fmla="*/ 4373595 w 4373594"/>
                <a:gd name="connsiteY27" fmla="*/ 3198097 h 5730880"/>
                <a:gd name="connsiteX28" fmla="*/ 3346958 w 4373594"/>
                <a:gd name="connsiteY28" fmla="*/ 3895262 h 57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3594" h="5730880">
                  <a:moveTo>
                    <a:pt x="3346958" y="3895360"/>
                  </a:moveTo>
                  <a:cubicBezTo>
                    <a:pt x="3252193" y="4093416"/>
                    <a:pt x="3210740" y="4309798"/>
                    <a:pt x="3227105" y="4521083"/>
                  </a:cubicBezTo>
                  <a:cubicBezTo>
                    <a:pt x="3241511" y="4706693"/>
                    <a:pt x="3204958" y="4897203"/>
                    <a:pt x="3121365" y="5072033"/>
                  </a:cubicBezTo>
                  <a:cubicBezTo>
                    <a:pt x="2863236" y="5611517"/>
                    <a:pt x="2214286" y="5840443"/>
                    <a:pt x="1674802" y="5582216"/>
                  </a:cubicBezTo>
                  <a:cubicBezTo>
                    <a:pt x="1135318" y="5324087"/>
                    <a:pt x="906490" y="4675138"/>
                    <a:pt x="1164620" y="4135653"/>
                  </a:cubicBezTo>
                  <a:cubicBezTo>
                    <a:pt x="1274672" y="3905650"/>
                    <a:pt x="1462732" y="3721314"/>
                    <a:pt x="1694108" y="3616749"/>
                  </a:cubicBezTo>
                  <a:cubicBezTo>
                    <a:pt x="2002315" y="3477394"/>
                    <a:pt x="2252702" y="3232201"/>
                    <a:pt x="2399112" y="2926248"/>
                  </a:cubicBezTo>
                  <a:cubicBezTo>
                    <a:pt x="2742501" y="2208504"/>
                    <a:pt x="2438018" y="1345231"/>
                    <a:pt x="1720274" y="1001745"/>
                  </a:cubicBezTo>
                  <a:cubicBezTo>
                    <a:pt x="1524962" y="908254"/>
                    <a:pt x="1311716" y="860039"/>
                    <a:pt x="1097294" y="860039"/>
                  </a:cubicBezTo>
                  <a:cubicBezTo>
                    <a:pt x="1059761" y="860039"/>
                    <a:pt x="1022129" y="861509"/>
                    <a:pt x="984595" y="864547"/>
                  </a:cubicBezTo>
                  <a:cubicBezTo>
                    <a:pt x="832305" y="876601"/>
                    <a:pt x="678251" y="847691"/>
                    <a:pt x="539092" y="781150"/>
                  </a:cubicBezTo>
                  <a:cubicBezTo>
                    <a:pt x="328884" y="680505"/>
                    <a:pt x="170224" y="503715"/>
                    <a:pt x="92511" y="283315"/>
                  </a:cubicBezTo>
                  <a:cubicBezTo>
                    <a:pt x="59877" y="190804"/>
                    <a:pt x="43316" y="95255"/>
                    <a:pt x="42434" y="0"/>
                  </a:cubicBezTo>
                  <a:lnTo>
                    <a:pt x="0" y="0"/>
                  </a:lnTo>
                  <a:cubicBezTo>
                    <a:pt x="980" y="99959"/>
                    <a:pt x="18228" y="200212"/>
                    <a:pt x="52527" y="297427"/>
                  </a:cubicBezTo>
                  <a:cubicBezTo>
                    <a:pt x="134063" y="528508"/>
                    <a:pt x="300367" y="713922"/>
                    <a:pt x="520766" y="819369"/>
                  </a:cubicBezTo>
                  <a:cubicBezTo>
                    <a:pt x="666589" y="889144"/>
                    <a:pt x="828189" y="919426"/>
                    <a:pt x="987927" y="906784"/>
                  </a:cubicBezTo>
                  <a:cubicBezTo>
                    <a:pt x="1232337" y="887380"/>
                    <a:pt x="1479196" y="933440"/>
                    <a:pt x="1702046" y="1040063"/>
                  </a:cubicBezTo>
                  <a:cubicBezTo>
                    <a:pt x="2398720" y="1373357"/>
                    <a:pt x="2694187" y="2211346"/>
                    <a:pt x="2360893" y="2907923"/>
                  </a:cubicBezTo>
                  <a:cubicBezTo>
                    <a:pt x="2218794" y="3204958"/>
                    <a:pt x="1975757" y="3442899"/>
                    <a:pt x="1676664" y="3578137"/>
                  </a:cubicBezTo>
                  <a:cubicBezTo>
                    <a:pt x="1436175" y="3686818"/>
                    <a:pt x="1240765" y="3878308"/>
                    <a:pt x="1126400" y="4117426"/>
                  </a:cubicBezTo>
                  <a:cubicBezTo>
                    <a:pt x="858177" y="4677980"/>
                    <a:pt x="1096020" y="5352311"/>
                    <a:pt x="1656574" y="5620534"/>
                  </a:cubicBezTo>
                  <a:cubicBezTo>
                    <a:pt x="1813079" y="5695404"/>
                    <a:pt x="1978305" y="5730881"/>
                    <a:pt x="2141277" y="5730881"/>
                  </a:cubicBezTo>
                  <a:cubicBezTo>
                    <a:pt x="2561889" y="5730881"/>
                    <a:pt x="2966330" y="5494507"/>
                    <a:pt x="3159682" y="5090359"/>
                  </a:cubicBezTo>
                  <a:cubicBezTo>
                    <a:pt x="3246509" y="4908865"/>
                    <a:pt x="3284533" y="4710908"/>
                    <a:pt x="3269441" y="4517849"/>
                  </a:cubicBezTo>
                  <a:cubicBezTo>
                    <a:pt x="3253663" y="4313914"/>
                    <a:pt x="3293647" y="4104980"/>
                    <a:pt x="3385178" y="3913686"/>
                  </a:cubicBezTo>
                  <a:cubicBezTo>
                    <a:pt x="3575982" y="3514928"/>
                    <a:pt x="3961412" y="3270911"/>
                    <a:pt x="4373595" y="3240629"/>
                  </a:cubicBezTo>
                  <a:lnTo>
                    <a:pt x="4373595" y="3198097"/>
                  </a:lnTo>
                  <a:cubicBezTo>
                    <a:pt x="3945536" y="3228379"/>
                    <a:pt x="3545014" y="3481315"/>
                    <a:pt x="3346958" y="3895262"/>
                  </a:cubicBezTo>
                  <a:close/>
                </a:path>
              </a:pathLst>
            </a:custGeom>
            <a:solidFill>
              <a:srgbClr val="84B135"/>
            </a:solidFill>
            <a:ln w="979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B36F047-4E94-F174-E736-F0362DA2934F}"/>
                </a:ext>
              </a:extLst>
            </p:cNvPr>
            <p:cNvSpPr/>
            <p:nvPr/>
          </p:nvSpPr>
          <p:spPr>
            <a:xfrm>
              <a:off x="7715702" y="-97"/>
              <a:ext cx="4479139" cy="5836424"/>
            </a:xfrm>
            <a:custGeom>
              <a:avLst/>
              <a:gdLst>
                <a:gd name="connsiteX0" fmla="*/ 3547464 w 4479139"/>
                <a:gd name="connsiteY0" fmla="*/ 3940832 h 5836424"/>
                <a:gd name="connsiteX1" fmla="*/ 3437607 w 4479139"/>
                <a:gd name="connsiteY1" fmla="*/ 4513145 h 5836424"/>
                <a:gd name="connsiteX2" fmla="*/ 3321871 w 4479139"/>
                <a:gd name="connsiteY2" fmla="*/ 5117505 h 5836424"/>
                <a:gd name="connsiteX3" fmla="*/ 2644110 w 4479139"/>
                <a:gd name="connsiteY3" fmla="*/ 5725490 h 5836424"/>
                <a:gd name="connsiteX4" fmla="*/ 1734875 w 4479139"/>
                <a:gd name="connsiteY4" fmla="*/ 5677275 h 5836424"/>
                <a:gd name="connsiteX5" fmla="*/ 1126890 w 4479139"/>
                <a:gd name="connsiteY5" fmla="*/ 4999514 h 5836424"/>
                <a:gd name="connsiteX6" fmla="*/ 1175105 w 4479139"/>
                <a:gd name="connsiteY6" fmla="*/ 4090280 h 5836424"/>
                <a:gd name="connsiteX7" fmla="*/ 1755651 w 4479139"/>
                <a:gd name="connsiteY7" fmla="*/ 3521200 h 5836424"/>
                <a:gd name="connsiteX8" fmla="*/ 2409696 w 4479139"/>
                <a:gd name="connsiteY8" fmla="*/ 2880875 h 5836424"/>
                <a:gd name="connsiteX9" fmla="*/ 2463988 w 4479139"/>
                <a:gd name="connsiteY9" fmla="*/ 1858746 h 5836424"/>
                <a:gd name="connsiteX10" fmla="*/ 1780445 w 4479139"/>
                <a:gd name="connsiteY10" fmla="*/ 1096902 h 5836424"/>
                <a:gd name="connsiteX11" fmla="*/ 1202251 w 4479139"/>
                <a:gd name="connsiteY11" fmla="*/ 965486 h 5836424"/>
                <a:gd name="connsiteX12" fmla="*/ 1097588 w 4479139"/>
                <a:gd name="connsiteY12" fmla="*/ 969602 h 5836424"/>
                <a:gd name="connsiteX13" fmla="*/ 599166 w 4479139"/>
                <a:gd name="connsiteY13" fmla="*/ 876111 h 5836424"/>
                <a:gd name="connsiteX14" fmla="*/ 98783 w 4479139"/>
                <a:gd name="connsiteY14" fmla="*/ 318301 h 5836424"/>
                <a:gd name="connsiteX15" fmla="*/ 42433 w 4479139"/>
                <a:gd name="connsiteY15" fmla="*/ 0 h 5836424"/>
                <a:gd name="connsiteX16" fmla="*/ 0 w 4479139"/>
                <a:gd name="connsiteY16" fmla="*/ 0 h 5836424"/>
                <a:gd name="connsiteX17" fmla="*/ 58799 w 4479139"/>
                <a:gd name="connsiteY17" fmla="*/ 332412 h 5836424"/>
                <a:gd name="connsiteX18" fmla="*/ 580840 w 4479139"/>
                <a:gd name="connsiteY18" fmla="*/ 914330 h 5836424"/>
                <a:gd name="connsiteX19" fmla="*/ 1100822 w 4479139"/>
                <a:gd name="connsiteY19" fmla="*/ 1011839 h 5836424"/>
                <a:gd name="connsiteX20" fmla="*/ 1762021 w 4479139"/>
                <a:gd name="connsiteY20" fmla="*/ 1135024 h 5836424"/>
                <a:gd name="connsiteX21" fmla="*/ 2423906 w 4479139"/>
                <a:gd name="connsiteY21" fmla="*/ 1872760 h 5836424"/>
                <a:gd name="connsiteX22" fmla="*/ 2371379 w 4479139"/>
                <a:gd name="connsiteY22" fmla="*/ 2862451 h 5836424"/>
                <a:gd name="connsiteX23" fmla="*/ 1738109 w 4479139"/>
                <a:gd name="connsiteY23" fmla="*/ 3482491 h 5836424"/>
                <a:gd name="connsiteX24" fmla="*/ 1136886 w 4479139"/>
                <a:gd name="connsiteY24" fmla="*/ 4071856 h 5836424"/>
                <a:gd name="connsiteX25" fmla="*/ 1086906 w 4479139"/>
                <a:gd name="connsiteY25" fmla="*/ 5013528 h 5836424"/>
                <a:gd name="connsiteX26" fmla="*/ 1716648 w 4479139"/>
                <a:gd name="connsiteY26" fmla="*/ 5715397 h 5836424"/>
                <a:gd name="connsiteX27" fmla="*/ 2246626 w 4479139"/>
                <a:gd name="connsiteY27" fmla="*/ 5836425 h 5836424"/>
                <a:gd name="connsiteX28" fmla="*/ 2658319 w 4479139"/>
                <a:gd name="connsiteY28" fmla="*/ 5765376 h 5836424"/>
                <a:gd name="connsiteX29" fmla="*/ 3360188 w 4479139"/>
                <a:gd name="connsiteY29" fmla="*/ 5135635 h 5836424"/>
                <a:gd name="connsiteX30" fmla="*/ 3479943 w 4479139"/>
                <a:gd name="connsiteY30" fmla="*/ 4509618 h 5836424"/>
                <a:gd name="connsiteX31" fmla="*/ 3585684 w 4479139"/>
                <a:gd name="connsiteY31" fmla="*/ 3958961 h 5836424"/>
                <a:gd name="connsiteX32" fmla="*/ 4479140 w 4479139"/>
                <a:gd name="connsiteY32" fmla="*/ 3346076 h 5836424"/>
                <a:gd name="connsiteX33" fmla="*/ 4479140 w 4479139"/>
                <a:gd name="connsiteY33" fmla="*/ 3303544 h 5836424"/>
                <a:gd name="connsiteX34" fmla="*/ 3547464 w 4479139"/>
                <a:gd name="connsiteY34" fmla="*/ 3940636 h 583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79139" h="5836424">
                  <a:moveTo>
                    <a:pt x="3547464" y="3940832"/>
                  </a:moveTo>
                  <a:cubicBezTo>
                    <a:pt x="3460441" y="4122718"/>
                    <a:pt x="3422515" y="4320578"/>
                    <a:pt x="3437607" y="4513145"/>
                  </a:cubicBezTo>
                  <a:cubicBezTo>
                    <a:pt x="3453679" y="4716689"/>
                    <a:pt x="3413695" y="4925623"/>
                    <a:pt x="3321871" y="5117505"/>
                  </a:cubicBezTo>
                  <a:cubicBezTo>
                    <a:pt x="3184868" y="5403760"/>
                    <a:pt x="2944183" y="5619652"/>
                    <a:pt x="2644110" y="5725490"/>
                  </a:cubicBezTo>
                  <a:cubicBezTo>
                    <a:pt x="2344037" y="5831330"/>
                    <a:pt x="2021130" y="5814180"/>
                    <a:pt x="1734875" y="5677275"/>
                  </a:cubicBezTo>
                  <a:cubicBezTo>
                    <a:pt x="1448620" y="5540273"/>
                    <a:pt x="1232729" y="5299587"/>
                    <a:pt x="1126890" y="4999514"/>
                  </a:cubicBezTo>
                  <a:cubicBezTo>
                    <a:pt x="1021051" y="4699441"/>
                    <a:pt x="1038201" y="4376535"/>
                    <a:pt x="1175105" y="4090280"/>
                  </a:cubicBezTo>
                  <a:cubicBezTo>
                    <a:pt x="1295644" y="3838423"/>
                    <a:pt x="1501834" y="3636251"/>
                    <a:pt x="1755651" y="3521200"/>
                  </a:cubicBezTo>
                  <a:cubicBezTo>
                    <a:pt x="2041710" y="3391842"/>
                    <a:pt x="2273968" y="3164484"/>
                    <a:pt x="2409696" y="2880875"/>
                  </a:cubicBezTo>
                  <a:cubicBezTo>
                    <a:pt x="2563652" y="2559046"/>
                    <a:pt x="2582958" y="2196058"/>
                    <a:pt x="2463988" y="1858746"/>
                  </a:cubicBezTo>
                  <a:cubicBezTo>
                    <a:pt x="2345017" y="1521434"/>
                    <a:pt x="2102274" y="1250859"/>
                    <a:pt x="1780445" y="1096902"/>
                  </a:cubicBezTo>
                  <a:cubicBezTo>
                    <a:pt x="1599441" y="1010271"/>
                    <a:pt x="1401483" y="965486"/>
                    <a:pt x="1202251" y="965486"/>
                  </a:cubicBezTo>
                  <a:cubicBezTo>
                    <a:pt x="1167364" y="965486"/>
                    <a:pt x="1132476" y="966858"/>
                    <a:pt x="1097588" y="969602"/>
                  </a:cubicBezTo>
                  <a:cubicBezTo>
                    <a:pt x="926776" y="982733"/>
                    <a:pt x="754494" y="950492"/>
                    <a:pt x="599166" y="876111"/>
                  </a:cubicBezTo>
                  <a:cubicBezTo>
                    <a:pt x="363576" y="763412"/>
                    <a:pt x="185904" y="565258"/>
                    <a:pt x="98783" y="318301"/>
                  </a:cubicBezTo>
                  <a:cubicBezTo>
                    <a:pt x="62131" y="214324"/>
                    <a:pt x="43414" y="107015"/>
                    <a:pt x="42433" y="0"/>
                  </a:cubicBezTo>
                  <a:lnTo>
                    <a:pt x="0" y="0"/>
                  </a:lnTo>
                  <a:cubicBezTo>
                    <a:pt x="980" y="111719"/>
                    <a:pt x="20482" y="223830"/>
                    <a:pt x="58799" y="332412"/>
                  </a:cubicBezTo>
                  <a:cubicBezTo>
                    <a:pt x="149644" y="590052"/>
                    <a:pt x="335058" y="796731"/>
                    <a:pt x="580840" y="914330"/>
                  </a:cubicBezTo>
                  <a:cubicBezTo>
                    <a:pt x="742832" y="991847"/>
                    <a:pt x="922660" y="1025559"/>
                    <a:pt x="1100822" y="1011839"/>
                  </a:cubicBezTo>
                  <a:cubicBezTo>
                    <a:pt x="1327396" y="993905"/>
                    <a:pt x="1556027" y="1036535"/>
                    <a:pt x="1762021" y="1135024"/>
                  </a:cubicBezTo>
                  <a:cubicBezTo>
                    <a:pt x="2073560" y="1284080"/>
                    <a:pt x="2308659" y="1546129"/>
                    <a:pt x="2423906" y="1872760"/>
                  </a:cubicBezTo>
                  <a:cubicBezTo>
                    <a:pt x="2539153" y="2199390"/>
                    <a:pt x="2520435" y="2550913"/>
                    <a:pt x="2371379" y="2862451"/>
                  </a:cubicBezTo>
                  <a:cubicBezTo>
                    <a:pt x="2239962" y="3137044"/>
                    <a:pt x="2015054" y="3357248"/>
                    <a:pt x="1738109" y="3482491"/>
                  </a:cubicBezTo>
                  <a:cubicBezTo>
                    <a:pt x="1475178" y="3601657"/>
                    <a:pt x="1261638" y="3810983"/>
                    <a:pt x="1136886" y="4071856"/>
                  </a:cubicBezTo>
                  <a:cubicBezTo>
                    <a:pt x="994983" y="4368303"/>
                    <a:pt x="977245" y="4702773"/>
                    <a:pt x="1086906" y="5013528"/>
                  </a:cubicBezTo>
                  <a:cubicBezTo>
                    <a:pt x="1196567" y="5324283"/>
                    <a:pt x="1420201" y="5573592"/>
                    <a:pt x="1716648" y="5715397"/>
                  </a:cubicBezTo>
                  <a:cubicBezTo>
                    <a:pt x="1884814" y="5795853"/>
                    <a:pt x="2065230" y="5836425"/>
                    <a:pt x="2246626" y="5836425"/>
                  </a:cubicBezTo>
                  <a:cubicBezTo>
                    <a:pt x="2385001" y="5836425"/>
                    <a:pt x="2523865" y="5812808"/>
                    <a:pt x="2658319" y="5765376"/>
                  </a:cubicBezTo>
                  <a:cubicBezTo>
                    <a:pt x="2969074" y="5655715"/>
                    <a:pt x="3218384" y="5432081"/>
                    <a:pt x="3360188" y="5135635"/>
                  </a:cubicBezTo>
                  <a:cubicBezTo>
                    <a:pt x="3455247" y="4936991"/>
                    <a:pt x="3496603" y="4720609"/>
                    <a:pt x="3479943" y="4509618"/>
                  </a:cubicBezTo>
                  <a:cubicBezTo>
                    <a:pt x="3465341" y="4324497"/>
                    <a:pt x="3501895" y="4134085"/>
                    <a:pt x="3585684" y="3958961"/>
                  </a:cubicBezTo>
                  <a:cubicBezTo>
                    <a:pt x="3758456" y="3597933"/>
                    <a:pt x="4106254" y="3376064"/>
                    <a:pt x="4479140" y="3346076"/>
                  </a:cubicBezTo>
                  <a:lnTo>
                    <a:pt x="4479140" y="3303544"/>
                  </a:lnTo>
                  <a:cubicBezTo>
                    <a:pt x="4090476" y="3333630"/>
                    <a:pt x="3727488" y="3564418"/>
                    <a:pt x="3547464" y="3940636"/>
                  </a:cubicBezTo>
                  <a:close/>
                </a:path>
              </a:pathLst>
            </a:custGeom>
            <a:solidFill>
              <a:srgbClr val="84B135"/>
            </a:solidFill>
            <a:ln w="979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52BDEE63-8E56-85FE-58D7-D997299F2EF0}"/>
                </a:ext>
              </a:extLst>
            </p:cNvPr>
            <p:cNvSpPr/>
            <p:nvPr/>
          </p:nvSpPr>
          <p:spPr>
            <a:xfrm>
              <a:off x="7610451" y="0"/>
              <a:ext cx="4584390" cy="5941675"/>
            </a:xfrm>
            <a:custGeom>
              <a:avLst/>
              <a:gdLst>
                <a:gd name="connsiteX0" fmla="*/ 3747774 w 4584390"/>
                <a:gd name="connsiteY0" fmla="*/ 3986205 h 5941675"/>
                <a:gd name="connsiteX1" fmla="*/ 3648011 w 4584390"/>
                <a:gd name="connsiteY1" fmla="*/ 4505404 h 5941675"/>
                <a:gd name="connsiteX2" fmla="*/ 3522278 w 4584390"/>
                <a:gd name="connsiteY2" fmla="*/ 5162879 h 5941675"/>
                <a:gd name="connsiteX3" fmla="*/ 1794851 w 4584390"/>
                <a:gd name="connsiteY3" fmla="*/ 5772138 h 5941675"/>
                <a:gd name="connsiteX4" fmla="*/ 1185493 w 4584390"/>
                <a:gd name="connsiteY4" fmla="*/ 4044711 h 5941675"/>
                <a:gd name="connsiteX5" fmla="*/ 1820135 w 4584390"/>
                <a:gd name="connsiteY5" fmla="*/ 3424083 h 5941675"/>
                <a:gd name="connsiteX6" fmla="*/ 2419986 w 4584390"/>
                <a:gd name="connsiteY6" fmla="*/ 2835306 h 5941675"/>
                <a:gd name="connsiteX7" fmla="*/ 2469966 w 4584390"/>
                <a:gd name="connsiteY7" fmla="*/ 1893634 h 5941675"/>
                <a:gd name="connsiteX8" fmla="*/ 1840224 w 4584390"/>
                <a:gd name="connsiteY8" fmla="*/ 1191765 h 5941675"/>
                <a:gd name="connsiteX9" fmla="*/ 1309070 w 4584390"/>
                <a:gd name="connsiteY9" fmla="*/ 1070443 h 5941675"/>
                <a:gd name="connsiteX10" fmla="*/ 1212443 w 4584390"/>
                <a:gd name="connsiteY10" fmla="*/ 1074362 h 5941675"/>
                <a:gd name="connsiteX11" fmla="*/ 659043 w 4584390"/>
                <a:gd name="connsiteY11" fmla="*/ 971072 h 5941675"/>
                <a:gd name="connsiteX12" fmla="*/ 104859 w 4584390"/>
                <a:gd name="connsiteY12" fmla="*/ 353286 h 5941675"/>
                <a:gd name="connsiteX13" fmla="*/ 42434 w 4584390"/>
                <a:gd name="connsiteY13" fmla="*/ 0 h 5941675"/>
                <a:gd name="connsiteX14" fmla="*/ 0 w 4584390"/>
                <a:gd name="connsiteY14" fmla="*/ 0 h 5941675"/>
                <a:gd name="connsiteX15" fmla="*/ 64777 w 4584390"/>
                <a:gd name="connsiteY15" fmla="*/ 367398 h 5941675"/>
                <a:gd name="connsiteX16" fmla="*/ 640717 w 4584390"/>
                <a:gd name="connsiteY16" fmla="*/ 1009291 h 5941675"/>
                <a:gd name="connsiteX17" fmla="*/ 1215873 w 4584390"/>
                <a:gd name="connsiteY17" fmla="*/ 1116600 h 5941675"/>
                <a:gd name="connsiteX18" fmla="*/ 1821898 w 4584390"/>
                <a:gd name="connsiteY18" fmla="*/ 1229985 h 5941675"/>
                <a:gd name="connsiteX19" fmla="*/ 2429884 w 4584390"/>
                <a:gd name="connsiteY19" fmla="*/ 1907745 h 5941675"/>
                <a:gd name="connsiteX20" fmla="*/ 2381668 w 4584390"/>
                <a:gd name="connsiteY20" fmla="*/ 2816980 h 5941675"/>
                <a:gd name="connsiteX21" fmla="*/ 1802495 w 4584390"/>
                <a:gd name="connsiteY21" fmla="*/ 3385471 h 5941675"/>
                <a:gd name="connsiteX22" fmla="*/ 1147176 w 4584390"/>
                <a:gd name="connsiteY22" fmla="*/ 4026385 h 5941675"/>
                <a:gd name="connsiteX23" fmla="*/ 1776427 w 4584390"/>
                <a:gd name="connsiteY23" fmla="*/ 5810358 h 5941675"/>
                <a:gd name="connsiteX24" fmla="*/ 2351681 w 4584390"/>
                <a:gd name="connsiteY24" fmla="*/ 5941676 h 5941675"/>
                <a:gd name="connsiteX25" fmla="*/ 2798556 w 4584390"/>
                <a:gd name="connsiteY25" fmla="*/ 5864551 h 5941675"/>
                <a:gd name="connsiteX26" fmla="*/ 3560400 w 4584390"/>
                <a:gd name="connsiteY26" fmla="*/ 5181008 h 5941675"/>
                <a:gd name="connsiteX27" fmla="*/ 3690248 w 4584390"/>
                <a:gd name="connsiteY27" fmla="*/ 4501876 h 5941675"/>
                <a:gd name="connsiteX28" fmla="*/ 3785994 w 4584390"/>
                <a:gd name="connsiteY28" fmla="*/ 4004335 h 5941675"/>
                <a:gd name="connsiteX29" fmla="*/ 4584391 w 4584390"/>
                <a:gd name="connsiteY29" fmla="*/ 3451719 h 5941675"/>
                <a:gd name="connsiteX30" fmla="*/ 4584391 w 4584390"/>
                <a:gd name="connsiteY30" fmla="*/ 3409187 h 5941675"/>
                <a:gd name="connsiteX31" fmla="*/ 3747676 w 4584390"/>
                <a:gd name="connsiteY31" fmla="*/ 3986107 h 594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584390" h="5941675">
                  <a:moveTo>
                    <a:pt x="3747774" y="3986205"/>
                  </a:moveTo>
                  <a:cubicBezTo>
                    <a:pt x="3668689" y="4151431"/>
                    <a:pt x="3634193" y="4330966"/>
                    <a:pt x="3648011" y="4505404"/>
                  </a:cubicBezTo>
                  <a:cubicBezTo>
                    <a:pt x="3665357" y="4727175"/>
                    <a:pt x="3621943" y="4954533"/>
                    <a:pt x="3522278" y="5162879"/>
                  </a:cubicBezTo>
                  <a:cubicBezTo>
                    <a:pt x="3213974" y="5807124"/>
                    <a:pt x="2439096" y="6080443"/>
                    <a:pt x="1794851" y="5772138"/>
                  </a:cubicBezTo>
                  <a:cubicBezTo>
                    <a:pt x="1150606" y="5463833"/>
                    <a:pt x="877287" y="4688956"/>
                    <a:pt x="1185493" y="4044711"/>
                  </a:cubicBezTo>
                  <a:cubicBezTo>
                    <a:pt x="1316714" y="3770411"/>
                    <a:pt x="1542112" y="3550012"/>
                    <a:pt x="1820135" y="3424083"/>
                  </a:cubicBezTo>
                  <a:cubicBezTo>
                    <a:pt x="2082772" y="3303937"/>
                    <a:pt x="2295822" y="3094905"/>
                    <a:pt x="2419986" y="2835306"/>
                  </a:cubicBezTo>
                  <a:cubicBezTo>
                    <a:pt x="2561889" y="2538859"/>
                    <a:pt x="2579626" y="2204388"/>
                    <a:pt x="2469966" y="1893634"/>
                  </a:cubicBezTo>
                  <a:cubicBezTo>
                    <a:pt x="2360305" y="1582879"/>
                    <a:pt x="2136671" y="1333570"/>
                    <a:pt x="1840224" y="1191765"/>
                  </a:cubicBezTo>
                  <a:cubicBezTo>
                    <a:pt x="1673136" y="1111798"/>
                    <a:pt x="1491250" y="1070443"/>
                    <a:pt x="1309070" y="1070443"/>
                  </a:cubicBezTo>
                  <a:cubicBezTo>
                    <a:pt x="1276828" y="1070443"/>
                    <a:pt x="1244587" y="1071716"/>
                    <a:pt x="1212443" y="1074362"/>
                  </a:cubicBezTo>
                  <a:cubicBezTo>
                    <a:pt x="1023893" y="1089846"/>
                    <a:pt x="832501" y="1054077"/>
                    <a:pt x="659043" y="971072"/>
                  </a:cubicBezTo>
                  <a:cubicBezTo>
                    <a:pt x="398170" y="846221"/>
                    <a:pt x="201290" y="626801"/>
                    <a:pt x="104859" y="353286"/>
                  </a:cubicBezTo>
                  <a:cubicBezTo>
                    <a:pt x="64189" y="237843"/>
                    <a:pt x="43512" y="118775"/>
                    <a:pt x="42434" y="0"/>
                  </a:cubicBezTo>
                  <a:lnTo>
                    <a:pt x="0" y="0"/>
                  </a:lnTo>
                  <a:cubicBezTo>
                    <a:pt x="980" y="123479"/>
                    <a:pt x="22442" y="247349"/>
                    <a:pt x="64777" y="367398"/>
                  </a:cubicBezTo>
                  <a:cubicBezTo>
                    <a:pt x="165030" y="651595"/>
                    <a:pt x="369554" y="879541"/>
                    <a:pt x="640717" y="1009291"/>
                  </a:cubicBezTo>
                  <a:cubicBezTo>
                    <a:pt x="820937" y="1095530"/>
                    <a:pt x="1019875" y="1132672"/>
                    <a:pt x="1215873" y="1116600"/>
                  </a:cubicBezTo>
                  <a:cubicBezTo>
                    <a:pt x="1422455" y="1099940"/>
                    <a:pt x="1632075" y="1139140"/>
                    <a:pt x="1821898" y="1229985"/>
                  </a:cubicBezTo>
                  <a:cubicBezTo>
                    <a:pt x="2108153" y="1366987"/>
                    <a:pt x="2324045" y="1607673"/>
                    <a:pt x="2429884" y="1907745"/>
                  </a:cubicBezTo>
                  <a:cubicBezTo>
                    <a:pt x="2535723" y="2207818"/>
                    <a:pt x="2518573" y="2530725"/>
                    <a:pt x="2381668" y="2816980"/>
                  </a:cubicBezTo>
                  <a:cubicBezTo>
                    <a:pt x="2261718" y="3067563"/>
                    <a:pt x="2056018" y="3269539"/>
                    <a:pt x="1802495" y="3385471"/>
                  </a:cubicBezTo>
                  <a:cubicBezTo>
                    <a:pt x="1515456" y="3515516"/>
                    <a:pt x="1282708" y="3743168"/>
                    <a:pt x="1147176" y="4026385"/>
                  </a:cubicBezTo>
                  <a:cubicBezTo>
                    <a:pt x="828777" y="4691700"/>
                    <a:pt x="1111112" y="5492057"/>
                    <a:pt x="1776427" y="5810358"/>
                  </a:cubicBezTo>
                  <a:cubicBezTo>
                    <a:pt x="1958999" y="5897675"/>
                    <a:pt x="2154801" y="5941676"/>
                    <a:pt x="2351681" y="5941676"/>
                  </a:cubicBezTo>
                  <a:cubicBezTo>
                    <a:pt x="2501815" y="5941676"/>
                    <a:pt x="2652636" y="5916098"/>
                    <a:pt x="2798556" y="5864551"/>
                  </a:cubicBezTo>
                  <a:cubicBezTo>
                    <a:pt x="3135869" y="5745580"/>
                    <a:pt x="3406444" y="5502837"/>
                    <a:pt x="3560400" y="5181008"/>
                  </a:cubicBezTo>
                  <a:cubicBezTo>
                    <a:pt x="3663299" y="4965999"/>
                    <a:pt x="3708182" y="4731193"/>
                    <a:pt x="3690248" y="4501876"/>
                  </a:cubicBezTo>
                  <a:cubicBezTo>
                    <a:pt x="3677019" y="4334885"/>
                    <a:pt x="3710142" y="4162799"/>
                    <a:pt x="3785994" y="4004335"/>
                  </a:cubicBezTo>
                  <a:cubicBezTo>
                    <a:pt x="3940734" y="3681036"/>
                    <a:pt x="4250901" y="3481314"/>
                    <a:pt x="4584391" y="3451719"/>
                  </a:cubicBezTo>
                  <a:lnTo>
                    <a:pt x="4584391" y="3409187"/>
                  </a:lnTo>
                  <a:cubicBezTo>
                    <a:pt x="4235025" y="3438979"/>
                    <a:pt x="3909668" y="3647521"/>
                    <a:pt x="3747676" y="3986107"/>
                  </a:cubicBezTo>
                  <a:close/>
                </a:path>
              </a:pathLst>
            </a:custGeom>
            <a:solidFill>
              <a:srgbClr val="84B135"/>
            </a:solidFill>
            <a:ln w="979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C2B11B9-B8A3-4C76-BF97-9700EB0A2B9E}"/>
                </a:ext>
              </a:extLst>
            </p:cNvPr>
            <p:cNvSpPr/>
            <p:nvPr/>
          </p:nvSpPr>
          <p:spPr>
            <a:xfrm>
              <a:off x="7508630" y="0"/>
              <a:ext cx="4686211" cy="6047220"/>
            </a:xfrm>
            <a:custGeom>
              <a:avLst/>
              <a:gdLst>
                <a:gd name="connsiteX0" fmla="*/ 3944556 w 4686211"/>
                <a:gd name="connsiteY0" fmla="*/ 4031677 h 6047220"/>
                <a:gd name="connsiteX1" fmla="*/ 3854789 w 4686211"/>
                <a:gd name="connsiteY1" fmla="*/ 4498054 h 6047220"/>
                <a:gd name="connsiteX2" fmla="*/ 3718962 w 4686211"/>
                <a:gd name="connsiteY2" fmla="*/ 5208350 h 6047220"/>
                <a:gd name="connsiteX3" fmla="*/ 2921251 w 4686211"/>
                <a:gd name="connsiteY3" fmla="*/ 5924036 h 6047220"/>
                <a:gd name="connsiteX4" fmla="*/ 1851102 w 4686211"/>
                <a:gd name="connsiteY4" fmla="*/ 5867197 h 6047220"/>
                <a:gd name="connsiteX5" fmla="*/ 1135416 w 4686211"/>
                <a:gd name="connsiteY5" fmla="*/ 5069485 h 6047220"/>
                <a:gd name="connsiteX6" fmla="*/ 1192255 w 4686211"/>
                <a:gd name="connsiteY6" fmla="*/ 3999337 h 6047220"/>
                <a:gd name="connsiteX7" fmla="*/ 1877072 w 4686211"/>
                <a:gd name="connsiteY7" fmla="*/ 3328828 h 6047220"/>
                <a:gd name="connsiteX8" fmla="*/ 2426748 w 4686211"/>
                <a:gd name="connsiteY8" fmla="*/ 2789834 h 6047220"/>
                <a:gd name="connsiteX9" fmla="*/ 1896574 w 4686211"/>
                <a:gd name="connsiteY9" fmla="*/ 1286726 h 6047220"/>
                <a:gd name="connsiteX10" fmla="*/ 1405991 w 4686211"/>
                <a:gd name="connsiteY10" fmla="*/ 1172851 h 6047220"/>
                <a:gd name="connsiteX11" fmla="*/ 1321614 w 4686211"/>
                <a:gd name="connsiteY11" fmla="*/ 1176281 h 6047220"/>
                <a:gd name="connsiteX12" fmla="*/ 718430 w 4686211"/>
                <a:gd name="connsiteY12" fmla="*/ 1059565 h 6047220"/>
                <a:gd name="connsiteX13" fmla="*/ 42434 w 4686211"/>
                <a:gd name="connsiteY13" fmla="*/ 0 h 6047220"/>
                <a:gd name="connsiteX14" fmla="*/ 0 w 4686211"/>
                <a:gd name="connsiteY14" fmla="*/ 0 h 6047220"/>
                <a:gd name="connsiteX15" fmla="*/ 700105 w 4686211"/>
                <a:gd name="connsiteY15" fmla="*/ 1097882 h 6047220"/>
                <a:gd name="connsiteX16" fmla="*/ 1324946 w 4686211"/>
                <a:gd name="connsiteY16" fmla="*/ 1218617 h 6047220"/>
                <a:gd name="connsiteX17" fmla="*/ 1878248 w 4686211"/>
                <a:gd name="connsiteY17" fmla="*/ 1325044 h 6047220"/>
                <a:gd name="connsiteX18" fmla="*/ 2388431 w 4686211"/>
                <a:gd name="connsiteY18" fmla="*/ 2771606 h 6047220"/>
                <a:gd name="connsiteX19" fmla="*/ 1859530 w 4686211"/>
                <a:gd name="connsiteY19" fmla="*/ 3290217 h 6047220"/>
                <a:gd name="connsiteX20" fmla="*/ 1153938 w 4686211"/>
                <a:gd name="connsiteY20" fmla="*/ 3981011 h 6047220"/>
                <a:gd name="connsiteX21" fmla="*/ 1832776 w 4686211"/>
                <a:gd name="connsiteY21" fmla="*/ 5905514 h 6047220"/>
                <a:gd name="connsiteX22" fmla="*/ 2453306 w 4686211"/>
                <a:gd name="connsiteY22" fmla="*/ 6047221 h 6047220"/>
                <a:gd name="connsiteX23" fmla="*/ 2935363 w 4686211"/>
                <a:gd name="connsiteY23" fmla="*/ 5964118 h 6047220"/>
                <a:gd name="connsiteX24" fmla="*/ 3757182 w 4686211"/>
                <a:gd name="connsiteY24" fmla="*/ 5226774 h 6047220"/>
                <a:gd name="connsiteX25" fmla="*/ 3897026 w 4686211"/>
                <a:gd name="connsiteY25" fmla="*/ 4494820 h 6047220"/>
                <a:gd name="connsiteX26" fmla="*/ 3982775 w 4686211"/>
                <a:gd name="connsiteY26" fmla="*/ 4050100 h 6047220"/>
                <a:gd name="connsiteX27" fmla="*/ 4480610 w 4686211"/>
                <a:gd name="connsiteY27" fmla="*/ 3603519 h 6047220"/>
                <a:gd name="connsiteX28" fmla="*/ 4686212 w 4686211"/>
                <a:gd name="connsiteY28" fmla="*/ 3557558 h 6047220"/>
                <a:gd name="connsiteX29" fmla="*/ 4686212 w 4686211"/>
                <a:gd name="connsiteY29" fmla="*/ 3514830 h 6047220"/>
                <a:gd name="connsiteX30" fmla="*/ 4466498 w 4686211"/>
                <a:gd name="connsiteY30" fmla="*/ 3563536 h 6047220"/>
                <a:gd name="connsiteX31" fmla="*/ 3944556 w 4686211"/>
                <a:gd name="connsiteY31" fmla="*/ 4031775 h 604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6211" h="6047220">
                  <a:moveTo>
                    <a:pt x="3944556" y="4031677"/>
                  </a:moveTo>
                  <a:cubicBezTo>
                    <a:pt x="3873212" y="4180733"/>
                    <a:pt x="3842147" y="4342039"/>
                    <a:pt x="3854789" y="4498054"/>
                  </a:cubicBezTo>
                  <a:cubicBezTo>
                    <a:pt x="3873604" y="4737759"/>
                    <a:pt x="3826663" y="4983345"/>
                    <a:pt x="3718962" y="5208350"/>
                  </a:cubicBezTo>
                  <a:cubicBezTo>
                    <a:pt x="3557754" y="5545270"/>
                    <a:pt x="3274439" y="5799382"/>
                    <a:pt x="2921251" y="5924036"/>
                  </a:cubicBezTo>
                  <a:cubicBezTo>
                    <a:pt x="2568062" y="6048593"/>
                    <a:pt x="2188023" y="6028405"/>
                    <a:pt x="1851102" y="5867197"/>
                  </a:cubicBezTo>
                  <a:cubicBezTo>
                    <a:pt x="1514182" y="5705989"/>
                    <a:pt x="1260070" y="5422674"/>
                    <a:pt x="1135416" y="5069485"/>
                  </a:cubicBezTo>
                  <a:cubicBezTo>
                    <a:pt x="1010859" y="4716297"/>
                    <a:pt x="1031047" y="4336258"/>
                    <a:pt x="1192255" y="3999337"/>
                  </a:cubicBezTo>
                  <a:cubicBezTo>
                    <a:pt x="1334256" y="3702596"/>
                    <a:pt x="1577489" y="3464459"/>
                    <a:pt x="1877072" y="3328828"/>
                  </a:cubicBezTo>
                  <a:cubicBezTo>
                    <a:pt x="2117464" y="3219559"/>
                    <a:pt x="2312677" y="3028167"/>
                    <a:pt x="2426748" y="2789834"/>
                  </a:cubicBezTo>
                  <a:cubicBezTo>
                    <a:pt x="2694971" y="2229280"/>
                    <a:pt x="2457128" y="1554949"/>
                    <a:pt x="1896574" y="1286726"/>
                  </a:cubicBezTo>
                  <a:cubicBezTo>
                    <a:pt x="1739775" y="1211659"/>
                    <a:pt x="1571805" y="1172851"/>
                    <a:pt x="1405991" y="1172851"/>
                  </a:cubicBezTo>
                  <a:cubicBezTo>
                    <a:pt x="1377767" y="1172851"/>
                    <a:pt x="1349642" y="1173929"/>
                    <a:pt x="1321614" y="1176281"/>
                  </a:cubicBezTo>
                  <a:cubicBezTo>
                    <a:pt x="1119246" y="1191961"/>
                    <a:pt x="910704" y="1151586"/>
                    <a:pt x="718430" y="1059565"/>
                  </a:cubicBezTo>
                  <a:cubicBezTo>
                    <a:pt x="296839" y="857883"/>
                    <a:pt x="48216" y="438545"/>
                    <a:pt x="42434" y="0"/>
                  </a:cubicBezTo>
                  <a:lnTo>
                    <a:pt x="0" y="0"/>
                  </a:lnTo>
                  <a:cubicBezTo>
                    <a:pt x="5782" y="454323"/>
                    <a:pt x="263323" y="888850"/>
                    <a:pt x="700105" y="1097882"/>
                  </a:cubicBezTo>
                  <a:cubicBezTo>
                    <a:pt x="899140" y="1193137"/>
                    <a:pt x="1115130" y="1234885"/>
                    <a:pt x="1324946" y="1218617"/>
                  </a:cubicBezTo>
                  <a:cubicBezTo>
                    <a:pt x="1510164" y="1203721"/>
                    <a:pt x="1701458" y="1240471"/>
                    <a:pt x="1878248" y="1325044"/>
                  </a:cubicBezTo>
                  <a:cubicBezTo>
                    <a:pt x="2417732" y="1583173"/>
                    <a:pt x="2646560" y="2232122"/>
                    <a:pt x="2388431" y="2771606"/>
                  </a:cubicBezTo>
                  <a:cubicBezTo>
                    <a:pt x="2278672" y="3000924"/>
                    <a:pt x="2090808" y="3185162"/>
                    <a:pt x="1859530" y="3290217"/>
                  </a:cubicBezTo>
                  <a:cubicBezTo>
                    <a:pt x="1550833" y="3429963"/>
                    <a:pt x="1300250" y="3675254"/>
                    <a:pt x="1153938" y="3981011"/>
                  </a:cubicBezTo>
                  <a:cubicBezTo>
                    <a:pt x="810549" y="4698756"/>
                    <a:pt x="1115032" y="5562028"/>
                    <a:pt x="1832776" y="5905514"/>
                  </a:cubicBezTo>
                  <a:cubicBezTo>
                    <a:pt x="2029754" y="5999789"/>
                    <a:pt x="2240942" y="6047221"/>
                    <a:pt x="2453306" y="6047221"/>
                  </a:cubicBezTo>
                  <a:cubicBezTo>
                    <a:pt x="2615298" y="6047221"/>
                    <a:pt x="2777878" y="6019585"/>
                    <a:pt x="2935363" y="5964118"/>
                  </a:cubicBezTo>
                  <a:cubicBezTo>
                    <a:pt x="3299233" y="5835739"/>
                    <a:pt x="3591171" y="5573886"/>
                    <a:pt x="3757182" y="5226774"/>
                  </a:cubicBezTo>
                  <a:cubicBezTo>
                    <a:pt x="3868117" y="4995006"/>
                    <a:pt x="3916430" y="4741875"/>
                    <a:pt x="3897026" y="4494820"/>
                  </a:cubicBezTo>
                  <a:cubicBezTo>
                    <a:pt x="3884972" y="4346253"/>
                    <a:pt x="3914666" y="4192493"/>
                    <a:pt x="3982775" y="4050100"/>
                  </a:cubicBezTo>
                  <a:cubicBezTo>
                    <a:pt x="4083420" y="3839893"/>
                    <a:pt x="4260211" y="3681233"/>
                    <a:pt x="4480610" y="3603519"/>
                  </a:cubicBezTo>
                  <a:cubicBezTo>
                    <a:pt x="4548033" y="3579705"/>
                    <a:pt x="4616926" y="3564516"/>
                    <a:pt x="4686212" y="3557558"/>
                  </a:cubicBezTo>
                  <a:lnTo>
                    <a:pt x="4686212" y="3514830"/>
                  </a:lnTo>
                  <a:cubicBezTo>
                    <a:pt x="4612223" y="3521886"/>
                    <a:pt x="4538527" y="3538056"/>
                    <a:pt x="4466498" y="3563536"/>
                  </a:cubicBezTo>
                  <a:cubicBezTo>
                    <a:pt x="4235417" y="3645071"/>
                    <a:pt x="4050003" y="3811375"/>
                    <a:pt x="3944556" y="4031775"/>
                  </a:cubicBezTo>
                  <a:close/>
                </a:path>
              </a:pathLst>
            </a:custGeom>
            <a:solidFill>
              <a:srgbClr val="84B135"/>
            </a:solidFill>
            <a:ln w="979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7802CBE0-7248-5586-D5CA-ED7475A6D2F3}"/>
                </a:ext>
              </a:extLst>
            </p:cNvPr>
            <p:cNvSpPr/>
            <p:nvPr/>
          </p:nvSpPr>
          <p:spPr>
            <a:xfrm>
              <a:off x="7400145" y="0"/>
              <a:ext cx="4794696" cy="6152569"/>
            </a:xfrm>
            <a:custGeom>
              <a:avLst/>
              <a:gdLst>
                <a:gd name="connsiteX0" fmla="*/ 4148100 w 4794696"/>
                <a:gd name="connsiteY0" fmla="*/ 4077148 h 6152569"/>
                <a:gd name="connsiteX1" fmla="*/ 4068329 w 4794696"/>
                <a:gd name="connsiteY1" fmla="*/ 4489822 h 6152569"/>
                <a:gd name="connsiteX2" fmla="*/ 3922506 w 4794696"/>
                <a:gd name="connsiteY2" fmla="*/ 5253821 h 6152569"/>
                <a:gd name="connsiteX3" fmla="*/ 3064819 w 4794696"/>
                <a:gd name="connsiteY3" fmla="*/ 6023309 h 6152569"/>
                <a:gd name="connsiteX4" fmla="*/ 1914116 w 4794696"/>
                <a:gd name="connsiteY4" fmla="*/ 5962256 h 6152569"/>
                <a:gd name="connsiteX5" fmla="*/ 1144628 w 4794696"/>
                <a:gd name="connsiteY5" fmla="*/ 5104569 h 6152569"/>
                <a:gd name="connsiteX6" fmla="*/ 1205681 w 4794696"/>
                <a:gd name="connsiteY6" fmla="*/ 3953865 h 6152569"/>
                <a:gd name="connsiteX7" fmla="*/ 1942241 w 4794696"/>
                <a:gd name="connsiteY7" fmla="*/ 3232887 h 6152569"/>
                <a:gd name="connsiteX8" fmla="*/ 2440174 w 4794696"/>
                <a:gd name="connsiteY8" fmla="*/ 2744460 h 6152569"/>
                <a:gd name="connsiteX9" fmla="*/ 2481628 w 4794696"/>
                <a:gd name="connsiteY9" fmla="*/ 1963801 h 6152569"/>
                <a:gd name="connsiteX10" fmla="*/ 1959587 w 4794696"/>
                <a:gd name="connsiteY10" fmla="*/ 1381883 h 6152569"/>
                <a:gd name="connsiteX11" fmla="*/ 1517808 w 4794696"/>
                <a:gd name="connsiteY11" fmla="*/ 1281336 h 6152569"/>
                <a:gd name="connsiteX12" fmla="*/ 1438527 w 4794696"/>
                <a:gd name="connsiteY12" fmla="*/ 1284472 h 6152569"/>
                <a:gd name="connsiteX13" fmla="*/ 778308 w 4794696"/>
                <a:gd name="connsiteY13" fmla="*/ 1161190 h 6152569"/>
                <a:gd name="connsiteX14" fmla="*/ 42434 w 4794696"/>
                <a:gd name="connsiteY14" fmla="*/ 0 h 6152569"/>
                <a:gd name="connsiteX15" fmla="*/ 0 w 4794696"/>
                <a:gd name="connsiteY15" fmla="*/ 0 h 6152569"/>
                <a:gd name="connsiteX16" fmla="*/ 760080 w 4794696"/>
                <a:gd name="connsiteY16" fmla="*/ 1199311 h 6152569"/>
                <a:gd name="connsiteX17" fmla="*/ 1441957 w 4794696"/>
                <a:gd name="connsiteY17" fmla="*/ 1326612 h 6152569"/>
                <a:gd name="connsiteX18" fmla="*/ 1941261 w 4794696"/>
                <a:gd name="connsiteY18" fmla="*/ 1420005 h 6152569"/>
                <a:gd name="connsiteX19" fmla="*/ 2441644 w 4794696"/>
                <a:gd name="connsiteY19" fmla="*/ 1977815 h 6152569"/>
                <a:gd name="connsiteX20" fmla="*/ 2401954 w 4794696"/>
                <a:gd name="connsiteY20" fmla="*/ 2726135 h 6152569"/>
                <a:gd name="connsiteX21" fmla="*/ 1924797 w 4794696"/>
                <a:gd name="connsiteY21" fmla="*/ 3194276 h 6152569"/>
                <a:gd name="connsiteX22" fmla="*/ 1167462 w 4794696"/>
                <a:gd name="connsiteY22" fmla="*/ 3935638 h 6152569"/>
                <a:gd name="connsiteX23" fmla="*/ 1104644 w 4794696"/>
                <a:gd name="connsiteY23" fmla="*/ 5118681 h 6152569"/>
                <a:gd name="connsiteX24" fmla="*/ 1895790 w 4794696"/>
                <a:gd name="connsiteY24" fmla="*/ 6000573 h 6152569"/>
                <a:gd name="connsiteX25" fmla="*/ 2561595 w 4794696"/>
                <a:gd name="connsiteY25" fmla="*/ 6152570 h 6152569"/>
                <a:gd name="connsiteX26" fmla="*/ 3078833 w 4794696"/>
                <a:gd name="connsiteY26" fmla="*/ 6063390 h 6152569"/>
                <a:gd name="connsiteX27" fmla="*/ 3960726 w 4794696"/>
                <a:gd name="connsiteY27" fmla="*/ 5272245 h 6152569"/>
                <a:gd name="connsiteX28" fmla="*/ 4110566 w 4794696"/>
                <a:gd name="connsiteY28" fmla="*/ 4486588 h 6152569"/>
                <a:gd name="connsiteX29" fmla="*/ 4186319 w 4794696"/>
                <a:gd name="connsiteY29" fmla="*/ 4095572 h 6152569"/>
                <a:gd name="connsiteX30" fmla="*/ 4794697 w 4794696"/>
                <a:gd name="connsiteY30" fmla="*/ 3663788 h 6152569"/>
                <a:gd name="connsiteX31" fmla="*/ 4794697 w 4794696"/>
                <a:gd name="connsiteY31" fmla="*/ 3621061 h 6152569"/>
                <a:gd name="connsiteX32" fmla="*/ 4148001 w 4794696"/>
                <a:gd name="connsiteY32" fmla="*/ 4077246 h 615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94696" h="6152569">
                  <a:moveTo>
                    <a:pt x="4148100" y="4077148"/>
                  </a:moveTo>
                  <a:cubicBezTo>
                    <a:pt x="4084890" y="4209251"/>
                    <a:pt x="4057352" y="4351937"/>
                    <a:pt x="4068329" y="4489822"/>
                  </a:cubicBezTo>
                  <a:cubicBezTo>
                    <a:pt x="4088516" y="4748147"/>
                    <a:pt x="4038047" y="5012352"/>
                    <a:pt x="3922506" y="5253821"/>
                  </a:cubicBezTo>
                  <a:cubicBezTo>
                    <a:pt x="3749146" y="5616026"/>
                    <a:pt x="3444565" y="5889345"/>
                    <a:pt x="3064819" y="6023309"/>
                  </a:cubicBezTo>
                  <a:cubicBezTo>
                    <a:pt x="2685073" y="6157274"/>
                    <a:pt x="2276418" y="6135616"/>
                    <a:pt x="1914116" y="5962256"/>
                  </a:cubicBezTo>
                  <a:cubicBezTo>
                    <a:pt x="1551813" y="5788896"/>
                    <a:pt x="1278592" y="5484315"/>
                    <a:pt x="1144628" y="5104569"/>
                  </a:cubicBezTo>
                  <a:cubicBezTo>
                    <a:pt x="1010663" y="4724823"/>
                    <a:pt x="1032321" y="4316168"/>
                    <a:pt x="1205681" y="3953865"/>
                  </a:cubicBezTo>
                  <a:cubicBezTo>
                    <a:pt x="1358657" y="3634193"/>
                    <a:pt x="1620217" y="3378220"/>
                    <a:pt x="1942241" y="3232887"/>
                  </a:cubicBezTo>
                  <a:cubicBezTo>
                    <a:pt x="2159799" y="3134398"/>
                    <a:pt x="2336589" y="2960940"/>
                    <a:pt x="2440174" y="2744460"/>
                  </a:cubicBezTo>
                  <a:cubicBezTo>
                    <a:pt x="2557773" y="2498679"/>
                    <a:pt x="2572472" y="2221440"/>
                    <a:pt x="2481628" y="1963801"/>
                  </a:cubicBezTo>
                  <a:cubicBezTo>
                    <a:pt x="2390782" y="1706162"/>
                    <a:pt x="2205369" y="1499482"/>
                    <a:pt x="1959587" y="1381883"/>
                  </a:cubicBezTo>
                  <a:cubicBezTo>
                    <a:pt x="1821115" y="1315636"/>
                    <a:pt x="1669902" y="1281336"/>
                    <a:pt x="1517808" y="1281336"/>
                  </a:cubicBezTo>
                  <a:cubicBezTo>
                    <a:pt x="1491446" y="1281336"/>
                    <a:pt x="1464986" y="1282414"/>
                    <a:pt x="1438527" y="1284472"/>
                  </a:cubicBezTo>
                  <a:cubicBezTo>
                    <a:pt x="1212541" y="1302308"/>
                    <a:pt x="984204" y="1259678"/>
                    <a:pt x="778308" y="1161190"/>
                  </a:cubicBezTo>
                  <a:cubicBezTo>
                    <a:pt x="317027" y="940300"/>
                    <a:pt x="45864" y="480097"/>
                    <a:pt x="42434" y="0"/>
                  </a:cubicBezTo>
                  <a:lnTo>
                    <a:pt x="0" y="0"/>
                  </a:lnTo>
                  <a:cubicBezTo>
                    <a:pt x="3528" y="495875"/>
                    <a:pt x="283511" y="971268"/>
                    <a:pt x="760080" y="1199311"/>
                  </a:cubicBezTo>
                  <a:cubicBezTo>
                    <a:pt x="972640" y="1301034"/>
                    <a:pt x="1208523" y="1345036"/>
                    <a:pt x="1441957" y="1326612"/>
                  </a:cubicBezTo>
                  <a:cubicBezTo>
                    <a:pt x="1612867" y="1313186"/>
                    <a:pt x="1785541" y="1345427"/>
                    <a:pt x="1941261" y="1420005"/>
                  </a:cubicBezTo>
                  <a:cubicBezTo>
                    <a:pt x="2176851" y="1532703"/>
                    <a:pt x="2354523" y="1730857"/>
                    <a:pt x="2441644" y="1977815"/>
                  </a:cubicBezTo>
                  <a:cubicBezTo>
                    <a:pt x="2528765" y="2224772"/>
                    <a:pt x="2514653" y="2490545"/>
                    <a:pt x="2401954" y="2726135"/>
                  </a:cubicBezTo>
                  <a:cubicBezTo>
                    <a:pt x="2301211" y="2936636"/>
                    <a:pt x="2136181" y="3098531"/>
                    <a:pt x="1924797" y="3194276"/>
                  </a:cubicBezTo>
                  <a:cubicBezTo>
                    <a:pt x="1593659" y="3343724"/>
                    <a:pt x="1324750" y="3606949"/>
                    <a:pt x="1167462" y="3935638"/>
                  </a:cubicBezTo>
                  <a:cubicBezTo>
                    <a:pt x="989201" y="4308132"/>
                    <a:pt x="966956" y="4728253"/>
                    <a:pt x="1104644" y="5118681"/>
                  </a:cubicBezTo>
                  <a:cubicBezTo>
                    <a:pt x="1242333" y="5509109"/>
                    <a:pt x="1523296" y="5822313"/>
                    <a:pt x="1895790" y="6000573"/>
                  </a:cubicBezTo>
                  <a:cubicBezTo>
                    <a:pt x="2107076" y="6101708"/>
                    <a:pt x="2333747" y="6152570"/>
                    <a:pt x="2561595" y="6152570"/>
                  </a:cubicBezTo>
                  <a:cubicBezTo>
                    <a:pt x="2735347" y="6152570"/>
                    <a:pt x="2909883" y="6122974"/>
                    <a:pt x="3078833" y="6063390"/>
                  </a:cubicBezTo>
                  <a:cubicBezTo>
                    <a:pt x="3469261" y="5925702"/>
                    <a:pt x="3782466" y="5644739"/>
                    <a:pt x="3960726" y="5272245"/>
                  </a:cubicBezTo>
                  <a:cubicBezTo>
                    <a:pt x="4079500" y="5024014"/>
                    <a:pt x="4131244" y="4752361"/>
                    <a:pt x="4110566" y="4486588"/>
                  </a:cubicBezTo>
                  <a:cubicBezTo>
                    <a:pt x="4100178" y="4356151"/>
                    <a:pt x="4126344" y="4220913"/>
                    <a:pt x="4186319" y="4095572"/>
                  </a:cubicBezTo>
                  <a:cubicBezTo>
                    <a:pt x="4304898" y="3847733"/>
                    <a:pt x="4539900" y="3692502"/>
                    <a:pt x="4794697" y="3663788"/>
                  </a:cubicBezTo>
                  <a:lnTo>
                    <a:pt x="4794697" y="3621061"/>
                  </a:lnTo>
                  <a:cubicBezTo>
                    <a:pt x="4524024" y="3650069"/>
                    <a:pt x="4273930" y="3814217"/>
                    <a:pt x="4148001" y="4077246"/>
                  </a:cubicBezTo>
                  <a:close/>
                </a:path>
              </a:pathLst>
            </a:custGeom>
            <a:solidFill>
              <a:srgbClr val="84B135"/>
            </a:solidFill>
            <a:ln w="9794"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C87F2CC-0D0F-5837-3D46-D57CA4E8A242}"/>
                </a:ext>
              </a:extLst>
            </p:cNvPr>
            <p:cNvSpPr/>
            <p:nvPr/>
          </p:nvSpPr>
          <p:spPr>
            <a:xfrm>
              <a:off x="7294796" y="0"/>
              <a:ext cx="4900143" cy="6257918"/>
            </a:xfrm>
            <a:custGeom>
              <a:avLst/>
              <a:gdLst>
                <a:gd name="connsiteX0" fmla="*/ 4348410 w 4900143"/>
                <a:gd name="connsiteY0" fmla="*/ 4122620 h 6257918"/>
                <a:gd name="connsiteX1" fmla="*/ 4278634 w 4900143"/>
                <a:gd name="connsiteY1" fmla="*/ 4482178 h 6257918"/>
                <a:gd name="connsiteX2" fmla="*/ 4122816 w 4900143"/>
                <a:gd name="connsiteY2" fmla="*/ 5299293 h 6257918"/>
                <a:gd name="connsiteX3" fmla="*/ 3205154 w 4900143"/>
                <a:gd name="connsiteY3" fmla="*/ 6122582 h 6257918"/>
                <a:gd name="connsiteX4" fmla="*/ 1973993 w 4900143"/>
                <a:gd name="connsiteY4" fmla="*/ 6057217 h 6257918"/>
                <a:gd name="connsiteX5" fmla="*/ 1216069 w 4900143"/>
                <a:gd name="connsiteY5" fmla="*/ 3908394 h 6257918"/>
                <a:gd name="connsiteX6" fmla="*/ 2003001 w 4900143"/>
                <a:gd name="connsiteY6" fmla="*/ 3137534 h 6257918"/>
                <a:gd name="connsiteX7" fmla="*/ 2450562 w 4900143"/>
                <a:gd name="connsiteY7" fmla="*/ 2698989 h 6257918"/>
                <a:gd name="connsiteX8" fmla="*/ 2487703 w 4900143"/>
                <a:gd name="connsiteY8" fmla="*/ 1998787 h 6257918"/>
                <a:gd name="connsiteX9" fmla="*/ 2019464 w 4900143"/>
                <a:gd name="connsiteY9" fmla="*/ 1476844 h 6257918"/>
                <a:gd name="connsiteX10" fmla="*/ 1623647 w 4900143"/>
                <a:gd name="connsiteY10" fmla="*/ 1386587 h 6257918"/>
                <a:gd name="connsiteX11" fmla="*/ 1551323 w 4900143"/>
                <a:gd name="connsiteY11" fmla="*/ 1389527 h 6257918"/>
                <a:gd name="connsiteX12" fmla="*/ 838283 w 4900143"/>
                <a:gd name="connsiteY12" fmla="*/ 1256150 h 6257918"/>
                <a:gd name="connsiteX13" fmla="*/ 42434 w 4900143"/>
                <a:gd name="connsiteY13" fmla="*/ 0 h 6257918"/>
                <a:gd name="connsiteX14" fmla="*/ 0 w 4900143"/>
                <a:gd name="connsiteY14" fmla="*/ 0 h 6257918"/>
                <a:gd name="connsiteX15" fmla="*/ 819957 w 4900143"/>
                <a:gd name="connsiteY15" fmla="*/ 1294370 h 6257918"/>
                <a:gd name="connsiteX16" fmla="*/ 1554753 w 4900143"/>
                <a:gd name="connsiteY16" fmla="*/ 1431765 h 6257918"/>
                <a:gd name="connsiteX17" fmla="*/ 2001237 w 4900143"/>
                <a:gd name="connsiteY17" fmla="*/ 1515064 h 6257918"/>
                <a:gd name="connsiteX18" fmla="*/ 2412342 w 4900143"/>
                <a:gd name="connsiteY18" fmla="*/ 2680663 h 6257918"/>
                <a:gd name="connsiteX19" fmla="*/ 1985557 w 4900143"/>
                <a:gd name="connsiteY19" fmla="*/ 3098923 h 6257918"/>
                <a:gd name="connsiteX20" fmla="*/ 1177849 w 4900143"/>
                <a:gd name="connsiteY20" fmla="*/ 3890166 h 6257918"/>
                <a:gd name="connsiteX21" fmla="*/ 1955765 w 4900143"/>
                <a:gd name="connsiteY21" fmla="*/ 6095534 h 6257918"/>
                <a:gd name="connsiteX22" fmla="*/ 2666846 w 4900143"/>
                <a:gd name="connsiteY22" fmla="*/ 6257919 h 6257918"/>
                <a:gd name="connsiteX23" fmla="*/ 3219266 w 4900143"/>
                <a:gd name="connsiteY23" fmla="*/ 6162663 h 6257918"/>
                <a:gd name="connsiteX24" fmla="*/ 4161134 w 4900143"/>
                <a:gd name="connsiteY24" fmla="*/ 5317717 h 6257918"/>
                <a:gd name="connsiteX25" fmla="*/ 4320970 w 4900143"/>
                <a:gd name="connsiteY25" fmla="*/ 4478944 h 6257918"/>
                <a:gd name="connsiteX26" fmla="*/ 4386727 w 4900143"/>
                <a:gd name="connsiteY26" fmla="*/ 4141043 h 6257918"/>
                <a:gd name="connsiteX27" fmla="*/ 4900144 w 4900143"/>
                <a:gd name="connsiteY27" fmla="*/ 3769823 h 6257918"/>
                <a:gd name="connsiteX28" fmla="*/ 4900144 w 4900143"/>
                <a:gd name="connsiteY28" fmla="*/ 3727096 h 6257918"/>
                <a:gd name="connsiteX29" fmla="*/ 4348508 w 4900143"/>
                <a:gd name="connsiteY29" fmla="*/ 4122718 h 625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00143" h="6257918">
                  <a:moveTo>
                    <a:pt x="4348410" y="4122620"/>
                  </a:moveTo>
                  <a:cubicBezTo>
                    <a:pt x="4293334" y="4237768"/>
                    <a:pt x="4269227" y="4362129"/>
                    <a:pt x="4278634" y="4482178"/>
                  </a:cubicBezTo>
                  <a:cubicBezTo>
                    <a:pt x="4299998" y="4759123"/>
                    <a:pt x="4246099" y="5041654"/>
                    <a:pt x="4122816" y="5299293"/>
                  </a:cubicBezTo>
                  <a:cubicBezTo>
                    <a:pt x="3937402" y="5686879"/>
                    <a:pt x="3611457" y="5979210"/>
                    <a:pt x="3205154" y="6122582"/>
                  </a:cubicBezTo>
                  <a:cubicBezTo>
                    <a:pt x="2798850" y="6265857"/>
                    <a:pt x="2361579" y="6242729"/>
                    <a:pt x="1973993" y="6057217"/>
                  </a:cubicBezTo>
                  <a:cubicBezTo>
                    <a:pt x="1172557" y="5673747"/>
                    <a:pt x="832599" y="4709829"/>
                    <a:pt x="1216069" y="3908394"/>
                  </a:cubicBezTo>
                  <a:cubicBezTo>
                    <a:pt x="1379433" y="3566868"/>
                    <a:pt x="1658926" y="3293157"/>
                    <a:pt x="2003001" y="3137534"/>
                  </a:cubicBezTo>
                  <a:cubicBezTo>
                    <a:pt x="2198508" y="3049237"/>
                    <a:pt x="2357463" y="2893517"/>
                    <a:pt x="2450562" y="2698989"/>
                  </a:cubicBezTo>
                  <a:cubicBezTo>
                    <a:pt x="2556009" y="2478491"/>
                    <a:pt x="2569239" y="2229868"/>
                    <a:pt x="2487703" y="1998787"/>
                  </a:cubicBezTo>
                  <a:cubicBezTo>
                    <a:pt x="2406168" y="1767705"/>
                    <a:pt x="2239864" y="1582291"/>
                    <a:pt x="2019464" y="1476844"/>
                  </a:cubicBezTo>
                  <a:cubicBezTo>
                    <a:pt x="1895104" y="1417359"/>
                    <a:pt x="1759571" y="1386587"/>
                    <a:pt x="1623647" y="1386587"/>
                  </a:cubicBezTo>
                  <a:cubicBezTo>
                    <a:pt x="1599539" y="1386587"/>
                    <a:pt x="1575431" y="1387567"/>
                    <a:pt x="1551323" y="1389527"/>
                  </a:cubicBezTo>
                  <a:cubicBezTo>
                    <a:pt x="1307502" y="1408833"/>
                    <a:pt x="1060937" y="1362773"/>
                    <a:pt x="838283" y="1256150"/>
                  </a:cubicBezTo>
                  <a:cubicBezTo>
                    <a:pt x="339174" y="1017229"/>
                    <a:pt x="45962" y="519394"/>
                    <a:pt x="42434" y="0"/>
                  </a:cubicBezTo>
                  <a:lnTo>
                    <a:pt x="0" y="0"/>
                  </a:lnTo>
                  <a:cubicBezTo>
                    <a:pt x="3528" y="535172"/>
                    <a:pt x="305659" y="1048197"/>
                    <a:pt x="819957" y="1294370"/>
                  </a:cubicBezTo>
                  <a:cubicBezTo>
                    <a:pt x="1049373" y="1404129"/>
                    <a:pt x="1303386" y="1451658"/>
                    <a:pt x="1554753" y="1431765"/>
                  </a:cubicBezTo>
                  <a:cubicBezTo>
                    <a:pt x="1707142" y="1419417"/>
                    <a:pt x="1861490" y="1448228"/>
                    <a:pt x="2001237" y="1515064"/>
                  </a:cubicBezTo>
                  <a:cubicBezTo>
                    <a:pt x="2435960" y="1723115"/>
                    <a:pt x="2620394" y="2245940"/>
                    <a:pt x="2412342" y="2680663"/>
                  </a:cubicBezTo>
                  <a:cubicBezTo>
                    <a:pt x="2323555" y="2866175"/>
                    <a:pt x="2172049" y="3014742"/>
                    <a:pt x="1985557" y="3098923"/>
                  </a:cubicBezTo>
                  <a:cubicBezTo>
                    <a:pt x="1632369" y="3258661"/>
                    <a:pt x="1345526" y="3539624"/>
                    <a:pt x="1177849" y="3890166"/>
                  </a:cubicBezTo>
                  <a:cubicBezTo>
                    <a:pt x="784286" y="4712672"/>
                    <a:pt x="1133260" y="5701971"/>
                    <a:pt x="1955765" y="6095534"/>
                  </a:cubicBezTo>
                  <a:cubicBezTo>
                    <a:pt x="2181457" y="6203529"/>
                    <a:pt x="2423514" y="6257919"/>
                    <a:pt x="2666846" y="6257919"/>
                  </a:cubicBezTo>
                  <a:cubicBezTo>
                    <a:pt x="2852456" y="6257919"/>
                    <a:pt x="3038849" y="6226265"/>
                    <a:pt x="3219266" y="6162663"/>
                  </a:cubicBezTo>
                  <a:cubicBezTo>
                    <a:pt x="3636251" y="6015568"/>
                    <a:pt x="3970721" y="5715494"/>
                    <a:pt x="4161134" y="5317717"/>
                  </a:cubicBezTo>
                  <a:cubicBezTo>
                    <a:pt x="4287650" y="5053316"/>
                    <a:pt x="4342922" y="4763337"/>
                    <a:pt x="4320970" y="4478944"/>
                  </a:cubicBezTo>
                  <a:cubicBezTo>
                    <a:pt x="4312052" y="4366343"/>
                    <a:pt x="4334788" y="4249430"/>
                    <a:pt x="4386727" y="4141043"/>
                  </a:cubicBezTo>
                  <a:cubicBezTo>
                    <a:pt x="4487274" y="3930934"/>
                    <a:pt x="4684742" y="3798047"/>
                    <a:pt x="4900144" y="3769823"/>
                  </a:cubicBezTo>
                  <a:lnTo>
                    <a:pt x="4900144" y="3727096"/>
                  </a:lnTo>
                  <a:cubicBezTo>
                    <a:pt x="4668866" y="3755516"/>
                    <a:pt x="4456306" y="3897418"/>
                    <a:pt x="4348508" y="4122718"/>
                  </a:cubicBezTo>
                  <a:close/>
                </a:path>
              </a:pathLst>
            </a:custGeom>
            <a:solidFill>
              <a:srgbClr val="84B135"/>
            </a:solidFill>
            <a:ln w="9794"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E69EC821-0667-AE2D-5E62-1E273E7183E9}"/>
                </a:ext>
              </a:extLst>
            </p:cNvPr>
            <p:cNvSpPr/>
            <p:nvPr/>
          </p:nvSpPr>
          <p:spPr>
            <a:xfrm>
              <a:off x="7189153" y="0"/>
              <a:ext cx="5005884" cy="6362777"/>
            </a:xfrm>
            <a:custGeom>
              <a:avLst/>
              <a:gdLst>
                <a:gd name="connsiteX0" fmla="*/ 4549013 w 5005884"/>
                <a:gd name="connsiteY0" fmla="*/ 4168091 h 6362777"/>
                <a:gd name="connsiteX1" fmla="*/ 4489136 w 5005884"/>
                <a:gd name="connsiteY1" fmla="*/ 4472770 h 6362777"/>
                <a:gd name="connsiteX2" fmla="*/ 4323420 w 5005884"/>
                <a:gd name="connsiteY2" fmla="*/ 5344765 h 6362777"/>
                <a:gd name="connsiteX3" fmla="*/ 2034164 w 5005884"/>
                <a:gd name="connsiteY3" fmla="*/ 6152276 h 6362777"/>
                <a:gd name="connsiteX4" fmla="*/ 1157074 w 5005884"/>
                <a:gd name="connsiteY4" fmla="*/ 5174639 h 6362777"/>
                <a:gd name="connsiteX5" fmla="*/ 1226653 w 5005884"/>
                <a:gd name="connsiteY5" fmla="*/ 3863020 h 6362777"/>
                <a:gd name="connsiteX6" fmla="*/ 2063760 w 5005884"/>
                <a:gd name="connsiteY6" fmla="*/ 3042377 h 6362777"/>
                <a:gd name="connsiteX7" fmla="*/ 2461244 w 5005884"/>
                <a:gd name="connsiteY7" fmla="*/ 2653615 h 6362777"/>
                <a:gd name="connsiteX8" fmla="*/ 2079734 w 5005884"/>
                <a:gd name="connsiteY8" fmla="*/ 1571903 h 6362777"/>
                <a:gd name="connsiteX9" fmla="*/ 1728506 w 5005884"/>
                <a:gd name="connsiteY9" fmla="*/ 1492034 h 6362777"/>
                <a:gd name="connsiteX10" fmla="*/ 1665982 w 5005884"/>
                <a:gd name="connsiteY10" fmla="*/ 1494484 h 6362777"/>
                <a:gd name="connsiteX11" fmla="*/ 898552 w 5005884"/>
                <a:gd name="connsiteY11" fmla="*/ 1351210 h 6362777"/>
                <a:gd name="connsiteX12" fmla="*/ 129065 w 5005884"/>
                <a:gd name="connsiteY12" fmla="*/ 493523 h 6362777"/>
                <a:gd name="connsiteX13" fmla="*/ 42434 w 5005884"/>
                <a:gd name="connsiteY13" fmla="*/ 0 h 6362777"/>
                <a:gd name="connsiteX14" fmla="*/ 0 w 5005884"/>
                <a:gd name="connsiteY14" fmla="*/ 0 h 6362777"/>
                <a:gd name="connsiteX15" fmla="*/ 89081 w 5005884"/>
                <a:gd name="connsiteY15" fmla="*/ 507439 h 6362777"/>
                <a:gd name="connsiteX16" fmla="*/ 880227 w 5005884"/>
                <a:gd name="connsiteY16" fmla="*/ 1389331 h 6362777"/>
                <a:gd name="connsiteX17" fmla="*/ 1669314 w 5005884"/>
                <a:gd name="connsiteY17" fmla="*/ 1536624 h 6362777"/>
                <a:gd name="connsiteX18" fmla="*/ 2061506 w 5005884"/>
                <a:gd name="connsiteY18" fmla="*/ 1610025 h 6362777"/>
                <a:gd name="connsiteX19" fmla="*/ 2423122 w 5005884"/>
                <a:gd name="connsiteY19" fmla="*/ 2635192 h 6362777"/>
                <a:gd name="connsiteX20" fmla="*/ 2046414 w 5005884"/>
                <a:gd name="connsiteY20" fmla="*/ 3003668 h 6362777"/>
                <a:gd name="connsiteX21" fmla="*/ 1188629 w 5005884"/>
                <a:gd name="connsiteY21" fmla="*/ 3844695 h 6362777"/>
                <a:gd name="connsiteX22" fmla="*/ 1117286 w 5005884"/>
                <a:gd name="connsiteY22" fmla="*/ 5188750 h 6362777"/>
                <a:gd name="connsiteX23" fmla="*/ 2016034 w 5005884"/>
                <a:gd name="connsiteY23" fmla="*/ 6190594 h 6362777"/>
                <a:gd name="connsiteX24" fmla="*/ 2772488 w 5005884"/>
                <a:gd name="connsiteY24" fmla="*/ 6362778 h 6362777"/>
                <a:gd name="connsiteX25" fmla="*/ 4361835 w 5005884"/>
                <a:gd name="connsiteY25" fmla="*/ 5363189 h 6362777"/>
                <a:gd name="connsiteX26" fmla="*/ 4531570 w 5005884"/>
                <a:gd name="connsiteY26" fmla="*/ 4469634 h 6362777"/>
                <a:gd name="connsiteX27" fmla="*/ 4587429 w 5005884"/>
                <a:gd name="connsiteY27" fmla="*/ 4186515 h 6362777"/>
                <a:gd name="connsiteX28" fmla="*/ 5005884 w 5005884"/>
                <a:gd name="connsiteY28" fmla="*/ 3876054 h 6362777"/>
                <a:gd name="connsiteX29" fmla="*/ 5005884 w 5005884"/>
                <a:gd name="connsiteY29" fmla="*/ 3833131 h 6362777"/>
                <a:gd name="connsiteX30" fmla="*/ 4549209 w 5005884"/>
                <a:gd name="connsiteY30" fmla="*/ 4168091 h 63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05884" h="6362777">
                  <a:moveTo>
                    <a:pt x="4549013" y="4168091"/>
                  </a:moveTo>
                  <a:cubicBezTo>
                    <a:pt x="4502072" y="4266188"/>
                    <a:pt x="4481394" y="4371537"/>
                    <a:pt x="4489136" y="4472770"/>
                  </a:cubicBezTo>
                  <a:cubicBezTo>
                    <a:pt x="4512166" y="4768531"/>
                    <a:pt x="4454934" y="5069975"/>
                    <a:pt x="4323420" y="5344765"/>
                  </a:cubicBezTo>
                  <a:cubicBezTo>
                    <a:pt x="3914862" y="6198531"/>
                    <a:pt x="2887931" y="6560735"/>
                    <a:pt x="2034164" y="6152276"/>
                  </a:cubicBezTo>
                  <a:cubicBezTo>
                    <a:pt x="1621295" y="5954710"/>
                    <a:pt x="1309756" y="5607500"/>
                    <a:pt x="1157074" y="5174639"/>
                  </a:cubicBezTo>
                  <a:cubicBezTo>
                    <a:pt x="1004391" y="4741777"/>
                    <a:pt x="1029087" y="4275988"/>
                    <a:pt x="1226653" y="3863020"/>
                  </a:cubicBezTo>
                  <a:cubicBezTo>
                    <a:pt x="1400209" y="3500424"/>
                    <a:pt x="1697440" y="3208878"/>
                    <a:pt x="2063760" y="3042377"/>
                  </a:cubicBezTo>
                  <a:cubicBezTo>
                    <a:pt x="2237708" y="2963782"/>
                    <a:pt x="2378925" y="2825702"/>
                    <a:pt x="2461244" y="2653615"/>
                  </a:cubicBezTo>
                  <a:cubicBezTo>
                    <a:pt x="2654302" y="2250154"/>
                    <a:pt x="2483098" y="1764961"/>
                    <a:pt x="2079734" y="1571903"/>
                  </a:cubicBezTo>
                  <a:cubicBezTo>
                    <a:pt x="1969681" y="1519278"/>
                    <a:pt x="1849436" y="1492034"/>
                    <a:pt x="1728506" y="1492034"/>
                  </a:cubicBezTo>
                  <a:cubicBezTo>
                    <a:pt x="1707632" y="1492034"/>
                    <a:pt x="1686758" y="1492818"/>
                    <a:pt x="1665982" y="1494484"/>
                  </a:cubicBezTo>
                  <a:cubicBezTo>
                    <a:pt x="1403051" y="1515162"/>
                    <a:pt x="1137670" y="1465672"/>
                    <a:pt x="898552" y="1351210"/>
                  </a:cubicBezTo>
                  <a:cubicBezTo>
                    <a:pt x="536348" y="1177849"/>
                    <a:pt x="263029" y="873269"/>
                    <a:pt x="129065" y="493523"/>
                  </a:cubicBezTo>
                  <a:cubicBezTo>
                    <a:pt x="72225" y="332216"/>
                    <a:pt x="43512" y="165814"/>
                    <a:pt x="42434" y="0"/>
                  </a:cubicBezTo>
                  <a:lnTo>
                    <a:pt x="0" y="0"/>
                  </a:lnTo>
                  <a:cubicBezTo>
                    <a:pt x="1078" y="170518"/>
                    <a:pt x="30576" y="341722"/>
                    <a:pt x="89081" y="507439"/>
                  </a:cubicBezTo>
                  <a:cubicBezTo>
                    <a:pt x="226770" y="897866"/>
                    <a:pt x="507733" y="1211071"/>
                    <a:pt x="880227" y="1389331"/>
                  </a:cubicBezTo>
                  <a:cubicBezTo>
                    <a:pt x="1126106" y="1506930"/>
                    <a:pt x="1398935" y="1557987"/>
                    <a:pt x="1669314" y="1536624"/>
                  </a:cubicBezTo>
                  <a:cubicBezTo>
                    <a:pt x="1803573" y="1526138"/>
                    <a:pt x="1939203" y="1551519"/>
                    <a:pt x="2061506" y="1610025"/>
                  </a:cubicBezTo>
                  <a:cubicBezTo>
                    <a:pt x="2443800" y="1792989"/>
                    <a:pt x="2606086" y="2252898"/>
                    <a:pt x="2423122" y="2635192"/>
                  </a:cubicBezTo>
                  <a:cubicBezTo>
                    <a:pt x="2345115" y="2798262"/>
                    <a:pt x="2211346" y="2929091"/>
                    <a:pt x="2046414" y="3003668"/>
                  </a:cubicBezTo>
                  <a:cubicBezTo>
                    <a:pt x="1671078" y="3174382"/>
                    <a:pt x="1366399" y="3473083"/>
                    <a:pt x="1188629" y="3844695"/>
                  </a:cubicBezTo>
                  <a:cubicBezTo>
                    <a:pt x="986163" y="4267854"/>
                    <a:pt x="960782" y="4745109"/>
                    <a:pt x="1117286" y="5188750"/>
                  </a:cubicBezTo>
                  <a:cubicBezTo>
                    <a:pt x="1273692" y="5632293"/>
                    <a:pt x="1592973" y="5988127"/>
                    <a:pt x="2016034" y="6190594"/>
                  </a:cubicBezTo>
                  <a:cubicBezTo>
                    <a:pt x="2260248" y="6307506"/>
                    <a:pt x="2518279" y="6362778"/>
                    <a:pt x="2772488" y="6362778"/>
                  </a:cubicBezTo>
                  <a:cubicBezTo>
                    <a:pt x="3428983" y="6362778"/>
                    <a:pt x="4060096" y="5993811"/>
                    <a:pt x="4361835" y="5363189"/>
                  </a:cubicBezTo>
                  <a:cubicBezTo>
                    <a:pt x="4496486" y="5081735"/>
                    <a:pt x="4555187" y="4772745"/>
                    <a:pt x="4531570" y="4469634"/>
                  </a:cubicBezTo>
                  <a:cubicBezTo>
                    <a:pt x="4524416" y="4375849"/>
                    <a:pt x="4543721" y="4277948"/>
                    <a:pt x="4587429" y="4186515"/>
                  </a:cubicBezTo>
                  <a:cubicBezTo>
                    <a:pt x="4669944" y="4014135"/>
                    <a:pt x="4829878" y="3903494"/>
                    <a:pt x="5005884" y="3876054"/>
                  </a:cubicBezTo>
                  <a:lnTo>
                    <a:pt x="5005884" y="3833131"/>
                  </a:lnTo>
                  <a:cubicBezTo>
                    <a:pt x="4814100" y="3860864"/>
                    <a:pt x="4638976" y="3980521"/>
                    <a:pt x="4549209" y="4168091"/>
                  </a:cubicBezTo>
                  <a:close/>
                </a:path>
              </a:pathLst>
            </a:custGeom>
            <a:solidFill>
              <a:srgbClr val="84B135"/>
            </a:solidFill>
            <a:ln w="9794"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23F535EC-4DF1-FAC5-B53B-2D1B330AB400}"/>
                </a:ext>
              </a:extLst>
            </p:cNvPr>
            <p:cNvSpPr/>
            <p:nvPr/>
          </p:nvSpPr>
          <p:spPr>
            <a:xfrm>
              <a:off x="7084196" y="0"/>
              <a:ext cx="5110742" cy="6467930"/>
            </a:xfrm>
            <a:custGeom>
              <a:avLst/>
              <a:gdLst>
                <a:gd name="connsiteX0" fmla="*/ 4749029 w 5110742"/>
                <a:gd name="connsiteY0" fmla="*/ 4213563 h 6467930"/>
                <a:gd name="connsiteX1" fmla="*/ 4699246 w 5110742"/>
                <a:gd name="connsiteY1" fmla="*/ 4466106 h 6467930"/>
                <a:gd name="connsiteX2" fmla="*/ 4523436 w 5110742"/>
                <a:gd name="connsiteY2" fmla="*/ 5390138 h 6467930"/>
                <a:gd name="connsiteX3" fmla="*/ 2093748 w 5110742"/>
                <a:gd name="connsiteY3" fmla="*/ 6247139 h 6467930"/>
                <a:gd name="connsiteX4" fmla="*/ 1236747 w 5110742"/>
                <a:gd name="connsiteY4" fmla="*/ 3817451 h 6467930"/>
                <a:gd name="connsiteX5" fmla="*/ 2126479 w 5110742"/>
                <a:gd name="connsiteY5" fmla="*/ 2945848 h 6467930"/>
                <a:gd name="connsiteX6" fmla="*/ 2471239 w 5110742"/>
                <a:gd name="connsiteY6" fmla="*/ 2608046 h 6467930"/>
                <a:gd name="connsiteX7" fmla="*/ 2499855 w 5110742"/>
                <a:gd name="connsiteY7" fmla="*/ 2068758 h 6467930"/>
                <a:gd name="connsiteX8" fmla="*/ 2139219 w 5110742"/>
                <a:gd name="connsiteY8" fmla="*/ 1666766 h 6467930"/>
                <a:gd name="connsiteX9" fmla="*/ 1833266 w 5110742"/>
                <a:gd name="connsiteY9" fmla="*/ 1597187 h 6467930"/>
                <a:gd name="connsiteX10" fmla="*/ 1780053 w 5110742"/>
                <a:gd name="connsiteY10" fmla="*/ 1599245 h 6467930"/>
                <a:gd name="connsiteX11" fmla="*/ 958038 w 5110742"/>
                <a:gd name="connsiteY11" fmla="*/ 1446072 h 6467930"/>
                <a:gd name="connsiteX12" fmla="*/ 42434 w 5110742"/>
                <a:gd name="connsiteY12" fmla="*/ 0 h 6467930"/>
                <a:gd name="connsiteX13" fmla="*/ 0 w 5110742"/>
                <a:gd name="connsiteY13" fmla="*/ 0 h 6467930"/>
                <a:gd name="connsiteX14" fmla="*/ 939614 w 5110742"/>
                <a:gd name="connsiteY14" fmla="*/ 1484292 h 6467930"/>
                <a:gd name="connsiteX15" fmla="*/ 1783287 w 5110742"/>
                <a:gd name="connsiteY15" fmla="*/ 1641482 h 6467930"/>
                <a:gd name="connsiteX16" fmla="*/ 2120893 w 5110742"/>
                <a:gd name="connsiteY16" fmla="*/ 1704986 h 6467930"/>
                <a:gd name="connsiteX17" fmla="*/ 2459872 w 5110742"/>
                <a:gd name="connsiteY17" fmla="*/ 2082772 h 6467930"/>
                <a:gd name="connsiteX18" fmla="*/ 2433020 w 5110742"/>
                <a:gd name="connsiteY18" fmla="*/ 2589622 h 6467930"/>
                <a:gd name="connsiteX19" fmla="*/ 2109133 w 5110742"/>
                <a:gd name="connsiteY19" fmla="*/ 2907139 h 6467930"/>
                <a:gd name="connsiteX20" fmla="*/ 1198527 w 5110742"/>
                <a:gd name="connsiteY20" fmla="*/ 3799125 h 6467930"/>
                <a:gd name="connsiteX21" fmla="*/ 2075520 w 5110742"/>
                <a:gd name="connsiteY21" fmla="*/ 6285456 h 6467930"/>
                <a:gd name="connsiteX22" fmla="*/ 2877249 w 5110742"/>
                <a:gd name="connsiteY22" fmla="*/ 6467930 h 6467930"/>
                <a:gd name="connsiteX23" fmla="*/ 4561753 w 5110742"/>
                <a:gd name="connsiteY23" fmla="*/ 5408464 h 6467930"/>
                <a:gd name="connsiteX24" fmla="*/ 4741581 w 5110742"/>
                <a:gd name="connsiteY24" fmla="*/ 4462774 h 6467930"/>
                <a:gd name="connsiteX25" fmla="*/ 4787347 w 5110742"/>
                <a:gd name="connsiteY25" fmla="*/ 4231791 h 6467930"/>
                <a:gd name="connsiteX26" fmla="*/ 5110743 w 5110742"/>
                <a:gd name="connsiteY26" fmla="*/ 3982775 h 6467930"/>
                <a:gd name="connsiteX27" fmla="*/ 5110743 w 5110742"/>
                <a:gd name="connsiteY27" fmla="*/ 3939753 h 6467930"/>
                <a:gd name="connsiteX28" fmla="*/ 4749127 w 5110742"/>
                <a:gd name="connsiteY28" fmla="*/ 4213465 h 64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10742" h="6467930">
                  <a:moveTo>
                    <a:pt x="4749029" y="4213563"/>
                  </a:moveTo>
                  <a:cubicBezTo>
                    <a:pt x="4710026" y="4295098"/>
                    <a:pt x="4692778" y="4382513"/>
                    <a:pt x="4699246" y="4466106"/>
                  </a:cubicBezTo>
                  <a:cubicBezTo>
                    <a:pt x="4723353" y="4779997"/>
                    <a:pt x="4662496" y="5099571"/>
                    <a:pt x="4523436" y="5390138"/>
                  </a:cubicBezTo>
                  <a:cubicBezTo>
                    <a:pt x="4089790" y="6296334"/>
                    <a:pt x="2999846" y="6680784"/>
                    <a:pt x="2093748" y="6247139"/>
                  </a:cubicBezTo>
                  <a:cubicBezTo>
                    <a:pt x="1187551" y="5813493"/>
                    <a:pt x="803101" y="4723549"/>
                    <a:pt x="1236747" y="3817451"/>
                  </a:cubicBezTo>
                  <a:cubicBezTo>
                    <a:pt x="1421671" y="3431041"/>
                    <a:pt x="1737619" y="3121462"/>
                    <a:pt x="2126479" y="2945848"/>
                  </a:cubicBezTo>
                  <a:cubicBezTo>
                    <a:pt x="2278966" y="2877445"/>
                    <a:pt x="2398230" y="2760630"/>
                    <a:pt x="2471239" y="2608046"/>
                  </a:cubicBezTo>
                  <a:cubicBezTo>
                    <a:pt x="2552481" y="2438214"/>
                    <a:pt x="2562673" y="2246724"/>
                    <a:pt x="2499855" y="2068758"/>
                  </a:cubicBezTo>
                  <a:cubicBezTo>
                    <a:pt x="2437038" y="1890792"/>
                    <a:pt x="2308953" y="1748007"/>
                    <a:pt x="2139219" y="1666766"/>
                  </a:cubicBezTo>
                  <a:cubicBezTo>
                    <a:pt x="2043376" y="1620903"/>
                    <a:pt x="1938615" y="1597187"/>
                    <a:pt x="1833266" y="1597187"/>
                  </a:cubicBezTo>
                  <a:cubicBezTo>
                    <a:pt x="1815529" y="1597187"/>
                    <a:pt x="1797791" y="1597873"/>
                    <a:pt x="1780053" y="1599245"/>
                  </a:cubicBezTo>
                  <a:cubicBezTo>
                    <a:pt x="1498306" y="1621589"/>
                    <a:pt x="1214109" y="1568669"/>
                    <a:pt x="958038" y="1446072"/>
                  </a:cubicBezTo>
                  <a:cubicBezTo>
                    <a:pt x="383470" y="1171185"/>
                    <a:pt x="46158" y="597892"/>
                    <a:pt x="42434" y="0"/>
                  </a:cubicBezTo>
                  <a:lnTo>
                    <a:pt x="0" y="0"/>
                  </a:lnTo>
                  <a:cubicBezTo>
                    <a:pt x="3724" y="613669"/>
                    <a:pt x="349954" y="1202153"/>
                    <a:pt x="939614" y="1484292"/>
                  </a:cubicBezTo>
                  <a:cubicBezTo>
                    <a:pt x="1202447" y="1610025"/>
                    <a:pt x="1494190" y="1664414"/>
                    <a:pt x="1783287" y="1641482"/>
                  </a:cubicBezTo>
                  <a:cubicBezTo>
                    <a:pt x="1898926" y="1632662"/>
                    <a:pt x="2015642" y="1654614"/>
                    <a:pt x="2120893" y="1704986"/>
                  </a:cubicBezTo>
                  <a:cubicBezTo>
                    <a:pt x="2280436" y="1781327"/>
                    <a:pt x="2400876" y="1915487"/>
                    <a:pt x="2459872" y="2082772"/>
                  </a:cubicBezTo>
                  <a:cubicBezTo>
                    <a:pt x="2518867" y="2250056"/>
                    <a:pt x="2509361" y="2430080"/>
                    <a:pt x="2433020" y="2589622"/>
                  </a:cubicBezTo>
                  <a:cubicBezTo>
                    <a:pt x="2364421" y="2732995"/>
                    <a:pt x="2252408" y="2842851"/>
                    <a:pt x="2109133" y="2907139"/>
                  </a:cubicBezTo>
                  <a:cubicBezTo>
                    <a:pt x="1711160" y="3086869"/>
                    <a:pt x="1387763" y="3403699"/>
                    <a:pt x="1198527" y="3799125"/>
                  </a:cubicBezTo>
                  <a:cubicBezTo>
                    <a:pt x="754788" y="4726391"/>
                    <a:pt x="1148254" y="5841717"/>
                    <a:pt x="2075520" y="6285456"/>
                  </a:cubicBezTo>
                  <a:cubicBezTo>
                    <a:pt x="2334433" y="6409327"/>
                    <a:pt x="2607752" y="6467930"/>
                    <a:pt x="2877249" y="6467930"/>
                  </a:cubicBezTo>
                  <a:cubicBezTo>
                    <a:pt x="3573042" y="6467930"/>
                    <a:pt x="4241983" y="6076914"/>
                    <a:pt x="4561753" y="5408464"/>
                  </a:cubicBezTo>
                  <a:cubicBezTo>
                    <a:pt x="4704048" y="5111135"/>
                    <a:pt x="4766179" y="4784113"/>
                    <a:pt x="4741581" y="4462774"/>
                  </a:cubicBezTo>
                  <a:cubicBezTo>
                    <a:pt x="4735701" y="4386531"/>
                    <a:pt x="4751479" y="4306564"/>
                    <a:pt x="4787347" y="4231791"/>
                  </a:cubicBezTo>
                  <a:cubicBezTo>
                    <a:pt x="4851732" y="4097238"/>
                    <a:pt x="4974427" y="4009039"/>
                    <a:pt x="5110743" y="3982775"/>
                  </a:cubicBezTo>
                  <a:lnTo>
                    <a:pt x="5110743" y="3939753"/>
                  </a:lnTo>
                  <a:cubicBezTo>
                    <a:pt x="4958453" y="3966507"/>
                    <a:pt x="4820764" y="4063722"/>
                    <a:pt x="4749127" y="4213465"/>
                  </a:cubicBezTo>
                  <a:close/>
                </a:path>
              </a:pathLst>
            </a:custGeom>
            <a:solidFill>
              <a:srgbClr val="84B135"/>
            </a:solidFill>
            <a:ln w="9794"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DD47C3BE-AEEE-9A76-7859-4E10936E39DE}"/>
                </a:ext>
              </a:extLst>
            </p:cNvPr>
            <p:cNvSpPr/>
            <p:nvPr/>
          </p:nvSpPr>
          <p:spPr>
            <a:xfrm>
              <a:off x="6978456" y="0"/>
              <a:ext cx="5216483" cy="6573180"/>
            </a:xfrm>
            <a:custGeom>
              <a:avLst/>
              <a:gdLst>
                <a:gd name="connsiteX0" fmla="*/ 4949731 w 5216483"/>
                <a:gd name="connsiteY0" fmla="*/ 4258936 h 6573180"/>
                <a:gd name="connsiteX1" fmla="*/ 4909943 w 5216483"/>
                <a:gd name="connsiteY1" fmla="*/ 4458560 h 6573180"/>
                <a:gd name="connsiteX2" fmla="*/ 4724137 w 5216483"/>
                <a:gd name="connsiteY2" fmla="*/ 5435609 h 6573180"/>
                <a:gd name="connsiteX3" fmla="*/ 2153919 w 5216483"/>
                <a:gd name="connsiteY3" fmla="*/ 6342198 h 6573180"/>
                <a:gd name="connsiteX4" fmla="*/ 1247331 w 5216483"/>
                <a:gd name="connsiteY4" fmla="*/ 3771979 h 6573180"/>
                <a:gd name="connsiteX5" fmla="*/ 2188415 w 5216483"/>
                <a:gd name="connsiteY5" fmla="*/ 2850005 h 6573180"/>
                <a:gd name="connsiteX6" fmla="*/ 2481823 w 5216483"/>
                <a:gd name="connsiteY6" fmla="*/ 2562477 h 6573180"/>
                <a:gd name="connsiteX7" fmla="*/ 2506225 w 5216483"/>
                <a:gd name="connsiteY7" fmla="*/ 2103645 h 6573180"/>
                <a:gd name="connsiteX8" fmla="*/ 2199390 w 5216483"/>
                <a:gd name="connsiteY8" fmla="*/ 1761629 h 6573180"/>
                <a:gd name="connsiteX9" fmla="*/ 1939595 w 5216483"/>
                <a:gd name="connsiteY9" fmla="*/ 1702242 h 6573180"/>
                <a:gd name="connsiteX10" fmla="*/ 1893438 w 5216483"/>
                <a:gd name="connsiteY10" fmla="*/ 1704104 h 6573180"/>
                <a:gd name="connsiteX11" fmla="*/ 1018111 w 5216483"/>
                <a:gd name="connsiteY11" fmla="*/ 1540935 h 6573180"/>
                <a:gd name="connsiteX12" fmla="*/ 42924 w 5216483"/>
                <a:gd name="connsiteY12" fmla="*/ 0 h 6573180"/>
                <a:gd name="connsiteX13" fmla="*/ 0 w 5216483"/>
                <a:gd name="connsiteY13" fmla="*/ 0 h 6573180"/>
                <a:gd name="connsiteX14" fmla="*/ 101233 w 5216483"/>
                <a:gd name="connsiteY14" fmla="*/ 577508 h 6573180"/>
                <a:gd name="connsiteX15" fmla="*/ 999981 w 5216483"/>
                <a:gd name="connsiteY15" fmla="*/ 1579351 h 6573180"/>
                <a:gd name="connsiteX16" fmla="*/ 1896966 w 5216483"/>
                <a:gd name="connsiteY16" fmla="*/ 1746537 h 6573180"/>
                <a:gd name="connsiteX17" fmla="*/ 2181163 w 5216483"/>
                <a:gd name="connsiteY17" fmla="*/ 1800045 h 6573180"/>
                <a:gd name="connsiteX18" fmla="*/ 2466340 w 5216483"/>
                <a:gd name="connsiteY18" fmla="*/ 2117855 h 6573180"/>
                <a:gd name="connsiteX19" fmla="*/ 2443702 w 5216483"/>
                <a:gd name="connsiteY19" fmla="*/ 2544249 h 6573180"/>
                <a:gd name="connsiteX20" fmla="*/ 2170971 w 5216483"/>
                <a:gd name="connsiteY20" fmla="*/ 2811394 h 6573180"/>
                <a:gd name="connsiteX21" fmla="*/ 1209111 w 5216483"/>
                <a:gd name="connsiteY21" fmla="*/ 3753654 h 6573180"/>
                <a:gd name="connsiteX22" fmla="*/ 1129242 w 5216483"/>
                <a:gd name="connsiteY22" fmla="*/ 5258623 h 6573180"/>
                <a:gd name="connsiteX23" fmla="*/ 2135691 w 5216483"/>
                <a:gd name="connsiteY23" fmla="*/ 6380417 h 6573180"/>
                <a:gd name="connsiteX24" fmla="*/ 2982696 w 5216483"/>
                <a:gd name="connsiteY24" fmla="*/ 6573181 h 6573180"/>
                <a:gd name="connsiteX25" fmla="*/ 4762455 w 5216483"/>
                <a:gd name="connsiteY25" fmla="*/ 5453936 h 6573180"/>
                <a:gd name="connsiteX26" fmla="*/ 4952279 w 5216483"/>
                <a:gd name="connsiteY26" fmla="*/ 4455130 h 6573180"/>
                <a:gd name="connsiteX27" fmla="*/ 4988049 w 5216483"/>
                <a:gd name="connsiteY27" fmla="*/ 4277262 h 6573180"/>
                <a:gd name="connsiteX28" fmla="*/ 5185908 w 5216483"/>
                <a:gd name="connsiteY28" fmla="*/ 4099786 h 6573180"/>
                <a:gd name="connsiteX29" fmla="*/ 5216484 w 5216483"/>
                <a:gd name="connsiteY29" fmla="*/ 4090574 h 6573180"/>
                <a:gd name="connsiteX30" fmla="*/ 5216484 w 5216483"/>
                <a:gd name="connsiteY30" fmla="*/ 4047062 h 6573180"/>
                <a:gd name="connsiteX31" fmla="*/ 4949829 w 5216483"/>
                <a:gd name="connsiteY31" fmla="*/ 4258936 h 657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16483" h="6573180">
                  <a:moveTo>
                    <a:pt x="4949731" y="4258936"/>
                  </a:moveTo>
                  <a:cubicBezTo>
                    <a:pt x="4917685" y="4325870"/>
                    <a:pt x="4904358" y="4393097"/>
                    <a:pt x="4909943" y="4458560"/>
                  </a:cubicBezTo>
                  <a:cubicBezTo>
                    <a:pt x="4935815" y="4789699"/>
                    <a:pt x="4871528" y="5127599"/>
                    <a:pt x="4724137" y="5435609"/>
                  </a:cubicBezTo>
                  <a:cubicBezTo>
                    <a:pt x="4265503" y="6394137"/>
                    <a:pt x="3112447" y="6800833"/>
                    <a:pt x="2153919" y="6342198"/>
                  </a:cubicBezTo>
                  <a:cubicBezTo>
                    <a:pt x="1195391" y="5883563"/>
                    <a:pt x="788696" y="4730507"/>
                    <a:pt x="1247331" y="3771979"/>
                  </a:cubicBezTo>
                  <a:cubicBezTo>
                    <a:pt x="1442447" y="3364304"/>
                    <a:pt x="1776623" y="3036889"/>
                    <a:pt x="2188415" y="2850005"/>
                  </a:cubicBezTo>
                  <a:cubicBezTo>
                    <a:pt x="2316793" y="2791794"/>
                    <a:pt x="2420966" y="2689679"/>
                    <a:pt x="2481823" y="2562477"/>
                  </a:cubicBezTo>
                  <a:cubicBezTo>
                    <a:pt x="2550913" y="2418026"/>
                    <a:pt x="2559635" y="2255054"/>
                    <a:pt x="2506225" y="2103645"/>
                  </a:cubicBezTo>
                  <a:cubicBezTo>
                    <a:pt x="2452816" y="1952237"/>
                    <a:pt x="2343841" y="1830816"/>
                    <a:pt x="2199390" y="1761629"/>
                  </a:cubicBezTo>
                  <a:cubicBezTo>
                    <a:pt x="2117659" y="1722528"/>
                    <a:pt x="2028676" y="1702242"/>
                    <a:pt x="1939595" y="1702242"/>
                  </a:cubicBezTo>
                  <a:cubicBezTo>
                    <a:pt x="1924209" y="1702242"/>
                    <a:pt x="1908824" y="1702830"/>
                    <a:pt x="1893438" y="1704104"/>
                  </a:cubicBezTo>
                  <a:cubicBezTo>
                    <a:pt x="1593953" y="1728015"/>
                    <a:pt x="1291332" y="1671666"/>
                    <a:pt x="1018111" y="1540935"/>
                  </a:cubicBezTo>
                  <a:cubicBezTo>
                    <a:pt x="406010" y="1248115"/>
                    <a:pt x="46648" y="637091"/>
                    <a:pt x="42924" y="0"/>
                  </a:cubicBezTo>
                  <a:lnTo>
                    <a:pt x="0" y="0"/>
                  </a:lnTo>
                  <a:cubicBezTo>
                    <a:pt x="1176" y="194136"/>
                    <a:pt x="34692" y="388860"/>
                    <a:pt x="101233" y="577508"/>
                  </a:cubicBezTo>
                  <a:cubicBezTo>
                    <a:pt x="257639" y="1021051"/>
                    <a:pt x="576920" y="1376885"/>
                    <a:pt x="999981" y="1579351"/>
                  </a:cubicBezTo>
                  <a:cubicBezTo>
                    <a:pt x="1279866" y="1713316"/>
                    <a:pt x="1590033" y="1771135"/>
                    <a:pt x="1896966" y="1746537"/>
                  </a:cubicBezTo>
                  <a:cubicBezTo>
                    <a:pt x="1993789" y="1738893"/>
                    <a:pt x="2092082" y="1757415"/>
                    <a:pt x="2181163" y="1800045"/>
                  </a:cubicBezTo>
                  <a:cubicBezTo>
                    <a:pt x="2315421" y="1864234"/>
                    <a:pt x="2416654" y="1977129"/>
                    <a:pt x="2466340" y="2117855"/>
                  </a:cubicBezTo>
                  <a:cubicBezTo>
                    <a:pt x="2516025" y="2258582"/>
                    <a:pt x="2507989" y="2409990"/>
                    <a:pt x="2443702" y="2544249"/>
                  </a:cubicBezTo>
                  <a:cubicBezTo>
                    <a:pt x="2387156" y="2662435"/>
                    <a:pt x="2290334" y="2757396"/>
                    <a:pt x="2170971" y="2811394"/>
                  </a:cubicBezTo>
                  <a:cubicBezTo>
                    <a:pt x="1750065" y="3002394"/>
                    <a:pt x="1408539" y="3336962"/>
                    <a:pt x="1209111" y="3753654"/>
                  </a:cubicBezTo>
                  <a:cubicBezTo>
                    <a:pt x="982439" y="4227479"/>
                    <a:pt x="954020" y="4761965"/>
                    <a:pt x="1129242" y="5258623"/>
                  </a:cubicBezTo>
                  <a:cubicBezTo>
                    <a:pt x="1304464" y="5755282"/>
                    <a:pt x="1661866" y="6153746"/>
                    <a:pt x="2135691" y="6380417"/>
                  </a:cubicBezTo>
                  <a:cubicBezTo>
                    <a:pt x="2409206" y="6511246"/>
                    <a:pt x="2698009" y="6573181"/>
                    <a:pt x="2982696" y="6573181"/>
                  </a:cubicBezTo>
                  <a:cubicBezTo>
                    <a:pt x="3717786" y="6573181"/>
                    <a:pt x="4424555" y="6160018"/>
                    <a:pt x="4762455" y="5453936"/>
                  </a:cubicBezTo>
                  <a:cubicBezTo>
                    <a:pt x="4913079" y="5139162"/>
                    <a:pt x="4978739" y="4793912"/>
                    <a:pt x="4952279" y="4455130"/>
                  </a:cubicBezTo>
                  <a:cubicBezTo>
                    <a:pt x="4947281" y="4397115"/>
                    <a:pt x="4959335" y="4337335"/>
                    <a:pt x="4988049" y="4277262"/>
                  </a:cubicBezTo>
                  <a:cubicBezTo>
                    <a:pt x="5028032" y="4193669"/>
                    <a:pt x="5098297" y="4130656"/>
                    <a:pt x="5185908" y="4099786"/>
                  </a:cubicBezTo>
                  <a:cubicBezTo>
                    <a:pt x="5196003" y="4096258"/>
                    <a:pt x="5206194" y="4093220"/>
                    <a:pt x="5216484" y="4090574"/>
                  </a:cubicBezTo>
                  <a:lnTo>
                    <a:pt x="5216484" y="4047062"/>
                  </a:lnTo>
                  <a:cubicBezTo>
                    <a:pt x="5103883" y="4072346"/>
                    <a:pt x="5003434" y="4147021"/>
                    <a:pt x="4949829" y="4258936"/>
                  </a:cubicBezTo>
                  <a:close/>
                </a:path>
              </a:pathLst>
            </a:custGeom>
            <a:solidFill>
              <a:srgbClr val="84B135"/>
            </a:solidFill>
            <a:ln w="9794" cap="flat">
              <a:noFill/>
              <a:prstDash val="solid"/>
              <a:miter/>
            </a:ln>
          </p:spPr>
          <p:txBody>
            <a:bodyPr rtlCol="0" anchor="ctr"/>
            <a:lstStyle/>
            <a:p>
              <a:endParaRPr lang="en-US"/>
            </a:p>
          </p:txBody>
        </p:sp>
      </p:grpSp>
      <p:sp>
        <p:nvSpPr>
          <p:cNvPr id="66" name="Oval 65">
            <a:extLst>
              <a:ext uri="{FF2B5EF4-FFF2-40B4-BE49-F238E27FC236}">
                <a16:creationId xmlns:a16="http://schemas.microsoft.com/office/drawing/2014/main" id="{BB6CE44C-F622-9155-5D54-EDADECEB10B9}"/>
              </a:ext>
            </a:extLst>
          </p:cNvPr>
          <p:cNvSpPr/>
          <p:nvPr userDrawn="1"/>
        </p:nvSpPr>
        <p:spPr>
          <a:xfrm>
            <a:off x="8427869" y="1823822"/>
            <a:ext cx="955184" cy="955184"/>
          </a:xfrm>
          <a:prstGeom prst="ellipse">
            <a:avLst/>
          </a:prstGeom>
          <a:solidFill>
            <a:srgbClr val="2B621D"/>
          </a:solidFill>
          <a:ln w="41275">
            <a:solidFill>
              <a:srgbClr val="84B1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7" name="Oval 66">
            <a:extLst>
              <a:ext uri="{FF2B5EF4-FFF2-40B4-BE49-F238E27FC236}">
                <a16:creationId xmlns:a16="http://schemas.microsoft.com/office/drawing/2014/main" id="{47EC4411-9D91-A698-6E5D-52EFFF02D7C1}"/>
              </a:ext>
            </a:extLst>
          </p:cNvPr>
          <p:cNvSpPr/>
          <p:nvPr userDrawn="1"/>
        </p:nvSpPr>
        <p:spPr>
          <a:xfrm>
            <a:off x="8972203" y="3615690"/>
            <a:ext cx="1975704" cy="1975702"/>
          </a:xfrm>
          <a:prstGeom prst="ellipse">
            <a:avLst/>
          </a:prstGeom>
          <a:solidFill>
            <a:schemeClr val="accent3"/>
          </a:solidFill>
          <a:ln w="44450">
            <a:solidFill>
              <a:srgbClr val="84B1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4" name="Group 83">
            <a:extLst>
              <a:ext uri="{FF2B5EF4-FFF2-40B4-BE49-F238E27FC236}">
                <a16:creationId xmlns:a16="http://schemas.microsoft.com/office/drawing/2014/main" id="{89CE7866-CE32-7367-B31D-B415517BF514}"/>
              </a:ext>
            </a:extLst>
          </p:cNvPr>
          <p:cNvGrpSpPr/>
          <p:nvPr userDrawn="1"/>
        </p:nvGrpSpPr>
        <p:grpSpPr>
          <a:xfrm>
            <a:off x="8637522" y="2093956"/>
            <a:ext cx="564386" cy="379330"/>
            <a:chOff x="8605421" y="2055812"/>
            <a:chExt cx="645111" cy="433585"/>
          </a:xfrm>
        </p:grpSpPr>
        <p:sp>
          <p:nvSpPr>
            <p:cNvPr id="69" name="Freeform: Shape 68">
              <a:extLst>
                <a:ext uri="{FF2B5EF4-FFF2-40B4-BE49-F238E27FC236}">
                  <a16:creationId xmlns:a16="http://schemas.microsoft.com/office/drawing/2014/main" id="{4612883D-B486-596D-3055-6EDCD812F315}"/>
                </a:ext>
              </a:extLst>
            </p:cNvPr>
            <p:cNvSpPr/>
            <p:nvPr/>
          </p:nvSpPr>
          <p:spPr>
            <a:xfrm>
              <a:off x="8605421" y="2055812"/>
              <a:ext cx="645111" cy="343080"/>
            </a:xfrm>
            <a:custGeom>
              <a:avLst/>
              <a:gdLst>
                <a:gd name="connsiteX0" fmla="*/ 858532 w 1372384"/>
                <a:gd name="connsiteY0" fmla="*/ 729853 h 729853"/>
                <a:gd name="connsiteX1" fmla="*/ 1173692 w 1372384"/>
                <a:gd name="connsiteY1" fmla="*/ 729853 h 729853"/>
                <a:gd name="connsiteX2" fmla="*/ 1372024 w 1372384"/>
                <a:gd name="connsiteY2" fmla="*/ 550472 h 729853"/>
                <a:gd name="connsiteX3" fmla="*/ 1181235 w 1372384"/>
                <a:gd name="connsiteY3" fmla="*/ 347356 h 729853"/>
                <a:gd name="connsiteX4" fmla="*/ 1180039 w 1372384"/>
                <a:gd name="connsiteY4" fmla="*/ 347356 h 729853"/>
                <a:gd name="connsiteX5" fmla="*/ 970025 w 1372384"/>
                <a:gd name="connsiteY5" fmla="*/ 144057 h 729853"/>
                <a:gd name="connsiteX6" fmla="*/ 960734 w 1372384"/>
                <a:gd name="connsiteY6" fmla="*/ 143597 h 729853"/>
                <a:gd name="connsiteX7" fmla="*/ 953742 w 1372384"/>
                <a:gd name="connsiteY7" fmla="*/ 143229 h 729853"/>
                <a:gd name="connsiteX8" fmla="*/ 952822 w 1372384"/>
                <a:gd name="connsiteY8" fmla="*/ 143229 h 729853"/>
                <a:gd name="connsiteX9" fmla="*/ 951718 w 1372384"/>
                <a:gd name="connsiteY9" fmla="*/ 143229 h 729853"/>
                <a:gd name="connsiteX10" fmla="*/ 883369 w 1372384"/>
                <a:gd name="connsiteY10" fmla="*/ 153808 h 729853"/>
                <a:gd name="connsiteX11" fmla="*/ 882358 w 1372384"/>
                <a:gd name="connsiteY11" fmla="*/ 153440 h 729853"/>
                <a:gd name="connsiteX12" fmla="*/ 586700 w 1372384"/>
                <a:gd name="connsiteY12" fmla="*/ 0 h 729853"/>
                <a:gd name="connsiteX13" fmla="*/ 585872 w 1372384"/>
                <a:gd name="connsiteY13" fmla="*/ 0 h 729853"/>
                <a:gd name="connsiteX14" fmla="*/ 584676 w 1372384"/>
                <a:gd name="connsiteY14" fmla="*/ 0 h 729853"/>
                <a:gd name="connsiteX15" fmla="*/ 570601 w 1372384"/>
                <a:gd name="connsiteY15" fmla="*/ 736 h 729853"/>
                <a:gd name="connsiteX16" fmla="*/ 553951 w 1372384"/>
                <a:gd name="connsiteY16" fmla="*/ 1564 h 729853"/>
                <a:gd name="connsiteX17" fmla="*/ 525894 w 1372384"/>
                <a:gd name="connsiteY17" fmla="*/ 5243 h 729853"/>
                <a:gd name="connsiteX18" fmla="*/ 523962 w 1372384"/>
                <a:gd name="connsiteY18" fmla="*/ 5519 h 729853"/>
                <a:gd name="connsiteX19" fmla="*/ 223520 w 1372384"/>
                <a:gd name="connsiteY19" fmla="*/ 346437 h 729853"/>
                <a:gd name="connsiteX20" fmla="*/ 222509 w 1372384"/>
                <a:gd name="connsiteY20" fmla="*/ 347356 h 729853"/>
                <a:gd name="connsiteX21" fmla="*/ 198683 w 1372384"/>
                <a:gd name="connsiteY21" fmla="*/ 347356 h 729853"/>
                <a:gd name="connsiteX22" fmla="*/ 351 w 1372384"/>
                <a:gd name="connsiteY22" fmla="*/ 526738 h 729853"/>
                <a:gd name="connsiteX23" fmla="*/ 191232 w 1372384"/>
                <a:gd name="connsiteY23" fmla="*/ 729761 h 729853"/>
                <a:gd name="connsiteX24" fmla="*/ 272735 w 1372384"/>
                <a:gd name="connsiteY24" fmla="*/ 729761 h 7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2384" h="729853">
                  <a:moveTo>
                    <a:pt x="858532" y="729853"/>
                  </a:moveTo>
                  <a:lnTo>
                    <a:pt x="1173692" y="729853"/>
                  </a:lnTo>
                  <a:cubicBezTo>
                    <a:pt x="1276078" y="729853"/>
                    <a:pt x="1365860" y="652673"/>
                    <a:pt x="1372024" y="550472"/>
                  </a:cubicBezTo>
                  <a:cubicBezTo>
                    <a:pt x="1378739" y="439531"/>
                    <a:pt x="1290704" y="347356"/>
                    <a:pt x="1181235" y="347356"/>
                  </a:cubicBezTo>
                  <a:lnTo>
                    <a:pt x="1180039" y="347356"/>
                  </a:lnTo>
                  <a:cubicBezTo>
                    <a:pt x="1168908" y="238072"/>
                    <a:pt x="1080321" y="151784"/>
                    <a:pt x="970025" y="144057"/>
                  </a:cubicBezTo>
                  <a:cubicBezTo>
                    <a:pt x="966989" y="143781"/>
                    <a:pt x="963861" y="143781"/>
                    <a:pt x="960734" y="143597"/>
                  </a:cubicBezTo>
                  <a:cubicBezTo>
                    <a:pt x="958434" y="143597"/>
                    <a:pt x="956134" y="143229"/>
                    <a:pt x="953742" y="143229"/>
                  </a:cubicBezTo>
                  <a:cubicBezTo>
                    <a:pt x="953466" y="143229"/>
                    <a:pt x="953098" y="143229"/>
                    <a:pt x="952822" y="143229"/>
                  </a:cubicBezTo>
                  <a:cubicBezTo>
                    <a:pt x="952454" y="143229"/>
                    <a:pt x="952086" y="143229"/>
                    <a:pt x="951718" y="143229"/>
                  </a:cubicBezTo>
                  <a:cubicBezTo>
                    <a:pt x="927893" y="143229"/>
                    <a:pt x="904987" y="147001"/>
                    <a:pt x="883369" y="153808"/>
                  </a:cubicBezTo>
                  <a:cubicBezTo>
                    <a:pt x="883001" y="153900"/>
                    <a:pt x="882541" y="153808"/>
                    <a:pt x="882358" y="153440"/>
                  </a:cubicBezTo>
                  <a:cubicBezTo>
                    <a:pt x="816860" y="60622"/>
                    <a:pt x="708955" y="0"/>
                    <a:pt x="586700" y="0"/>
                  </a:cubicBezTo>
                  <a:cubicBezTo>
                    <a:pt x="586424" y="0"/>
                    <a:pt x="586148" y="0"/>
                    <a:pt x="585872" y="0"/>
                  </a:cubicBezTo>
                  <a:cubicBezTo>
                    <a:pt x="585504" y="0"/>
                    <a:pt x="585044" y="0"/>
                    <a:pt x="584676" y="0"/>
                  </a:cubicBezTo>
                  <a:cubicBezTo>
                    <a:pt x="579892" y="0"/>
                    <a:pt x="575293" y="460"/>
                    <a:pt x="570601" y="736"/>
                  </a:cubicBezTo>
                  <a:cubicBezTo>
                    <a:pt x="564990" y="920"/>
                    <a:pt x="559470" y="1012"/>
                    <a:pt x="553951" y="1564"/>
                  </a:cubicBezTo>
                  <a:cubicBezTo>
                    <a:pt x="544476" y="2392"/>
                    <a:pt x="535185" y="3680"/>
                    <a:pt x="525894" y="5243"/>
                  </a:cubicBezTo>
                  <a:cubicBezTo>
                    <a:pt x="525250" y="5335"/>
                    <a:pt x="524606" y="5427"/>
                    <a:pt x="523962" y="5519"/>
                  </a:cubicBezTo>
                  <a:cubicBezTo>
                    <a:pt x="358103" y="33669"/>
                    <a:pt x="230604" y="174322"/>
                    <a:pt x="223520" y="346437"/>
                  </a:cubicBezTo>
                  <a:cubicBezTo>
                    <a:pt x="223520" y="346989"/>
                    <a:pt x="223060" y="347356"/>
                    <a:pt x="222509" y="347356"/>
                  </a:cubicBezTo>
                  <a:lnTo>
                    <a:pt x="198683" y="347356"/>
                  </a:lnTo>
                  <a:cubicBezTo>
                    <a:pt x="96297" y="347356"/>
                    <a:pt x="6514" y="424537"/>
                    <a:pt x="351" y="526738"/>
                  </a:cubicBezTo>
                  <a:cubicBezTo>
                    <a:pt x="-6272" y="637679"/>
                    <a:pt x="81671" y="729761"/>
                    <a:pt x="191232" y="729761"/>
                  </a:cubicBezTo>
                  <a:lnTo>
                    <a:pt x="272735" y="729761"/>
                  </a:lnTo>
                </a:path>
              </a:pathLst>
            </a:custGeom>
            <a:noFill/>
            <a:ln w="31750" cap="rnd">
              <a:solidFill>
                <a:srgbClr val="FFB71B"/>
              </a:solidFill>
              <a:prstDash val="solid"/>
              <a:round/>
            </a:ln>
          </p:spPr>
          <p:txBody>
            <a:bodyPr rtlCol="0" anchor="ctr"/>
            <a:lstStyle/>
            <a:p>
              <a:endParaRPr lang="en-US"/>
            </a:p>
          </p:txBody>
        </p:sp>
        <p:sp>
          <p:nvSpPr>
            <p:cNvPr id="70" name="Freeform: Shape 69">
              <a:extLst>
                <a:ext uri="{FF2B5EF4-FFF2-40B4-BE49-F238E27FC236}">
                  <a16:creationId xmlns:a16="http://schemas.microsoft.com/office/drawing/2014/main" id="{3C89DFB3-62C9-404E-4CE7-1F61A975EDBB}"/>
                </a:ext>
              </a:extLst>
            </p:cNvPr>
            <p:cNvSpPr/>
            <p:nvPr/>
          </p:nvSpPr>
          <p:spPr>
            <a:xfrm>
              <a:off x="8842680" y="2272583"/>
              <a:ext cx="137249" cy="137249"/>
            </a:xfrm>
            <a:custGeom>
              <a:avLst/>
              <a:gdLst>
                <a:gd name="connsiteX0" fmla="*/ 147829 w 291978"/>
                <a:gd name="connsiteY0" fmla="*/ 272568 h 291978"/>
                <a:gd name="connsiteX1" fmla="*/ 167239 w 291978"/>
                <a:gd name="connsiteY1" fmla="*/ 291978 h 291978"/>
                <a:gd name="connsiteX2" fmla="*/ 269901 w 291978"/>
                <a:gd name="connsiteY2" fmla="*/ 291978 h 291978"/>
                <a:gd name="connsiteX3" fmla="*/ 291978 w 291978"/>
                <a:gd name="connsiteY3" fmla="*/ 269900 h 291978"/>
                <a:gd name="connsiteX4" fmla="*/ 291978 w 291978"/>
                <a:gd name="connsiteY4" fmla="*/ 22998 h 291978"/>
                <a:gd name="connsiteX5" fmla="*/ 268981 w 291978"/>
                <a:gd name="connsiteY5" fmla="*/ 0 h 291978"/>
                <a:gd name="connsiteX6" fmla="*/ 22078 w 291978"/>
                <a:gd name="connsiteY6" fmla="*/ 0 h 291978"/>
                <a:gd name="connsiteX7" fmla="*/ 0 w 291978"/>
                <a:gd name="connsiteY7" fmla="*/ 22078 h 291978"/>
                <a:gd name="connsiteX8" fmla="*/ 0 w 291978"/>
                <a:gd name="connsiteY8" fmla="*/ 121612 h 291978"/>
                <a:gd name="connsiteX9" fmla="*/ 22446 w 291978"/>
                <a:gd name="connsiteY9" fmla="*/ 144057 h 291978"/>
                <a:gd name="connsiteX10" fmla="*/ 137894 w 291978"/>
                <a:gd name="connsiteY10" fmla="*/ 144057 h 291978"/>
                <a:gd name="connsiteX11" fmla="*/ 147829 w 291978"/>
                <a:gd name="connsiteY11" fmla="*/ 153992 h 291978"/>
                <a:gd name="connsiteX12" fmla="*/ 147829 w 291978"/>
                <a:gd name="connsiteY12" fmla="*/ 272660 h 29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978" h="291978">
                  <a:moveTo>
                    <a:pt x="147829" y="272568"/>
                  </a:moveTo>
                  <a:cubicBezTo>
                    <a:pt x="147829" y="283239"/>
                    <a:pt x="156476" y="291978"/>
                    <a:pt x="167239" y="291978"/>
                  </a:cubicBezTo>
                  <a:lnTo>
                    <a:pt x="269901" y="291978"/>
                  </a:lnTo>
                  <a:cubicBezTo>
                    <a:pt x="282135" y="291978"/>
                    <a:pt x="291978" y="282043"/>
                    <a:pt x="291978" y="269900"/>
                  </a:cubicBezTo>
                  <a:lnTo>
                    <a:pt x="291978" y="22998"/>
                  </a:lnTo>
                  <a:cubicBezTo>
                    <a:pt x="291978" y="10303"/>
                    <a:pt x="281583" y="0"/>
                    <a:pt x="268981" y="0"/>
                  </a:cubicBezTo>
                  <a:lnTo>
                    <a:pt x="22078" y="0"/>
                  </a:lnTo>
                  <a:cubicBezTo>
                    <a:pt x="9935" y="0"/>
                    <a:pt x="0" y="9935"/>
                    <a:pt x="0" y="22078"/>
                  </a:cubicBezTo>
                  <a:lnTo>
                    <a:pt x="0" y="121612"/>
                  </a:lnTo>
                  <a:cubicBezTo>
                    <a:pt x="0" y="133938"/>
                    <a:pt x="10119" y="144057"/>
                    <a:pt x="22446" y="144057"/>
                  </a:cubicBezTo>
                  <a:lnTo>
                    <a:pt x="137894" y="144057"/>
                  </a:lnTo>
                  <a:cubicBezTo>
                    <a:pt x="143413" y="144057"/>
                    <a:pt x="147829" y="148473"/>
                    <a:pt x="147829" y="153992"/>
                  </a:cubicBezTo>
                  <a:lnTo>
                    <a:pt x="147829" y="272660"/>
                  </a:lnTo>
                  <a:close/>
                </a:path>
              </a:pathLst>
            </a:custGeom>
            <a:solidFill>
              <a:srgbClr val="84B135"/>
            </a:solidFill>
            <a:ln w="915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D4BF22B-B4E5-4CF2-5FDC-2479B4D860C2}"/>
                </a:ext>
              </a:extLst>
            </p:cNvPr>
            <p:cNvSpPr/>
            <p:nvPr/>
          </p:nvSpPr>
          <p:spPr>
            <a:xfrm>
              <a:off x="8923023" y="2192153"/>
              <a:ext cx="137292" cy="137293"/>
            </a:xfrm>
            <a:custGeom>
              <a:avLst/>
              <a:gdLst>
                <a:gd name="connsiteX0" fmla="*/ 147921 w 292070"/>
                <a:gd name="connsiteY0" fmla="*/ 268613 h 292070"/>
                <a:gd name="connsiteX1" fmla="*/ 171379 w 292070"/>
                <a:gd name="connsiteY1" fmla="*/ 292070 h 292070"/>
                <a:gd name="connsiteX2" fmla="*/ 268613 w 292070"/>
                <a:gd name="connsiteY2" fmla="*/ 292070 h 292070"/>
                <a:gd name="connsiteX3" fmla="*/ 292070 w 292070"/>
                <a:gd name="connsiteY3" fmla="*/ 268613 h 292070"/>
                <a:gd name="connsiteX4" fmla="*/ 292070 w 292070"/>
                <a:gd name="connsiteY4" fmla="*/ 24469 h 292070"/>
                <a:gd name="connsiteX5" fmla="*/ 267601 w 292070"/>
                <a:gd name="connsiteY5" fmla="*/ 0 h 292070"/>
                <a:gd name="connsiteX6" fmla="*/ 23550 w 292070"/>
                <a:gd name="connsiteY6" fmla="*/ 0 h 292070"/>
                <a:gd name="connsiteX7" fmla="*/ 0 w 292070"/>
                <a:gd name="connsiteY7" fmla="*/ 23550 h 292070"/>
                <a:gd name="connsiteX8" fmla="*/ 0 w 292070"/>
                <a:gd name="connsiteY8" fmla="*/ 120140 h 292070"/>
                <a:gd name="connsiteX9" fmla="*/ 23918 w 292070"/>
                <a:gd name="connsiteY9" fmla="*/ 144057 h 292070"/>
                <a:gd name="connsiteX10" fmla="*/ 136514 w 292070"/>
                <a:gd name="connsiteY10" fmla="*/ 144057 h 292070"/>
                <a:gd name="connsiteX11" fmla="*/ 147921 w 292070"/>
                <a:gd name="connsiteY11" fmla="*/ 155464 h 292070"/>
                <a:gd name="connsiteX12" fmla="*/ 147921 w 292070"/>
                <a:gd name="connsiteY12" fmla="*/ 268613 h 29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070" h="292070">
                  <a:moveTo>
                    <a:pt x="147921" y="268613"/>
                  </a:moveTo>
                  <a:cubicBezTo>
                    <a:pt x="147921" y="281583"/>
                    <a:pt x="158408" y="292070"/>
                    <a:pt x="171379" y="292070"/>
                  </a:cubicBezTo>
                  <a:lnTo>
                    <a:pt x="268613" y="292070"/>
                  </a:lnTo>
                  <a:cubicBezTo>
                    <a:pt x="281583" y="292070"/>
                    <a:pt x="292070" y="281583"/>
                    <a:pt x="292070" y="268613"/>
                  </a:cubicBezTo>
                  <a:lnTo>
                    <a:pt x="292070" y="24469"/>
                  </a:lnTo>
                  <a:cubicBezTo>
                    <a:pt x="292070" y="10947"/>
                    <a:pt x="281123" y="0"/>
                    <a:pt x="267601" y="0"/>
                  </a:cubicBezTo>
                  <a:lnTo>
                    <a:pt x="23550" y="0"/>
                  </a:lnTo>
                  <a:cubicBezTo>
                    <a:pt x="10579" y="0"/>
                    <a:pt x="0" y="10579"/>
                    <a:pt x="0" y="23550"/>
                  </a:cubicBezTo>
                  <a:lnTo>
                    <a:pt x="0" y="120140"/>
                  </a:lnTo>
                  <a:cubicBezTo>
                    <a:pt x="0" y="133294"/>
                    <a:pt x="10763" y="144057"/>
                    <a:pt x="23918" y="144057"/>
                  </a:cubicBezTo>
                  <a:lnTo>
                    <a:pt x="136514" y="144057"/>
                  </a:lnTo>
                  <a:cubicBezTo>
                    <a:pt x="142770" y="144057"/>
                    <a:pt x="147921" y="149117"/>
                    <a:pt x="147921" y="155464"/>
                  </a:cubicBezTo>
                  <a:lnTo>
                    <a:pt x="147921" y="268613"/>
                  </a:lnTo>
                  <a:close/>
                </a:path>
              </a:pathLst>
            </a:custGeom>
            <a:solidFill>
              <a:srgbClr val="E36B00"/>
            </a:solidFill>
            <a:ln w="915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55AC7B6-020A-8344-6B0E-29365E12BC87}"/>
                </a:ext>
              </a:extLst>
            </p:cNvPr>
            <p:cNvSpPr/>
            <p:nvPr/>
          </p:nvSpPr>
          <p:spPr>
            <a:xfrm>
              <a:off x="8763634" y="2352018"/>
              <a:ext cx="137379" cy="137379"/>
            </a:xfrm>
            <a:custGeom>
              <a:avLst/>
              <a:gdLst>
                <a:gd name="connsiteX0" fmla="*/ 123359 w 292254"/>
                <a:gd name="connsiteY0" fmla="*/ 292254 h 292254"/>
                <a:gd name="connsiteX1" fmla="*/ 24562 w 292254"/>
                <a:gd name="connsiteY1" fmla="*/ 292254 h 292254"/>
                <a:gd name="connsiteX2" fmla="*/ 0 w 292254"/>
                <a:gd name="connsiteY2" fmla="*/ 267693 h 292254"/>
                <a:gd name="connsiteX3" fmla="*/ 0 w 292254"/>
                <a:gd name="connsiteY3" fmla="*/ 24561 h 292254"/>
                <a:gd name="connsiteX4" fmla="*/ 24562 w 292254"/>
                <a:gd name="connsiteY4" fmla="*/ 0 h 292254"/>
                <a:gd name="connsiteX5" fmla="*/ 267693 w 292254"/>
                <a:gd name="connsiteY5" fmla="*/ 0 h 292254"/>
                <a:gd name="connsiteX6" fmla="*/ 292254 w 292254"/>
                <a:gd name="connsiteY6" fmla="*/ 24561 h 292254"/>
                <a:gd name="connsiteX7" fmla="*/ 292254 w 292254"/>
                <a:gd name="connsiteY7" fmla="*/ 267693 h 292254"/>
                <a:gd name="connsiteX8" fmla="*/ 267693 w 292254"/>
                <a:gd name="connsiteY8" fmla="*/ 292254 h 292254"/>
                <a:gd name="connsiteX9" fmla="*/ 116920 w 292254"/>
                <a:gd name="connsiteY9" fmla="*/ 292254 h 29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254" h="292254">
                  <a:moveTo>
                    <a:pt x="123359" y="292254"/>
                  </a:moveTo>
                  <a:lnTo>
                    <a:pt x="24562" y="292254"/>
                  </a:lnTo>
                  <a:cubicBezTo>
                    <a:pt x="11039" y="292254"/>
                    <a:pt x="0" y="281307"/>
                    <a:pt x="0" y="267693"/>
                  </a:cubicBezTo>
                  <a:lnTo>
                    <a:pt x="0" y="24561"/>
                  </a:lnTo>
                  <a:cubicBezTo>
                    <a:pt x="0" y="11039"/>
                    <a:pt x="10947" y="0"/>
                    <a:pt x="24562" y="0"/>
                  </a:cubicBezTo>
                  <a:lnTo>
                    <a:pt x="267693" y="0"/>
                  </a:lnTo>
                  <a:cubicBezTo>
                    <a:pt x="281215" y="0"/>
                    <a:pt x="292254" y="10947"/>
                    <a:pt x="292254" y="24561"/>
                  </a:cubicBezTo>
                  <a:lnTo>
                    <a:pt x="292254" y="267693"/>
                  </a:lnTo>
                  <a:cubicBezTo>
                    <a:pt x="292254" y="281215"/>
                    <a:pt x="281307" y="292254"/>
                    <a:pt x="267693" y="292254"/>
                  </a:cubicBezTo>
                  <a:lnTo>
                    <a:pt x="116920" y="292254"/>
                  </a:lnTo>
                </a:path>
              </a:pathLst>
            </a:custGeom>
            <a:solidFill>
              <a:srgbClr val="0096A4"/>
            </a:solidFill>
            <a:ln w="9151" cap="flat">
              <a:noFill/>
              <a:prstDash val="solid"/>
              <a:miter/>
            </a:ln>
          </p:spPr>
          <p:txBody>
            <a:bodyPr rtlCol="0" anchor="ctr"/>
            <a:lstStyle/>
            <a:p>
              <a:endParaRPr lang="en-US"/>
            </a:p>
          </p:txBody>
        </p:sp>
      </p:grpSp>
      <p:grpSp>
        <p:nvGrpSpPr>
          <p:cNvPr id="83" name="Group 82">
            <a:extLst>
              <a:ext uri="{FF2B5EF4-FFF2-40B4-BE49-F238E27FC236}">
                <a16:creationId xmlns:a16="http://schemas.microsoft.com/office/drawing/2014/main" id="{3344DA82-C262-787A-9C73-25F7E09FD549}"/>
              </a:ext>
            </a:extLst>
          </p:cNvPr>
          <p:cNvGrpSpPr/>
          <p:nvPr userDrawn="1"/>
        </p:nvGrpSpPr>
        <p:grpSpPr>
          <a:xfrm>
            <a:off x="9310777" y="4122420"/>
            <a:ext cx="1266380" cy="1146464"/>
            <a:chOff x="9280516" y="4028030"/>
            <a:chExt cx="1397226" cy="1264920"/>
          </a:xfrm>
        </p:grpSpPr>
        <p:pic>
          <p:nvPicPr>
            <p:cNvPr id="74" name="Graphic 73">
              <a:extLst>
                <a:ext uri="{FF2B5EF4-FFF2-40B4-BE49-F238E27FC236}">
                  <a16:creationId xmlns:a16="http://schemas.microsoft.com/office/drawing/2014/main" id="{C80DB346-BABE-24E7-2860-4D1394E376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37642" y="4048563"/>
              <a:ext cx="1322735" cy="1212505"/>
            </a:xfrm>
            <a:prstGeom prst="rect">
              <a:avLst/>
            </a:prstGeom>
          </p:spPr>
        </p:pic>
        <p:pic>
          <p:nvPicPr>
            <p:cNvPr id="76" name="Graphic 75">
              <a:extLst>
                <a:ext uri="{FF2B5EF4-FFF2-40B4-BE49-F238E27FC236}">
                  <a16:creationId xmlns:a16="http://schemas.microsoft.com/office/drawing/2014/main" id="{BF31950F-92A5-E490-88F9-334DCB5116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3671" y="4028030"/>
              <a:ext cx="1364071" cy="1171169"/>
            </a:xfrm>
            <a:prstGeom prst="rect">
              <a:avLst/>
            </a:prstGeom>
          </p:spPr>
        </p:pic>
        <p:pic>
          <p:nvPicPr>
            <p:cNvPr id="77" name="Graphic 76">
              <a:extLst>
                <a:ext uri="{FF2B5EF4-FFF2-40B4-BE49-F238E27FC236}">
                  <a16:creationId xmlns:a16="http://schemas.microsoft.com/office/drawing/2014/main" id="{549D25B7-E0E7-23BF-9450-DB4595E50E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80516" y="4094224"/>
              <a:ext cx="1364071" cy="1198726"/>
            </a:xfrm>
            <a:prstGeom prst="rect">
              <a:avLst/>
            </a:prstGeom>
          </p:spPr>
        </p:pic>
        <p:pic>
          <p:nvPicPr>
            <p:cNvPr id="78" name="Graphic 77">
              <a:extLst>
                <a:ext uri="{FF2B5EF4-FFF2-40B4-BE49-F238E27FC236}">
                  <a16:creationId xmlns:a16="http://schemas.microsoft.com/office/drawing/2014/main" id="{FBCE6AD7-6FEB-B930-8E4C-1A1857268C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99086" y="4248403"/>
              <a:ext cx="523583" cy="482246"/>
            </a:xfrm>
            <a:prstGeom prst="rect">
              <a:avLst/>
            </a:prstGeom>
          </p:spPr>
        </p:pic>
      </p:grpSp>
      <p:pic>
        <p:nvPicPr>
          <p:cNvPr id="79" name="Graphic 78">
            <a:extLst>
              <a:ext uri="{FF2B5EF4-FFF2-40B4-BE49-F238E27FC236}">
                <a16:creationId xmlns:a16="http://schemas.microsoft.com/office/drawing/2014/main" id="{63C5AA84-85DA-FE24-C9E5-8FCFF041534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9667948" y="-68696"/>
            <a:ext cx="2419350" cy="1590675"/>
          </a:xfrm>
          <a:prstGeom prst="rect">
            <a:avLst/>
          </a:prstGeom>
        </p:spPr>
      </p:pic>
      <p:sp>
        <p:nvSpPr>
          <p:cNvPr id="82" name="Chord 81">
            <a:extLst>
              <a:ext uri="{FF2B5EF4-FFF2-40B4-BE49-F238E27FC236}">
                <a16:creationId xmlns:a16="http://schemas.microsoft.com/office/drawing/2014/main" id="{4114AEF4-2C1A-B276-48B3-455183D22514}"/>
              </a:ext>
            </a:extLst>
          </p:cNvPr>
          <p:cNvSpPr/>
          <p:nvPr userDrawn="1"/>
        </p:nvSpPr>
        <p:spPr>
          <a:xfrm>
            <a:off x="7921629" y="-817230"/>
            <a:ext cx="1609798" cy="1609798"/>
          </a:xfrm>
          <a:prstGeom prst="chord">
            <a:avLst>
              <a:gd name="adj1" fmla="val 51041"/>
              <a:gd name="adj2" fmla="val 10741057"/>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80" name="Chord 79">
            <a:extLst>
              <a:ext uri="{FF2B5EF4-FFF2-40B4-BE49-F238E27FC236}">
                <a16:creationId xmlns:a16="http://schemas.microsoft.com/office/drawing/2014/main" id="{ACBEEF99-10E4-3337-700D-117C851AEA35}"/>
              </a:ext>
            </a:extLst>
          </p:cNvPr>
          <p:cNvSpPr/>
          <p:nvPr userDrawn="1"/>
        </p:nvSpPr>
        <p:spPr>
          <a:xfrm>
            <a:off x="7966479" y="-772380"/>
            <a:ext cx="1520100" cy="1520100"/>
          </a:xfrm>
          <a:prstGeom prst="chord">
            <a:avLst>
              <a:gd name="adj1" fmla="val 42990"/>
              <a:gd name="adj2" fmla="val 10732695"/>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81" name="Graphic 80">
            <a:extLst>
              <a:ext uri="{FF2B5EF4-FFF2-40B4-BE49-F238E27FC236}">
                <a16:creationId xmlns:a16="http://schemas.microsoft.com/office/drawing/2014/main" id="{70F467B1-5224-9D96-F867-C12E356CAD6A}"/>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8275291" y="-11169"/>
            <a:ext cx="867399" cy="475670"/>
          </a:xfrm>
          <a:prstGeom prst="rect">
            <a:avLst/>
          </a:prstGeom>
        </p:spPr>
      </p:pic>
    </p:spTree>
    <p:extLst>
      <p:ext uri="{BB962C8B-B14F-4D97-AF65-F5344CB8AC3E}">
        <p14:creationId xmlns:p14="http://schemas.microsoft.com/office/powerpoint/2010/main" val="2952955029"/>
      </p:ext>
    </p:extLst>
  </p:cSld>
  <p:clrMapOvr>
    <a:masterClrMapping/>
  </p:clrMapOvr>
  <p:transition>
    <p:fade/>
  </p:transition>
  <p:extLst>
    <p:ext uri="{DCECCB84-F9BA-43D5-87BE-67443E8EF086}">
      <p15:sldGuideLst xmlns:p15="http://schemas.microsoft.com/office/powerpoint/2012/main">
        <p15:guide id="1" orient="horz" pos="3096">
          <p15:clr>
            <a:srgbClr val="FBAE40"/>
          </p15:clr>
        </p15:guide>
        <p15:guide id="2" orient="horz" pos="3288">
          <p15:clr>
            <a:srgbClr val="FBAE40"/>
          </p15:clr>
        </p15:guide>
        <p15:guide id="3" orient="horz" pos="3600">
          <p15:clr>
            <a:srgbClr val="FBAE40"/>
          </p15:clr>
        </p15:guide>
        <p15:guide id="4" pos="52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2C39E8AA-19B8-95F1-EEFB-AB05974224F5}"/>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pic>
        <p:nvPicPr>
          <p:cNvPr id="16" name="Graphic 15">
            <a:extLst>
              <a:ext uri="{FF2B5EF4-FFF2-40B4-BE49-F238E27FC236}">
                <a16:creationId xmlns:a16="http://schemas.microsoft.com/office/drawing/2014/main" id="{7D922F1E-CA1E-588A-4537-0708BA127F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75781" y="1479055"/>
            <a:ext cx="8362950" cy="5962650"/>
          </a:xfrm>
          <a:prstGeom prst="rect">
            <a:avLst/>
          </a:prstGeom>
        </p:spPr>
      </p:pic>
      <p:pic>
        <p:nvPicPr>
          <p:cNvPr id="17" name="Graphic 16">
            <a:extLst>
              <a:ext uri="{FF2B5EF4-FFF2-40B4-BE49-F238E27FC236}">
                <a16:creationId xmlns:a16="http://schemas.microsoft.com/office/drawing/2014/main" id="{0BF11AA8-338A-B44D-4BDD-7FA8DEFB3BB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345193" y="5736619"/>
            <a:ext cx="2397953" cy="635289"/>
          </a:xfrm>
          <a:prstGeom prst="rect">
            <a:avLst/>
          </a:prstGeom>
        </p:spPr>
      </p:pic>
      <p:sp>
        <p:nvSpPr>
          <p:cNvPr id="3" name="Text Placeholder 2">
            <a:extLst>
              <a:ext uri="{FF2B5EF4-FFF2-40B4-BE49-F238E27FC236}">
                <a16:creationId xmlns:a16="http://schemas.microsoft.com/office/drawing/2014/main" id="{A90C9359-51B0-4CAC-98E8-A2049C310E6C}"/>
              </a:ext>
            </a:extLst>
          </p:cNvPr>
          <p:cNvSpPr>
            <a:spLocks noGrp="1"/>
          </p:cNvSpPr>
          <p:nvPr userDrawn="1">
            <p:ph type="body" sz="quarter" idx="10"/>
          </p:nvPr>
        </p:nvSpPr>
        <p:spPr>
          <a:xfrm>
            <a:off x="1608062" y="1401179"/>
            <a:ext cx="6051550" cy="1989153"/>
          </a:xfrm>
        </p:spPr>
        <p:txBody>
          <a:bodyPr anchor="t" anchorCtr="0"/>
          <a:lstStyle>
            <a:lvl1pPr marL="0" indent="0">
              <a:lnSpc>
                <a:spcPct val="100000"/>
              </a:lnSpc>
              <a:buNone/>
              <a:defRPr sz="3600" b="0">
                <a:solidFill>
                  <a:srgbClr val="FEFEFE"/>
                </a:solidFill>
                <a:latin typeface="+mn-lt"/>
                <a:ea typeface="Lato Light" panose="020F0502020204030203" pitchFamily="34" charset="0"/>
                <a:cs typeface="Lato Light" panose="020F0502020204030203" pitchFamily="34" charset="0"/>
              </a:defRPr>
            </a:lvl1pPr>
            <a:lvl2pPr marL="685800" indent="-339725">
              <a:defRPr sz="28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a:p>
            <a:pPr lvl="1"/>
            <a:r>
              <a:rPr lang="en-US"/>
              <a:t>Second level</a:t>
            </a:r>
          </a:p>
        </p:txBody>
      </p:sp>
      <p:sp>
        <p:nvSpPr>
          <p:cNvPr id="20" name="Oval 19">
            <a:extLst>
              <a:ext uri="{FF2B5EF4-FFF2-40B4-BE49-F238E27FC236}">
                <a16:creationId xmlns:a16="http://schemas.microsoft.com/office/drawing/2014/main" id="{D3560AD9-43AC-F7EF-DAAB-69E0FB51A20D}"/>
              </a:ext>
            </a:extLst>
          </p:cNvPr>
          <p:cNvSpPr/>
          <p:nvPr userDrawn="1"/>
        </p:nvSpPr>
        <p:spPr>
          <a:xfrm>
            <a:off x="8339427" y="2697978"/>
            <a:ext cx="1202442" cy="1202442"/>
          </a:xfrm>
          <a:prstGeom prst="ellipse">
            <a:avLst/>
          </a:prstGeom>
          <a:solidFill>
            <a:schemeClr val="accent3"/>
          </a:solidFill>
          <a:ln w="41275">
            <a:solidFill>
              <a:srgbClr val="84B1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6A1853F1-CE97-5C09-723C-13915BB1B83A}"/>
              </a:ext>
            </a:extLst>
          </p:cNvPr>
          <p:cNvGrpSpPr/>
          <p:nvPr userDrawn="1"/>
        </p:nvGrpSpPr>
        <p:grpSpPr>
          <a:xfrm>
            <a:off x="8548433" y="2982813"/>
            <a:ext cx="764262" cy="691892"/>
            <a:chOff x="9280516" y="4028030"/>
            <a:chExt cx="1397226" cy="1264920"/>
          </a:xfrm>
        </p:grpSpPr>
        <p:pic>
          <p:nvPicPr>
            <p:cNvPr id="23" name="Graphic 22">
              <a:extLst>
                <a:ext uri="{FF2B5EF4-FFF2-40B4-BE49-F238E27FC236}">
                  <a16:creationId xmlns:a16="http://schemas.microsoft.com/office/drawing/2014/main" id="{3B3E2D31-B9A7-5844-3EAD-9A4560E960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37642" y="4048563"/>
              <a:ext cx="1322735" cy="1212505"/>
            </a:xfrm>
            <a:prstGeom prst="rect">
              <a:avLst/>
            </a:prstGeom>
          </p:spPr>
        </p:pic>
        <p:pic>
          <p:nvPicPr>
            <p:cNvPr id="24" name="Graphic 23">
              <a:extLst>
                <a:ext uri="{FF2B5EF4-FFF2-40B4-BE49-F238E27FC236}">
                  <a16:creationId xmlns:a16="http://schemas.microsoft.com/office/drawing/2014/main" id="{29720121-58EE-30E7-6A9D-5D90F7C1A4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671" y="4028030"/>
              <a:ext cx="1364071" cy="1171169"/>
            </a:xfrm>
            <a:prstGeom prst="rect">
              <a:avLst/>
            </a:prstGeom>
          </p:spPr>
        </p:pic>
        <p:pic>
          <p:nvPicPr>
            <p:cNvPr id="25" name="Graphic 24">
              <a:extLst>
                <a:ext uri="{FF2B5EF4-FFF2-40B4-BE49-F238E27FC236}">
                  <a16:creationId xmlns:a16="http://schemas.microsoft.com/office/drawing/2014/main" id="{3E677E25-ECB3-1443-E0C6-F74FE2E9197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80516" y="4094224"/>
              <a:ext cx="1364071" cy="1198726"/>
            </a:xfrm>
            <a:prstGeom prst="rect">
              <a:avLst/>
            </a:prstGeom>
          </p:spPr>
        </p:pic>
        <p:pic>
          <p:nvPicPr>
            <p:cNvPr id="27" name="Graphic 26">
              <a:extLst>
                <a:ext uri="{FF2B5EF4-FFF2-40B4-BE49-F238E27FC236}">
                  <a16:creationId xmlns:a16="http://schemas.microsoft.com/office/drawing/2014/main" id="{C44A00CD-FE47-2F95-8439-1D8285DDBC5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99086" y="4248403"/>
              <a:ext cx="523583" cy="482246"/>
            </a:xfrm>
            <a:prstGeom prst="rect">
              <a:avLst/>
            </a:prstGeom>
          </p:spPr>
        </p:pic>
      </p:grpSp>
      <p:pic>
        <p:nvPicPr>
          <p:cNvPr id="28" name="Graphic 27">
            <a:extLst>
              <a:ext uri="{FF2B5EF4-FFF2-40B4-BE49-F238E27FC236}">
                <a16:creationId xmlns:a16="http://schemas.microsoft.com/office/drawing/2014/main" id="{C68DEE2B-24A1-ECB3-2D77-883DB8475437}"/>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311523" y="-314107"/>
            <a:ext cx="4318389" cy="3311150"/>
          </a:xfrm>
          <a:prstGeom prst="rect">
            <a:avLst/>
          </a:prstGeom>
        </p:spPr>
      </p:pic>
    </p:spTree>
    <p:extLst>
      <p:ext uri="{BB962C8B-B14F-4D97-AF65-F5344CB8AC3E}">
        <p14:creationId xmlns:p14="http://schemas.microsoft.com/office/powerpoint/2010/main" val="72526190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sion">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21ADDD9-4FDB-8899-C3E0-642E58C5B697}"/>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54338"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styles</a:t>
            </a:r>
          </a:p>
        </p:txBody>
      </p:sp>
      <p:pic>
        <p:nvPicPr>
          <p:cNvPr id="25" name="Graphic 24">
            <a:extLst>
              <a:ext uri="{FF2B5EF4-FFF2-40B4-BE49-F238E27FC236}">
                <a16:creationId xmlns:a16="http://schemas.microsoft.com/office/drawing/2014/main" id="{F1364CC4-C02F-45ED-FB96-986BAAF026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07922" y="6133275"/>
            <a:ext cx="1729946" cy="458314"/>
          </a:xfrm>
          <a:prstGeom prst="rect">
            <a:avLst/>
          </a:prstGeom>
        </p:spPr>
      </p:pic>
      <p:pic>
        <p:nvPicPr>
          <p:cNvPr id="26" name="Picture 25">
            <a:extLst>
              <a:ext uri="{FF2B5EF4-FFF2-40B4-BE49-F238E27FC236}">
                <a16:creationId xmlns:a16="http://schemas.microsoft.com/office/drawing/2014/main" id="{08690C13-76AD-4D3F-B45D-BEBB4D32EE3E}"/>
              </a:ext>
            </a:extLst>
          </p:cNvPr>
          <p:cNvPicPr>
            <a:picLocks noChangeAspect="1"/>
          </p:cNvPicPr>
          <p:nvPr userDrawn="1"/>
        </p:nvPicPr>
        <p:blipFill rotWithShape="1">
          <a:blip r:embed="rId8"/>
          <a:srcRect r="19691"/>
          <a:stretch/>
        </p:blipFill>
        <p:spPr>
          <a:xfrm>
            <a:off x="0" y="3975"/>
            <a:ext cx="5151353" cy="6858000"/>
          </a:xfrm>
          <a:prstGeom prst="rect">
            <a:avLst/>
          </a:prstGeom>
        </p:spPr>
      </p:pic>
    </p:spTree>
    <p:extLst>
      <p:ext uri="{BB962C8B-B14F-4D97-AF65-F5344CB8AC3E}">
        <p14:creationId xmlns:p14="http://schemas.microsoft.com/office/powerpoint/2010/main" val="35004741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divis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56175"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styles</a:t>
            </a:r>
          </a:p>
        </p:txBody>
      </p:sp>
      <p:pic>
        <p:nvPicPr>
          <p:cNvPr id="2" name="Picture 1">
            <a:extLst>
              <a:ext uri="{FF2B5EF4-FFF2-40B4-BE49-F238E27FC236}">
                <a16:creationId xmlns:a16="http://schemas.microsoft.com/office/drawing/2014/main" id="{3311366E-8BB2-059B-19CE-493DFF386CA3}"/>
              </a:ext>
            </a:extLst>
          </p:cNvPr>
          <p:cNvPicPr>
            <a:picLocks noChangeAspect="1"/>
          </p:cNvPicPr>
          <p:nvPr userDrawn="1"/>
        </p:nvPicPr>
        <p:blipFill rotWithShape="1">
          <a:blip r:embed="rId6"/>
          <a:srcRect l="4757" r="14855"/>
          <a:stretch/>
        </p:blipFill>
        <p:spPr>
          <a:xfrm>
            <a:off x="0" y="-7951"/>
            <a:ext cx="5151438" cy="6865951"/>
          </a:xfrm>
          <a:prstGeom prst="rect">
            <a:avLst/>
          </a:prstGeom>
        </p:spPr>
      </p:pic>
      <p:pic>
        <p:nvPicPr>
          <p:cNvPr id="4" name="Graphic 3">
            <a:extLst>
              <a:ext uri="{FF2B5EF4-FFF2-40B4-BE49-F238E27FC236}">
                <a16:creationId xmlns:a16="http://schemas.microsoft.com/office/drawing/2014/main" id="{7A9DFEBA-8BD9-8536-5D76-7B97703C1D1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07922" y="6133275"/>
            <a:ext cx="1729946" cy="458314"/>
          </a:xfrm>
          <a:prstGeom prst="rect">
            <a:avLst/>
          </a:prstGeom>
        </p:spPr>
      </p:pic>
    </p:spTree>
    <p:extLst>
      <p:ext uri="{BB962C8B-B14F-4D97-AF65-F5344CB8AC3E}">
        <p14:creationId xmlns:p14="http://schemas.microsoft.com/office/powerpoint/2010/main" val="3824170026"/>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unc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56175"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LUNCH</a:t>
            </a:r>
          </a:p>
        </p:txBody>
      </p:sp>
      <p:pic>
        <p:nvPicPr>
          <p:cNvPr id="2" name="Picture 1">
            <a:extLst>
              <a:ext uri="{FF2B5EF4-FFF2-40B4-BE49-F238E27FC236}">
                <a16:creationId xmlns:a16="http://schemas.microsoft.com/office/drawing/2014/main" id="{3311366E-8BB2-059B-19CE-493DFF386CA3}"/>
              </a:ext>
            </a:extLst>
          </p:cNvPr>
          <p:cNvPicPr>
            <a:picLocks noChangeAspect="1"/>
          </p:cNvPicPr>
          <p:nvPr userDrawn="1"/>
        </p:nvPicPr>
        <p:blipFill>
          <a:blip r:embed="rId6"/>
          <a:srcRect t="112" b="112"/>
          <a:stretch/>
        </p:blipFill>
        <p:spPr>
          <a:xfrm>
            <a:off x="0" y="-7951"/>
            <a:ext cx="5151438" cy="6865951"/>
          </a:xfrm>
          <a:prstGeom prst="rect">
            <a:avLst/>
          </a:prstGeom>
        </p:spPr>
      </p:pic>
      <p:pic>
        <p:nvPicPr>
          <p:cNvPr id="4" name="Graphic 3">
            <a:extLst>
              <a:ext uri="{FF2B5EF4-FFF2-40B4-BE49-F238E27FC236}">
                <a16:creationId xmlns:a16="http://schemas.microsoft.com/office/drawing/2014/main" id="{7A9DFEBA-8BD9-8536-5D76-7B97703C1D1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07922" y="6133275"/>
            <a:ext cx="1729946" cy="458314"/>
          </a:xfrm>
          <a:prstGeom prst="rect">
            <a:avLst/>
          </a:prstGeom>
        </p:spPr>
      </p:pic>
    </p:spTree>
    <p:extLst>
      <p:ext uri="{BB962C8B-B14F-4D97-AF65-F5344CB8AC3E}">
        <p14:creationId xmlns:p14="http://schemas.microsoft.com/office/powerpoint/2010/main" val="36779019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Ref idx="1003">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CC623A-2DDF-4CB8-BA3A-17E88CC2A6F7}"/>
              </a:ext>
            </a:extLst>
          </p:cNvPr>
          <p:cNvPicPr>
            <a:picLocks noChangeAspect="1"/>
          </p:cNvPicPr>
          <p:nvPr userDrawn="1"/>
        </p:nvPicPr>
        <p:blipFill>
          <a:blip r:embed="rId2"/>
          <a:srcRect/>
          <a:stretch/>
        </p:blipFill>
        <p:spPr>
          <a:xfrm>
            <a:off x="0" y="0"/>
            <a:ext cx="12192000" cy="6858000"/>
          </a:xfrm>
          <a:prstGeom prst="rect">
            <a:avLst/>
          </a:prstGeom>
        </p:spPr>
      </p:pic>
      <p:sp>
        <p:nvSpPr>
          <p:cNvPr id="20" name="Subtitle 2">
            <a:extLst>
              <a:ext uri="{FF2B5EF4-FFF2-40B4-BE49-F238E27FC236}">
                <a16:creationId xmlns:a16="http://schemas.microsoft.com/office/drawing/2014/main" id="{EAFAD90D-3BB0-8175-1916-26854D70F953}"/>
              </a:ext>
            </a:extLst>
          </p:cNvPr>
          <p:cNvSpPr>
            <a:spLocks noGrp="1"/>
          </p:cNvSpPr>
          <p:nvPr>
            <p:ph type="subTitle" idx="1" hasCustomPrompt="1"/>
          </p:nvPr>
        </p:nvSpPr>
        <p:spPr>
          <a:xfrm>
            <a:off x="666854" y="3301049"/>
            <a:ext cx="5180542" cy="365760"/>
          </a:xfrm>
        </p:spPr>
        <p:txBody>
          <a:bodyPr>
            <a:noAutofit/>
          </a:bodyPr>
          <a:lstStyle>
            <a:lvl1pPr marL="0" indent="0" algn="l">
              <a:buNone/>
              <a:defRPr sz="2400" b="1">
                <a:solidFill>
                  <a:srgbClr val="00000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21" name="Text Placeholder 12">
            <a:extLst>
              <a:ext uri="{FF2B5EF4-FFF2-40B4-BE49-F238E27FC236}">
                <a16:creationId xmlns:a16="http://schemas.microsoft.com/office/drawing/2014/main" id="{50BFDAFA-55E2-4309-6CFA-F6137F022B90}"/>
              </a:ext>
            </a:extLst>
          </p:cNvPr>
          <p:cNvSpPr>
            <a:spLocks noGrp="1"/>
          </p:cNvSpPr>
          <p:nvPr>
            <p:ph type="body" sz="quarter" idx="10" hasCustomPrompt="1"/>
          </p:nvPr>
        </p:nvSpPr>
        <p:spPr>
          <a:xfrm>
            <a:off x="666854" y="3728635"/>
            <a:ext cx="5180542" cy="365760"/>
          </a:xfrm>
        </p:spPr>
        <p:txBody>
          <a:bodyPr>
            <a:noAutofit/>
          </a:bodyPr>
          <a:lstStyle>
            <a:lvl1pPr marL="0" indent="0">
              <a:buNone/>
              <a:defRPr sz="2000">
                <a:solidFill>
                  <a:srgbClr val="000001"/>
                </a:solidFill>
              </a:defRPr>
            </a:lvl1pPr>
            <a:lvl2pPr marL="346075" indent="0">
              <a:buNone/>
              <a:defRPr/>
            </a:lvl2pPr>
          </a:lstStyle>
          <a:p>
            <a:pPr lvl="0"/>
            <a:r>
              <a:rPr lang="en-US"/>
              <a:t>Click to edit presenter’s position</a:t>
            </a:r>
          </a:p>
        </p:txBody>
      </p:sp>
      <p:pic>
        <p:nvPicPr>
          <p:cNvPr id="31" name="Picture 30">
            <a:extLst>
              <a:ext uri="{FF2B5EF4-FFF2-40B4-BE49-F238E27FC236}">
                <a16:creationId xmlns:a16="http://schemas.microsoft.com/office/drawing/2014/main" id="{10EE13BA-A156-2078-A3E5-EADB37AB25F5}"/>
              </a:ext>
            </a:extLst>
          </p:cNvPr>
          <p:cNvPicPr>
            <a:picLocks noChangeAspect="1"/>
          </p:cNvPicPr>
          <p:nvPr userDrawn="1"/>
        </p:nvPicPr>
        <p:blipFill rotWithShape="1">
          <a:blip r:embed="rId3"/>
          <a:srcRect l="2032" t="1" r="16121" b="22024"/>
          <a:stretch/>
        </p:blipFill>
        <p:spPr>
          <a:xfrm>
            <a:off x="6698402" y="1827709"/>
            <a:ext cx="5493598" cy="5030292"/>
          </a:xfrm>
          <a:prstGeom prst="rect">
            <a:avLst/>
          </a:prstGeom>
          <a:effectLst/>
        </p:spPr>
      </p:pic>
      <p:sp>
        <p:nvSpPr>
          <p:cNvPr id="30" name="TextBox 29">
            <a:extLst>
              <a:ext uri="{FF2B5EF4-FFF2-40B4-BE49-F238E27FC236}">
                <a16:creationId xmlns:a16="http://schemas.microsoft.com/office/drawing/2014/main" id="{69580556-AE23-77F3-90D7-4F9BB9A22352}"/>
              </a:ext>
            </a:extLst>
          </p:cNvPr>
          <p:cNvSpPr txBox="1"/>
          <p:nvPr userDrawn="1"/>
        </p:nvSpPr>
        <p:spPr>
          <a:xfrm>
            <a:off x="11011521" y="6668277"/>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sp>
        <p:nvSpPr>
          <p:cNvPr id="19" name="Title 1">
            <a:extLst>
              <a:ext uri="{FF2B5EF4-FFF2-40B4-BE49-F238E27FC236}">
                <a16:creationId xmlns:a16="http://schemas.microsoft.com/office/drawing/2014/main" id="{866031FC-F32B-A17C-186A-69D627E7D985}"/>
              </a:ext>
            </a:extLst>
          </p:cNvPr>
          <p:cNvSpPr>
            <a:spLocks noGrp="1"/>
          </p:cNvSpPr>
          <p:nvPr>
            <p:ph type="ctrTitle" hasCustomPrompt="1"/>
          </p:nvPr>
        </p:nvSpPr>
        <p:spPr>
          <a:xfrm>
            <a:off x="666854" y="868363"/>
            <a:ext cx="7257946" cy="2141537"/>
          </a:xfrm>
        </p:spPr>
        <p:txBody>
          <a:bodyPr anchor="b" anchorCtr="0">
            <a:noAutofit/>
          </a:bodyPr>
          <a:lstStyle>
            <a:lvl1pPr algn="l">
              <a:defRPr sz="4800" cap="none" baseline="0">
                <a:solidFill>
                  <a:srgbClr val="00000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p>
        </p:txBody>
      </p:sp>
      <p:grpSp>
        <p:nvGrpSpPr>
          <p:cNvPr id="44" name="Group 43">
            <a:extLst>
              <a:ext uri="{FF2B5EF4-FFF2-40B4-BE49-F238E27FC236}">
                <a16:creationId xmlns:a16="http://schemas.microsoft.com/office/drawing/2014/main" id="{C4A4FDCF-F045-1942-D021-32DEB91CB38A}"/>
              </a:ext>
            </a:extLst>
          </p:cNvPr>
          <p:cNvGrpSpPr/>
          <p:nvPr userDrawn="1"/>
        </p:nvGrpSpPr>
        <p:grpSpPr>
          <a:xfrm>
            <a:off x="669743" y="6178033"/>
            <a:ext cx="1267120" cy="348093"/>
            <a:chOff x="1855788" y="3378201"/>
            <a:chExt cx="3709987" cy="1019175"/>
          </a:xfrm>
          <a:solidFill>
            <a:srgbClr val="000001"/>
          </a:solidFill>
        </p:grpSpPr>
        <p:sp>
          <p:nvSpPr>
            <p:cNvPr id="45" name="Freeform 5">
              <a:extLst>
                <a:ext uri="{FF2B5EF4-FFF2-40B4-BE49-F238E27FC236}">
                  <a16:creationId xmlns:a16="http://schemas.microsoft.com/office/drawing/2014/main" id="{2F17CEAC-10C0-870A-D5C1-9ED4DD8398A0}"/>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6" name="Freeform 6">
              <a:extLst>
                <a:ext uri="{FF2B5EF4-FFF2-40B4-BE49-F238E27FC236}">
                  <a16:creationId xmlns:a16="http://schemas.microsoft.com/office/drawing/2014/main" id="{A5986C73-FA0C-6FAA-E251-A11C900B1D18}"/>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7" name="Freeform 7">
              <a:extLst>
                <a:ext uri="{FF2B5EF4-FFF2-40B4-BE49-F238E27FC236}">
                  <a16:creationId xmlns:a16="http://schemas.microsoft.com/office/drawing/2014/main" id="{198AF613-4421-CD73-FE61-B3A5E23F37BD}"/>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8" name="Freeform 8">
              <a:extLst>
                <a:ext uri="{FF2B5EF4-FFF2-40B4-BE49-F238E27FC236}">
                  <a16:creationId xmlns:a16="http://schemas.microsoft.com/office/drawing/2014/main" id="{A8AE440C-B920-939C-A2B4-339755C3427B}"/>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9" name="Freeform 9">
              <a:extLst>
                <a:ext uri="{FF2B5EF4-FFF2-40B4-BE49-F238E27FC236}">
                  <a16:creationId xmlns:a16="http://schemas.microsoft.com/office/drawing/2014/main" id="{0AB05200-1AA8-4EE8-5DF2-1FC2F1A2771C}"/>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0" name="Freeform 10">
              <a:extLst>
                <a:ext uri="{FF2B5EF4-FFF2-40B4-BE49-F238E27FC236}">
                  <a16:creationId xmlns:a16="http://schemas.microsoft.com/office/drawing/2014/main" id="{DE74B7FE-8D0E-5DD3-9FB1-4EE44E6D722E}"/>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1" name="Freeform 11">
              <a:extLst>
                <a:ext uri="{FF2B5EF4-FFF2-40B4-BE49-F238E27FC236}">
                  <a16:creationId xmlns:a16="http://schemas.microsoft.com/office/drawing/2014/main" id="{2A5E8A31-B61B-6A0E-B7FA-6C4A52A9A75C}"/>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2" name="Freeform 12">
              <a:extLst>
                <a:ext uri="{FF2B5EF4-FFF2-40B4-BE49-F238E27FC236}">
                  <a16:creationId xmlns:a16="http://schemas.microsoft.com/office/drawing/2014/main" id="{264E3A44-BE4A-90C7-F164-0E93D0483696}"/>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3" name="Freeform 13">
              <a:extLst>
                <a:ext uri="{FF2B5EF4-FFF2-40B4-BE49-F238E27FC236}">
                  <a16:creationId xmlns:a16="http://schemas.microsoft.com/office/drawing/2014/main" id="{71BD04F5-B69E-E721-A998-6179AC08AC40}"/>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4" name="Freeform 14">
              <a:extLst>
                <a:ext uri="{FF2B5EF4-FFF2-40B4-BE49-F238E27FC236}">
                  <a16:creationId xmlns:a16="http://schemas.microsoft.com/office/drawing/2014/main" id="{BF008B69-C205-352E-D731-22066F8145A8}"/>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5" name="Freeform 15">
              <a:extLst>
                <a:ext uri="{FF2B5EF4-FFF2-40B4-BE49-F238E27FC236}">
                  <a16:creationId xmlns:a16="http://schemas.microsoft.com/office/drawing/2014/main" id="{77586324-36EB-36EC-ABEB-EC2848AF2859}"/>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6" name="Rectangle 16">
              <a:extLst>
                <a:ext uri="{FF2B5EF4-FFF2-40B4-BE49-F238E27FC236}">
                  <a16:creationId xmlns:a16="http://schemas.microsoft.com/office/drawing/2014/main" id="{AC7CDB43-B2BB-7589-17F5-62A874282BBC}"/>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7" name="Freeform 17">
              <a:extLst>
                <a:ext uri="{FF2B5EF4-FFF2-40B4-BE49-F238E27FC236}">
                  <a16:creationId xmlns:a16="http://schemas.microsoft.com/office/drawing/2014/main" id="{ECEF7645-839B-A00D-B7B1-35EB84C73AFF}"/>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8" name="Freeform 18">
              <a:extLst>
                <a:ext uri="{FF2B5EF4-FFF2-40B4-BE49-F238E27FC236}">
                  <a16:creationId xmlns:a16="http://schemas.microsoft.com/office/drawing/2014/main" id="{8F512135-5F5E-A482-1C44-BA82E1705166}"/>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9" name="Freeform 19">
              <a:extLst>
                <a:ext uri="{FF2B5EF4-FFF2-40B4-BE49-F238E27FC236}">
                  <a16:creationId xmlns:a16="http://schemas.microsoft.com/office/drawing/2014/main" id="{60AE73AB-DC65-5424-312A-F351590D00B1}"/>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0" name="Freeform 20">
              <a:extLst>
                <a:ext uri="{FF2B5EF4-FFF2-40B4-BE49-F238E27FC236}">
                  <a16:creationId xmlns:a16="http://schemas.microsoft.com/office/drawing/2014/main" id="{1E5FC651-587E-EDE2-5B87-39A83F2C4A83}"/>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1" name="Freeform 21">
              <a:extLst>
                <a:ext uri="{FF2B5EF4-FFF2-40B4-BE49-F238E27FC236}">
                  <a16:creationId xmlns:a16="http://schemas.microsoft.com/office/drawing/2014/main" id="{C1792CE9-4AE3-EF60-3243-792594508E1E}"/>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2007374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divisio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2B7C07-19FE-6071-9699-692F6CAACBB4}"/>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56175"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styles</a:t>
            </a:r>
          </a:p>
        </p:txBody>
      </p:sp>
      <p:pic>
        <p:nvPicPr>
          <p:cNvPr id="2" name="Picture 1">
            <a:extLst>
              <a:ext uri="{FF2B5EF4-FFF2-40B4-BE49-F238E27FC236}">
                <a16:creationId xmlns:a16="http://schemas.microsoft.com/office/drawing/2014/main" id="{EC350F35-865D-1DF7-8535-81EC44EA139D}"/>
              </a:ext>
            </a:extLst>
          </p:cNvPr>
          <p:cNvPicPr>
            <a:picLocks noChangeAspect="1"/>
          </p:cNvPicPr>
          <p:nvPr userDrawn="1"/>
        </p:nvPicPr>
        <p:blipFill rotWithShape="1">
          <a:blip r:embed="rId6"/>
          <a:srcRect l="11443" r="8170"/>
          <a:stretch/>
        </p:blipFill>
        <p:spPr>
          <a:xfrm>
            <a:off x="0" y="1"/>
            <a:ext cx="5151438" cy="6858000"/>
          </a:xfrm>
          <a:prstGeom prst="rect">
            <a:avLst/>
          </a:prstGeom>
        </p:spPr>
      </p:pic>
      <p:pic>
        <p:nvPicPr>
          <p:cNvPr id="4" name="Graphic 3">
            <a:extLst>
              <a:ext uri="{FF2B5EF4-FFF2-40B4-BE49-F238E27FC236}">
                <a16:creationId xmlns:a16="http://schemas.microsoft.com/office/drawing/2014/main" id="{11B44A0E-7EBE-46C2-7214-C8BE9FEB1A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07922" y="6133275"/>
            <a:ext cx="1729946" cy="458314"/>
          </a:xfrm>
          <a:prstGeom prst="rect">
            <a:avLst/>
          </a:prstGeom>
        </p:spPr>
      </p:pic>
    </p:spTree>
    <p:extLst>
      <p:ext uri="{BB962C8B-B14F-4D97-AF65-F5344CB8AC3E}">
        <p14:creationId xmlns:p14="http://schemas.microsoft.com/office/powerpoint/2010/main" val="15898188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ivisio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B7C4B9FB-7A0F-5E65-864F-CC89B65AD9BA}"/>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1869"/>
              <a:ext cx="12192000" cy="6846131"/>
            </a:xfrm>
            <a:prstGeom prst="rect">
              <a:avLst/>
            </a:prstGeom>
          </p:spPr>
        </p:pic>
      </p:grpSp>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56175"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styles</a:t>
            </a:r>
          </a:p>
        </p:txBody>
      </p:sp>
      <p:pic>
        <p:nvPicPr>
          <p:cNvPr id="3" name="Picture 2">
            <a:extLst>
              <a:ext uri="{FF2B5EF4-FFF2-40B4-BE49-F238E27FC236}">
                <a16:creationId xmlns:a16="http://schemas.microsoft.com/office/drawing/2014/main" id="{92F76744-D7F5-E928-47A0-7FF98C2D1072}"/>
              </a:ext>
            </a:extLst>
          </p:cNvPr>
          <p:cNvPicPr>
            <a:picLocks noChangeAspect="1"/>
          </p:cNvPicPr>
          <p:nvPr userDrawn="1"/>
        </p:nvPicPr>
        <p:blipFill rotWithShape="1">
          <a:blip r:embed="rId6"/>
          <a:srcRect l="18680" r="979"/>
          <a:stretch/>
        </p:blipFill>
        <p:spPr>
          <a:xfrm>
            <a:off x="1" y="-1"/>
            <a:ext cx="5151438" cy="6869927"/>
          </a:xfrm>
          <a:prstGeom prst="rect">
            <a:avLst/>
          </a:prstGeom>
        </p:spPr>
      </p:pic>
      <p:pic>
        <p:nvPicPr>
          <p:cNvPr id="7" name="Graphic 6">
            <a:extLst>
              <a:ext uri="{FF2B5EF4-FFF2-40B4-BE49-F238E27FC236}">
                <a16:creationId xmlns:a16="http://schemas.microsoft.com/office/drawing/2014/main" id="{980FB9BD-F7EB-D7A6-4335-A477868EDB5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07922" y="6133275"/>
            <a:ext cx="1729946" cy="458314"/>
          </a:xfrm>
          <a:prstGeom prst="rect">
            <a:avLst/>
          </a:prstGeom>
        </p:spPr>
      </p:pic>
    </p:spTree>
    <p:extLst>
      <p:ext uri="{BB962C8B-B14F-4D97-AF65-F5344CB8AC3E}">
        <p14:creationId xmlns:p14="http://schemas.microsoft.com/office/powerpoint/2010/main" val="15846819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97941E4-AE9B-CC0D-B4D3-404FEA6482E7}"/>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1869"/>
              <a:ext cx="12192000" cy="6846131"/>
            </a:xfrm>
            <a:prstGeom prst="rect">
              <a:avLst/>
            </a:prstGeom>
          </p:spPr>
        </p:pic>
      </p:grpSp>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47358"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styles</a:t>
            </a:r>
          </a:p>
        </p:txBody>
      </p:sp>
      <p:pic>
        <p:nvPicPr>
          <p:cNvPr id="2" name="Picture 1">
            <a:extLst>
              <a:ext uri="{FF2B5EF4-FFF2-40B4-BE49-F238E27FC236}">
                <a16:creationId xmlns:a16="http://schemas.microsoft.com/office/drawing/2014/main" id="{B8BB90E0-1C73-283F-9615-4D3F2C38D23B}"/>
              </a:ext>
            </a:extLst>
          </p:cNvPr>
          <p:cNvPicPr>
            <a:picLocks noChangeAspect="1"/>
          </p:cNvPicPr>
          <p:nvPr userDrawn="1"/>
        </p:nvPicPr>
        <p:blipFill rotWithShape="1">
          <a:blip r:embed="rId6"/>
          <a:srcRect l="16291" r="3228"/>
          <a:stretch/>
        </p:blipFill>
        <p:spPr>
          <a:xfrm>
            <a:off x="0" y="1"/>
            <a:ext cx="5151438" cy="6858000"/>
          </a:xfrm>
          <a:prstGeom prst="rect">
            <a:avLst/>
          </a:prstGeom>
        </p:spPr>
      </p:pic>
      <p:pic>
        <p:nvPicPr>
          <p:cNvPr id="4" name="Graphic 3">
            <a:extLst>
              <a:ext uri="{FF2B5EF4-FFF2-40B4-BE49-F238E27FC236}">
                <a16:creationId xmlns:a16="http://schemas.microsoft.com/office/drawing/2014/main" id="{00174DE5-2443-E6BC-71DA-3FB962339AE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07922" y="6133275"/>
            <a:ext cx="1729946" cy="458314"/>
          </a:xfrm>
          <a:prstGeom prst="rect">
            <a:avLst/>
          </a:prstGeom>
        </p:spPr>
      </p:pic>
    </p:spTree>
    <p:extLst>
      <p:ext uri="{BB962C8B-B14F-4D97-AF65-F5344CB8AC3E}">
        <p14:creationId xmlns:p14="http://schemas.microsoft.com/office/powerpoint/2010/main" val="16257784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divisio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A543AA9-4298-3272-07B3-FFC644891A19}"/>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pic>
        <p:nvPicPr>
          <p:cNvPr id="10" name="Graphic 9">
            <a:extLst>
              <a:ext uri="{FF2B5EF4-FFF2-40B4-BE49-F238E27FC236}">
                <a16:creationId xmlns:a16="http://schemas.microsoft.com/office/drawing/2014/main" id="{C2597017-9883-AE5C-0C9B-94CB8592DCB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07922" y="6133275"/>
            <a:ext cx="1729946" cy="458314"/>
          </a:xfrm>
          <a:prstGeom prst="rect">
            <a:avLst/>
          </a:prstGeom>
        </p:spPr>
      </p:pic>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47358"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styles</a:t>
            </a:r>
          </a:p>
        </p:txBody>
      </p:sp>
      <p:pic>
        <p:nvPicPr>
          <p:cNvPr id="3" name="Picture 2">
            <a:extLst>
              <a:ext uri="{FF2B5EF4-FFF2-40B4-BE49-F238E27FC236}">
                <a16:creationId xmlns:a16="http://schemas.microsoft.com/office/drawing/2014/main" id="{8B480B6E-07FC-7A06-7C85-0EEFC3F4B394}"/>
              </a:ext>
            </a:extLst>
          </p:cNvPr>
          <p:cNvPicPr>
            <a:picLocks noChangeAspect="1"/>
          </p:cNvPicPr>
          <p:nvPr userDrawn="1"/>
        </p:nvPicPr>
        <p:blipFill rotWithShape="1">
          <a:blip r:embed="rId8"/>
          <a:srcRect l="13019" r="6582"/>
          <a:stretch/>
        </p:blipFill>
        <p:spPr>
          <a:xfrm>
            <a:off x="1" y="0"/>
            <a:ext cx="5151438" cy="6865030"/>
          </a:xfrm>
          <a:prstGeom prst="rect">
            <a:avLst/>
          </a:prstGeom>
        </p:spPr>
      </p:pic>
    </p:spTree>
    <p:extLst>
      <p:ext uri="{BB962C8B-B14F-4D97-AF65-F5344CB8AC3E}">
        <p14:creationId xmlns:p14="http://schemas.microsoft.com/office/powerpoint/2010/main" val="235363379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A543AA9-4298-3272-07B3-FFC644891A19}"/>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2AC9852E-B297-166B-24DC-6DD1A6545C39}"/>
                </a:ext>
              </a:extLst>
            </p:cNvPr>
            <p:cNvSpPr/>
            <p:nvPr userDrawn="1"/>
          </p:nvSpPr>
          <p:spPr>
            <a:xfrm>
              <a:off x="0" y="0"/>
              <a:ext cx="12192000"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EC088964-B730-E409-963C-7F73F8F7A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pic>
        <p:nvPicPr>
          <p:cNvPr id="10" name="Graphic 9">
            <a:extLst>
              <a:ext uri="{FF2B5EF4-FFF2-40B4-BE49-F238E27FC236}">
                <a16:creationId xmlns:a16="http://schemas.microsoft.com/office/drawing/2014/main" id="{C2597017-9883-AE5C-0C9B-94CB8592DCB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07922" y="6133275"/>
            <a:ext cx="1729946" cy="458314"/>
          </a:xfrm>
          <a:prstGeom prst="rect">
            <a:avLst/>
          </a:prstGeom>
        </p:spPr>
      </p:pic>
      <p:pic>
        <p:nvPicPr>
          <p:cNvPr id="21" name="Graphic 20">
            <a:extLst>
              <a:ext uri="{FF2B5EF4-FFF2-40B4-BE49-F238E27FC236}">
                <a16:creationId xmlns:a16="http://schemas.microsoft.com/office/drawing/2014/main" id="{93E5012C-FAA6-2308-CE1F-C53E3EC95DC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47358" y="5177406"/>
            <a:ext cx="4991100" cy="1457325"/>
          </a:xfrm>
          <a:prstGeom prst="rect">
            <a:avLst/>
          </a:prstGeom>
        </p:spPr>
      </p:pic>
      <p:sp>
        <p:nvSpPr>
          <p:cNvPr id="22" name="Text Placeholder 2">
            <a:extLst>
              <a:ext uri="{FF2B5EF4-FFF2-40B4-BE49-F238E27FC236}">
                <a16:creationId xmlns:a16="http://schemas.microsoft.com/office/drawing/2014/main" id="{9A7B9247-B0AE-0C06-2B49-C31CD80F9DD3}"/>
              </a:ext>
            </a:extLst>
          </p:cNvPr>
          <p:cNvSpPr>
            <a:spLocks noGrp="1"/>
          </p:cNvSpPr>
          <p:nvPr>
            <p:ph type="body" sz="quarter" idx="10" hasCustomPrompt="1"/>
          </p:nvPr>
        </p:nvSpPr>
        <p:spPr>
          <a:xfrm>
            <a:off x="6107633" y="1458706"/>
            <a:ext cx="5649719" cy="3486151"/>
          </a:xfrm>
        </p:spPr>
        <p:txBody>
          <a:bodyPr anchor="ctr" anchorCtr="0"/>
          <a:lstStyle>
            <a:lvl1pPr marL="0" indent="0">
              <a:lnSpc>
                <a:spcPct val="100000"/>
              </a:lnSpc>
              <a:buNone/>
              <a:defRPr sz="4800" b="1" cap="all" baseline="0">
                <a:solidFill>
                  <a:srgbClr val="FEFEFE"/>
                </a:solidFill>
                <a:latin typeface="+mn-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BREAK</a:t>
            </a:r>
          </a:p>
        </p:txBody>
      </p:sp>
      <p:pic>
        <p:nvPicPr>
          <p:cNvPr id="3" name="Picture 2">
            <a:extLst>
              <a:ext uri="{FF2B5EF4-FFF2-40B4-BE49-F238E27FC236}">
                <a16:creationId xmlns:a16="http://schemas.microsoft.com/office/drawing/2014/main" id="{8B480B6E-07FC-7A06-7C85-0EEFC3F4B394}"/>
              </a:ext>
            </a:extLst>
          </p:cNvPr>
          <p:cNvPicPr>
            <a:picLocks noChangeAspect="1"/>
          </p:cNvPicPr>
          <p:nvPr userDrawn="1"/>
        </p:nvPicPr>
        <p:blipFill>
          <a:blip r:embed="rId8"/>
          <a:srcRect l="24997" r="24997"/>
          <a:stretch/>
        </p:blipFill>
        <p:spPr>
          <a:xfrm>
            <a:off x="1" y="0"/>
            <a:ext cx="5151438" cy="6865030"/>
          </a:xfrm>
          <a:prstGeom prst="rect">
            <a:avLst/>
          </a:prstGeom>
        </p:spPr>
      </p:pic>
    </p:spTree>
    <p:extLst>
      <p:ext uri="{BB962C8B-B14F-4D97-AF65-F5344CB8AC3E}">
        <p14:creationId xmlns:p14="http://schemas.microsoft.com/office/powerpoint/2010/main" val="16748054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8736916"/>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Sub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
        <p:nvSpPr>
          <p:cNvPr id="8" name="Text Placeholder 6">
            <a:extLst>
              <a:ext uri="{FF2B5EF4-FFF2-40B4-BE49-F238E27FC236}">
                <a16:creationId xmlns:a16="http://schemas.microsoft.com/office/drawing/2014/main" id="{B2E72ABD-7529-456D-97E2-F470CB60CC20}"/>
              </a:ext>
            </a:extLst>
          </p:cNvPr>
          <p:cNvSpPr>
            <a:spLocks noGrp="1"/>
          </p:cNvSpPr>
          <p:nvPr>
            <p:ph type="body" sz="quarter" idx="13" hasCustomPrompt="1"/>
          </p:nvPr>
        </p:nvSpPr>
        <p:spPr>
          <a:xfrm>
            <a:off x="604011" y="1234708"/>
            <a:ext cx="11081528" cy="460439"/>
          </a:xfrm>
        </p:spPr>
        <p:txBody>
          <a:bodyPr/>
          <a:lstStyle>
            <a:lvl1pPr marL="0" indent="0">
              <a:buNone/>
              <a:defRPr sz="2200" b="1">
                <a:solidFill>
                  <a:srgbClr val="615F61"/>
                </a:solidFill>
                <a:latin typeface="+mn-lt"/>
              </a:defRPr>
            </a:lvl1pPr>
          </a:lstStyle>
          <a:p>
            <a:pPr lvl="0"/>
            <a:r>
              <a:rPr lang="en-US"/>
              <a:t>Edit Master subtitle styles</a:t>
            </a:r>
          </a:p>
        </p:txBody>
      </p:sp>
    </p:spTree>
    <p:extLst>
      <p:ext uri="{BB962C8B-B14F-4D97-AF65-F5344CB8AC3E}">
        <p14:creationId xmlns:p14="http://schemas.microsoft.com/office/powerpoint/2010/main" val="2253783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216D4F13-D3A7-AA72-87F8-F7F1333C62F6}"/>
              </a:ext>
            </a:extLst>
          </p:cNvPr>
          <p:cNvSpPr>
            <a:spLocks noGrp="1"/>
          </p:cNvSpPr>
          <p:nvPr>
            <p:ph type="body" sz="quarter" idx="11"/>
          </p:nvPr>
        </p:nvSpPr>
        <p:spPr>
          <a:xfrm>
            <a:off x="592138" y="1435396"/>
            <a:ext cx="11103676" cy="2892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4946756"/>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6955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een">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059B3C6-F9F2-4BCB-DD5A-C4BB6AC4AAC2}"/>
              </a:ext>
            </a:extLst>
          </p:cNvPr>
          <p:cNvGrpSpPr/>
          <p:nvPr userDrawn="1"/>
        </p:nvGrpSpPr>
        <p:grpSpPr>
          <a:xfrm>
            <a:off x="0" y="0"/>
            <a:ext cx="12192000" cy="6858000"/>
            <a:chOff x="0" y="0"/>
            <a:chExt cx="12192000" cy="6858000"/>
          </a:xfrm>
        </p:grpSpPr>
        <p:sp>
          <p:nvSpPr>
            <p:cNvPr id="4" name="Rectangle 3">
              <a:extLst>
                <a:ext uri="{FF2B5EF4-FFF2-40B4-BE49-F238E27FC236}">
                  <a16:creationId xmlns:a16="http://schemas.microsoft.com/office/drawing/2014/main" id="{FB49B70C-8E0F-73EB-6EA7-3C2AD23895C0}"/>
                </a:ext>
              </a:extLst>
            </p:cNvPr>
            <p:cNvSpPr/>
            <p:nvPr userDrawn="1"/>
          </p:nvSpPr>
          <p:spPr>
            <a:xfrm>
              <a:off x="0" y="0"/>
              <a:ext cx="12192000"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2FB2C2DA-B2F2-06F8-E05E-71ACA460CE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1869"/>
              <a:ext cx="12192000" cy="6846131"/>
            </a:xfrm>
            <a:prstGeom prst="rect">
              <a:avLst/>
            </a:prstGeom>
          </p:spPr>
        </p:pic>
      </p:grpSp>
      <p:sp>
        <p:nvSpPr>
          <p:cNvPr id="2" name="Text Placeholder 4">
            <a:extLst>
              <a:ext uri="{FF2B5EF4-FFF2-40B4-BE49-F238E27FC236}">
                <a16:creationId xmlns:a16="http://schemas.microsoft.com/office/drawing/2014/main" id="{698E3625-E442-E8BA-879A-78544DB98DE9}"/>
              </a:ext>
            </a:extLst>
          </p:cNvPr>
          <p:cNvSpPr>
            <a:spLocks noGrp="1"/>
          </p:cNvSpPr>
          <p:nvPr>
            <p:ph type="body" sz="quarter" idx="10" hasCustomPrompt="1"/>
          </p:nvPr>
        </p:nvSpPr>
        <p:spPr>
          <a:xfrm>
            <a:off x="924719" y="1635543"/>
            <a:ext cx="10093909" cy="1142163"/>
          </a:xfrm>
        </p:spPr>
        <p:txBody>
          <a:bodyPr/>
          <a:lstStyle>
            <a:lvl1pPr marL="0" indent="0">
              <a:buNone/>
              <a:defRPr sz="4800" b="1">
                <a:solidFill>
                  <a:srgbClr val="FEFEFF"/>
                </a:solidFill>
              </a:defRPr>
            </a:lvl1pPr>
            <a:lvl2pPr marL="854075" indent="-396875">
              <a:defRPr sz="3200" b="1">
                <a:solidFill>
                  <a:srgbClr val="FEFEFF"/>
                </a:solidFill>
              </a:defRPr>
            </a:lvl2pPr>
            <a:lvl3pPr marL="1311275" indent="-341313">
              <a:defRPr sz="2400" b="1">
                <a:solidFill>
                  <a:srgbClr val="FEFEFF"/>
                </a:solidFill>
              </a:defRPr>
            </a:lvl3pPr>
            <a:lvl4pPr marL="1768475" indent="-303213">
              <a:defRPr sz="2000" b="1">
                <a:solidFill>
                  <a:srgbClr val="FEFEFF"/>
                </a:solidFill>
              </a:defRPr>
            </a:lvl4pPr>
            <a:lvl5pPr marL="2225675" indent="-219075">
              <a:defRPr sz="2000" b="1">
                <a:solidFill>
                  <a:srgbClr val="FEFEFF"/>
                </a:solidFill>
              </a:defRPr>
            </a:lvl5pPr>
          </a:lstStyle>
          <a:p>
            <a:pPr lvl="0"/>
            <a:r>
              <a:rPr lang="en-US"/>
              <a:t>Click to edit text</a:t>
            </a:r>
          </a:p>
        </p:txBody>
      </p:sp>
    </p:spTree>
    <p:extLst>
      <p:ext uri="{BB962C8B-B14F-4D97-AF65-F5344CB8AC3E}">
        <p14:creationId xmlns:p14="http://schemas.microsoft.com/office/powerpoint/2010/main" val="2444719834"/>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FB38E3C2-1007-2B39-F846-F020B150907A}"/>
              </a:ext>
            </a:extLst>
          </p:cNvPr>
          <p:cNvSpPr>
            <a:spLocks noGrp="1"/>
          </p:cNvSpPr>
          <p:nvPr>
            <p:ph type="body" sz="quarter" idx="10"/>
          </p:nvPr>
        </p:nvSpPr>
        <p:spPr>
          <a:xfrm>
            <a:off x="1046536" y="1949450"/>
            <a:ext cx="5710433" cy="4175125"/>
          </a:xfrm>
        </p:spPr>
        <p:txBody>
          <a:bodyPr anchor="t" anchorCtr="0"/>
          <a:lstStyle>
            <a:lvl1pPr marL="282575" indent="-282575">
              <a:lnSpc>
                <a:spcPct val="100000"/>
              </a:lnSpc>
              <a:buFont typeface="Arial" panose="020B0604020202020204" pitchFamily="34" charset="0"/>
              <a:buChar char="•"/>
              <a:defRPr sz="2400" b="0">
                <a:solidFill>
                  <a:schemeClr val="tx1"/>
                </a:solidFill>
                <a:latin typeface="+mn-lt"/>
                <a:ea typeface="Lato Light" panose="020F0502020204030203" pitchFamily="34" charset="0"/>
                <a:cs typeface="Lato Light" panose="020F0502020204030203" pitchFamily="34" charset="0"/>
              </a:defRPr>
            </a:lvl1pPr>
            <a:lvl2pPr marL="685800" indent="-339725">
              <a:defRPr sz="2000">
                <a:solidFill>
                  <a:schemeClr val="tx1"/>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a:p>
            <a:pPr lvl="1"/>
            <a:r>
              <a:rPr lang="en-US"/>
              <a:t>Second level</a:t>
            </a:r>
          </a:p>
        </p:txBody>
      </p:sp>
      <p:pic>
        <p:nvPicPr>
          <p:cNvPr id="7" name="Picture 6" descr="A green and yellow circles&#10;&#10;Description automatically generated">
            <a:extLst>
              <a:ext uri="{FF2B5EF4-FFF2-40B4-BE49-F238E27FC236}">
                <a16:creationId xmlns:a16="http://schemas.microsoft.com/office/drawing/2014/main" id="{4E8F1CE9-61A9-32A4-6663-EA522861CF65}"/>
              </a:ext>
            </a:extLst>
          </p:cNvPr>
          <p:cNvPicPr>
            <a:picLocks noChangeAspect="1"/>
          </p:cNvPicPr>
          <p:nvPr userDrawn="1"/>
        </p:nvPicPr>
        <p:blipFill rotWithShape="1">
          <a:blip r:embed="rId2"/>
          <a:srcRect t="2" r="14874" b="22875"/>
          <a:stretch/>
        </p:blipFill>
        <p:spPr>
          <a:xfrm>
            <a:off x="6619875" y="1809687"/>
            <a:ext cx="5572125" cy="5048313"/>
          </a:xfrm>
          <a:prstGeom prst="rect">
            <a:avLst/>
          </a:prstGeom>
        </p:spPr>
      </p:pic>
      <p:sp>
        <p:nvSpPr>
          <p:cNvPr id="2" name="TextBox 1">
            <a:extLst>
              <a:ext uri="{FF2B5EF4-FFF2-40B4-BE49-F238E27FC236}">
                <a16:creationId xmlns:a16="http://schemas.microsoft.com/office/drawing/2014/main" id="{7DD15DB3-78AA-EE36-4EB0-EFBD2E43111E}"/>
              </a:ext>
            </a:extLst>
          </p:cNvPr>
          <p:cNvSpPr txBox="1"/>
          <p:nvPr userDrawn="1"/>
        </p:nvSpPr>
        <p:spPr>
          <a:xfrm>
            <a:off x="1057523" y="842838"/>
            <a:ext cx="3172570" cy="615553"/>
          </a:xfrm>
          <a:prstGeom prst="rect">
            <a:avLst/>
          </a:prstGeom>
          <a:noFill/>
        </p:spPr>
        <p:txBody>
          <a:bodyPr wrap="square" lIns="0" tIns="0" rIns="0" bIns="0" rtlCol="0">
            <a:spAutoFit/>
          </a:bodyPr>
          <a:lstStyle/>
          <a:p>
            <a:pPr>
              <a:spcBef>
                <a:spcPts val="600"/>
              </a:spcBef>
            </a:pPr>
            <a:r>
              <a:rPr lang="en-US" sz="4000">
                <a:latin typeface="+mj-lt"/>
              </a:rPr>
              <a:t>Agenda</a:t>
            </a:r>
          </a:p>
        </p:txBody>
      </p:sp>
    </p:spTree>
    <p:extLst>
      <p:ext uri="{BB962C8B-B14F-4D97-AF65-F5344CB8AC3E}">
        <p14:creationId xmlns:p14="http://schemas.microsoft.com/office/powerpoint/2010/main" val="1276331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ee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64738B7-662E-CAA2-1535-092348BC60FC}"/>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8046A072-6B0B-064F-2927-0319DCE21885}"/>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EEFB27CD-298A-F4D5-C904-A00D0E3228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sp>
        <p:nvSpPr>
          <p:cNvPr id="2" name="Text Placeholder 4">
            <a:extLst>
              <a:ext uri="{FF2B5EF4-FFF2-40B4-BE49-F238E27FC236}">
                <a16:creationId xmlns:a16="http://schemas.microsoft.com/office/drawing/2014/main" id="{698E3625-E442-E8BA-879A-78544DB98DE9}"/>
              </a:ext>
            </a:extLst>
          </p:cNvPr>
          <p:cNvSpPr>
            <a:spLocks noGrp="1"/>
          </p:cNvSpPr>
          <p:nvPr>
            <p:ph type="body" sz="quarter" idx="10" hasCustomPrompt="1"/>
          </p:nvPr>
        </p:nvSpPr>
        <p:spPr>
          <a:xfrm>
            <a:off x="924719" y="1635543"/>
            <a:ext cx="10093909" cy="1142163"/>
          </a:xfrm>
        </p:spPr>
        <p:txBody>
          <a:bodyPr/>
          <a:lstStyle>
            <a:lvl1pPr marL="0" indent="0">
              <a:buNone/>
              <a:defRPr sz="4800" b="1">
                <a:solidFill>
                  <a:srgbClr val="FEFEFF"/>
                </a:solidFill>
              </a:defRPr>
            </a:lvl1pPr>
            <a:lvl2pPr marL="854075" indent="-396875">
              <a:defRPr sz="3200" b="1">
                <a:solidFill>
                  <a:srgbClr val="FEFEFF"/>
                </a:solidFill>
              </a:defRPr>
            </a:lvl2pPr>
            <a:lvl3pPr marL="1311275" indent="-341313">
              <a:defRPr sz="2400" b="1">
                <a:solidFill>
                  <a:srgbClr val="FEFEFF"/>
                </a:solidFill>
              </a:defRPr>
            </a:lvl3pPr>
            <a:lvl4pPr marL="1768475" indent="-303213">
              <a:defRPr sz="2000" b="1">
                <a:solidFill>
                  <a:srgbClr val="FEFEFF"/>
                </a:solidFill>
              </a:defRPr>
            </a:lvl4pPr>
            <a:lvl5pPr marL="2225675" indent="-219075">
              <a:defRPr sz="2000" b="1">
                <a:solidFill>
                  <a:srgbClr val="FEFEFF"/>
                </a:solidFill>
              </a:defRPr>
            </a:lvl5pPr>
          </a:lstStyle>
          <a:p>
            <a:pPr lvl="0"/>
            <a:r>
              <a:rPr lang="en-US"/>
              <a:t>Click to edit text</a:t>
            </a:r>
          </a:p>
        </p:txBody>
      </p:sp>
    </p:spTree>
    <p:extLst>
      <p:ext uri="{BB962C8B-B14F-4D97-AF65-F5344CB8AC3E}">
        <p14:creationId xmlns:p14="http://schemas.microsoft.com/office/powerpoint/2010/main" val="3904687145"/>
      </p:ext>
    </p:extLst>
  </p:cSld>
  <p:clrMapOvr>
    <a:masterClrMapping/>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rk_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C50C052-2364-2785-3A81-C96688A215FC}"/>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EEE391E4-C418-1A4A-116D-9A9ABC729F0C}"/>
                </a:ext>
              </a:extLst>
            </p:cNvPr>
            <p:cNvSpPr/>
            <p:nvPr userDrawn="1"/>
          </p:nvSpPr>
          <p:spPr>
            <a:xfrm>
              <a:off x="0" y="0"/>
              <a:ext cx="12192000"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6E649C53-C4B0-7E6E-00FE-223ABAC9CA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sp>
        <p:nvSpPr>
          <p:cNvPr id="2" name="Text Placeholder 4">
            <a:extLst>
              <a:ext uri="{FF2B5EF4-FFF2-40B4-BE49-F238E27FC236}">
                <a16:creationId xmlns:a16="http://schemas.microsoft.com/office/drawing/2014/main" id="{47200167-83D0-114B-63B1-247A10463B6C}"/>
              </a:ext>
            </a:extLst>
          </p:cNvPr>
          <p:cNvSpPr>
            <a:spLocks noGrp="1"/>
          </p:cNvSpPr>
          <p:nvPr>
            <p:ph type="body" sz="quarter" idx="10" hasCustomPrompt="1"/>
          </p:nvPr>
        </p:nvSpPr>
        <p:spPr>
          <a:xfrm>
            <a:off x="924719" y="1635543"/>
            <a:ext cx="10093909" cy="1142163"/>
          </a:xfrm>
        </p:spPr>
        <p:txBody>
          <a:bodyPr/>
          <a:lstStyle>
            <a:lvl1pPr marL="0" indent="0">
              <a:buNone/>
              <a:defRPr sz="4800" b="1">
                <a:solidFill>
                  <a:srgbClr val="FEFEFF"/>
                </a:solidFill>
              </a:defRPr>
            </a:lvl1pPr>
            <a:lvl2pPr marL="854075" indent="-396875">
              <a:defRPr sz="3200" b="1">
                <a:solidFill>
                  <a:srgbClr val="FEFEFF"/>
                </a:solidFill>
              </a:defRPr>
            </a:lvl2pPr>
            <a:lvl3pPr marL="1311275" indent="-341313">
              <a:defRPr sz="2400" b="1">
                <a:solidFill>
                  <a:srgbClr val="FEFEFF"/>
                </a:solidFill>
              </a:defRPr>
            </a:lvl3pPr>
            <a:lvl4pPr marL="1768475" indent="-303213">
              <a:defRPr sz="2000" b="1">
                <a:solidFill>
                  <a:srgbClr val="FEFEFF"/>
                </a:solidFill>
              </a:defRPr>
            </a:lvl4pPr>
            <a:lvl5pPr marL="2225675" indent="-219075">
              <a:defRPr sz="2000" b="1">
                <a:solidFill>
                  <a:srgbClr val="FEFEFF"/>
                </a:solidFill>
              </a:defRPr>
            </a:lvl5pPr>
          </a:lstStyle>
          <a:p>
            <a:pPr lvl="0"/>
            <a:r>
              <a:rPr lang="en-US"/>
              <a:t>Click to edit text</a:t>
            </a:r>
          </a:p>
        </p:txBody>
      </p:sp>
    </p:spTree>
    <p:extLst>
      <p:ext uri="{BB962C8B-B14F-4D97-AF65-F5344CB8AC3E}">
        <p14:creationId xmlns:p14="http://schemas.microsoft.com/office/powerpoint/2010/main" val="3308265437"/>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rang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DC2B25C-3052-56E7-AC19-9FD337999434}"/>
              </a:ext>
            </a:extLst>
          </p:cNvPr>
          <p:cNvGrpSpPr/>
          <p:nvPr userDrawn="1"/>
        </p:nvGrpSpPr>
        <p:grpSpPr>
          <a:xfrm>
            <a:off x="0" y="0"/>
            <a:ext cx="12192000" cy="6858000"/>
            <a:chOff x="0" y="0"/>
            <a:chExt cx="12192000" cy="6858000"/>
          </a:xfrm>
        </p:grpSpPr>
        <p:sp>
          <p:nvSpPr>
            <p:cNvPr id="4" name="Rectangle 3">
              <a:extLst>
                <a:ext uri="{FF2B5EF4-FFF2-40B4-BE49-F238E27FC236}">
                  <a16:creationId xmlns:a16="http://schemas.microsoft.com/office/drawing/2014/main" id="{C612F4E1-B994-AE16-4B8E-196F03BF382C}"/>
                </a:ext>
              </a:extLst>
            </p:cNvPr>
            <p:cNvSpPr/>
            <p:nvPr userDrawn="1"/>
          </p:nvSpPr>
          <p:spPr>
            <a:xfrm>
              <a:off x="0" y="0"/>
              <a:ext cx="12192000" cy="685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16DC0198-9A3D-2348-AFE9-56B80B0FB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1869"/>
              <a:ext cx="12192000" cy="6846131"/>
            </a:xfrm>
            <a:prstGeom prst="rect">
              <a:avLst/>
            </a:prstGeom>
          </p:spPr>
        </p:pic>
      </p:grpSp>
      <p:sp>
        <p:nvSpPr>
          <p:cNvPr id="2" name="Text Placeholder 4">
            <a:extLst>
              <a:ext uri="{FF2B5EF4-FFF2-40B4-BE49-F238E27FC236}">
                <a16:creationId xmlns:a16="http://schemas.microsoft.com/office/drawing/2014/main" id="{698E3625-E442-E8BA-879A-78544DB98DE9}"/>
              </a:ext>
            </a:extLst>
          </p:cNvPr>
          <p:cNvSpPr>
            <a:spLocks noGrp="1"/>
          </p:cNvSpPr>
          <p:nvPr>
            <p:ph type="body" sz="quarter" idx="10" hasCustomPrompt="1"/>
          </p:nvPr>
        </p:nvSpPr>
        <p:spPr>
          <a:xfrm>
            <a:off x="924719" y="1635543"/>
            <a:ext cx="10093909" cy="1142163"/>
          </a:xfrm>
        </p:spPr>
        <p:txBody>
          <a:bodyPr/>
          <a:lstStyle>
            <a:lvl1pPr marL="0" indent="0">
              <a:buNone/>
              <a:defRPr sz="4800" b="1">
                <a:solidFill>
                  <a:srgbClr val="FEFEFF"/>
                </a:solidFill>
              </a:defRPr>
            </a:lvl1pPr>
            <a:lvl2pPr marL="854075" indent="-396875">
              <a:defRPr sz="3200" b="1">
                <a:solidFill>
                  <a:srgbClr val="FEFEFF"/>
                </a:solidFill>
              </a:defRPr>
            </a:lvl2pPr>
            <a:lvl3pPr marL="1311275" indent="-341313">
              <a:defRPr sz="2400" b="1">
                <a:solidFill>
                  <a:srgbClr val="FEFEFF"/>
                </a:solidFill>
              </a:defRPr>
            </a:lvl3pPr>
            <a:lvl4pPr marL="1768475" indent="-303213">
              <a:defRPr sz="2000" b="1">
                <a:solidFill>
                  <a:srgbClr val="FEFEFF"/>
                </a:solidFill>
              </a:defRPr>
            </a:lvl4pPr>
            <a:lvl5pPr marL="2225675" indent="-219075">
              <a:defRPr sz="2000" b="1">
                <a:solidFill>
                  <a:srgbClr val="FEFEFF"/>
                </a:solidFill>
              </a:defRPr>
            </a:lvl5pPr>
          </a:lstStyle>
          <a:p>
            <a:pPr lvl="0"/>
            <a:r>
              <a:rPr lang="en-US"/>
              <a:t>Click to edit text</a:t>
            </a:r>
          </a:p>
        </p:txBody>
      </p:sp>
    </p:spTree>
    <p:extLst>
      <p:ext uri="{BB962C8B-B14F-4D97-AF65-F5344CB8AC3E}">
        <p14:creationId xmlns:p14="http://schemas.microsoft.com/office/powerpoint/2010/main" val="1018780286"/>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Ja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B68D4B3-3DCE-C45A-5F12-4F2CE0102553}"/>
              </a:ext>
            </a:extLst>
          </p:cNvPr>
          <p:cNvGrpSpPr/>
          <p:nvPr userDrawn="1"/>
        </p:nvGrpSpPr>
        <p:grpSpPr>
          <a:xfrm>
            <a:off x="0" y="0"/>
            <a:ext cx="12192000" cy="6858000"/>
            <a:chOff x="0" y="0"/>
            <a:chExt cx="12192000" cy="6858000"/>
          </a:xfrm>
        </p:grpSpPr>
        <p:sp>
          <p:nvSpPr>
            <p:cNvPr id="8" name="Rectangle 7">
              <a:extLst>
                <a:ext uri="{FF2B5EF4-FFF2-40B4-BE49-F238E27FC236}">
                  <a16:creationId xmlns:a16="http://schemas.microsoft.com/office/drawing/2014/main" id="{E18F0196-3271-D5A4-0A5D-25A991297FC2}"/>
                </a:ext>
              </a:extLst>
            </p:cNvPr>
            <p:cNvSpPr/>
            <p:nvPr userDrawn="1"/>
          </p:nvSpPr>
          <p:spPr>
            <a:xfrm>
              <a:off x="0" y="0"/>
              <a:ext cx="12192000" cy="685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C464421D-3CBB-4CEE-3041-6E5A5D0049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0"/>
              <a:ext cx="12192000" cy="6846131"/>
            </a:xfrm>
            <a:prstGeom prst="rect">
              <a:avLst/>
            </a:prstGeom>
          </p:spPr>
        </p:pic>
      </p:grpSp>
      <p:sp>
        <p:nvSpPr>
          <p:cNvPr id="2" name="Text Placeholder 4">
            <a:extLst>
              <a:ext uri="{FF2B5EF4-FFF2-40B4-BE49-F238E27FC236}">
                <a16:creationId xmlns:a16="http://schemas.microsoft.com/office/drawing/2014/main" id="{698E3625-E442-E8BA-879A-78544DB98DE9}"/>
              </a:ext>
            </a:extLst>
          </p:cNvPr>
          <p:cNvSpPr>
            <a:spLocks noGrp="1"/>
          </p:cNvSpPr>
          <p:nvPr>
            <p:ph type="body" sz="quarter" idx="10" hasCustomPrompt="1"/>
          </p:nvPr>
        </p:nvSpPr>
        <p:spPr>
          <a:xfrm>
            <a:off x="924719" y="1635543"/>
            <a:ext cx="10093909" cy="1142163"/>
          </a:xfrm>
        </p:spPr>
        <p:txBody>
          <a:bodyPr/>
          <a:lstStyle>
            <a:lvl1pPr marL="0" indent="0">
              <a:buNone/>
              <a:defRPr sz="4800" b="1">
                <a:solidFill>
                  <a:srgbClr val="FEFEFF"/>
                </a:solidFill>
              </a:defRPr>
            </a:lvl1pPr>
            <a:lvl2pPr marL="854075" indent="-396875">
              <a:defRPr sz="3200" b="1">
                <a:solidFill>
                  <a:srgbClr val="FEFEFF"/>
                </a:solidFill>
              </a:defRPr>
            </a:lvl2pPr>
            <a:lvl3pPr marL="1311275" indent="-341313">
              <a:defRPr sz="2400" b="1">
                <a:solidFill>
                  <a:srgbClr val="FEFEFF"/>
                </a:solidFill>
              </a:defRPr>
            </a:lvl3pPr>
            <a:lvl4pPr marL="1768475" indent="-303213">
              <a:defRPr sz="2000" b="1">
                <a:solidFill>
                  <a:srgbClr val="FEFEFF"/>
                </a:solidFill>
              </a:defRPr>
            </a:lvl4pPr>
            <a:lvl5pPr marL="2225675" indent="-219075">
              <a:defRPr sz="2000" b="1">
                <a:solidFill>
                  <a:srgbClr val="FEFEFF"/>
                </a:solidFill>
              </a:defRPr>
            </a:lvl5pPr>
          </a:lstStyle>
          <a:p>
            <a:pPr lvl="0"/>
            <a:r>
              <a:rPr lang="en-US"/>
              <a:t>Click to edit text</a:t>
            </a:r>
          </a:p>
        </p:txBody>
      </p:sp>
    </p:spTree>
    <p:extLst>
      <p:ext uri="{BB962C8B-B14F-4D97-AF65-F5344CB8AC3E}">
        <p14:creationId xmlns:p14="http://schemas.microsoft.com/office/powerpoint/2010/main" val="3699704683"/>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A0FFE2-0EF7-7F23-791E-D8644D298912}"/>
              </a:ext>
            </a:extLst>
          </p:cNvPr>
          <p:cNvSpPr/>
          <p:nvPr userDrawn="1"/>
        </p:nvSpPr>
        <p:spPr>
          <a:xfrm>
            <a:off x="0" y="0"/>
            <a:ext cx="12192000" cy="6858000"/>
          </a:xfrm>
          <a:prstGeom prst="rect">
            <a:avLst/>
          </a:prstGeom>
          <a:solidFill>
            <a:srgbClr val="2C6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60C2B015-A704-017D-54CE-C7ECE0C81A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0" y="11869"/>
            <a:ext cx="12192000" cy="6846131"/>
          </a:xfrm>
          <a:prstGeom prst="rect">
            <a:avLst/>
          </a:prstGeom>
        </p:spPr>
      </p:pic>
      <p:grpSp>
        <p:nvGrpSpPr>
          <p:cNvPr id="6" name="Graphic 25">
            <a:extLst>
              <a:ext uri="{FF2B5EF4-FFF2-40B4-BE49-F238E27FC236}">
                <a16:creationId xmlns:a16="http://schemas.microsoft.com/office/drawing/2014/main" id="{F1137EC0-50A2-9AEE-EB89-ACC65180EA94}"/>
              </a:ext>
            </a:extLst>
          </p:cNvPr>
          <p:cNvGrpSpPr/>
          <p:nvPr userDrawn="1"/>
        </p:nvGrpSpPr>
        <p:grpSpPr>
          <a:xfrm>
            <a:off x="6978456" y="-97"/>
            <a:ext cx="5216581" cy="6573277"/>
            <a:chOff x="6978456" y="-97"/>
            <a:chExt cx="5216581" cy="6573277"/>
          </a:xfrm>
          <a:solidFill>
            <a:srgbClr val="84B135"/>
          </a:solidFill>
        </p:grpSpPr>
        <p:sp>
          <p:nvSpPr>
            <p:cNvPr id="8" name="Freeform: Shape 7">
              <a:extLst>
                <a:ext uri="{FF2B5EF4-FFF2-40B4-BE49-F238E27FC236}">
                  <a16:creationId xmlns:a16="http://schemas.microsoft.com/office/drawing/2014/main" id="{6CFB2314-E293-F924-0AD2-8962B252E28E}"/>
                </a:ext>
              </a:extLst>
            </p:cNvPr>
            <p:cNvSpPr/>
            <p:nvPr/>
          </p:nvSpPr>
          <p:spPr>
            <a:xfrm>
              <a:off x="7821246" y="-97"/>
              <a:ext cx="4373594" cy="5730880"/>
            </a:xfrm>
            <a:custGeom>
              <a:avLst/>
              <a:gdLst>
                <a:gd name="connsiteX0" fmla="*/ 3346958 w 4373594"/>
                <a:gd name="connsiteY0" fmla="*/ 3895360 h 5730880"/>
                <a:gd name="connsiteX1" fmla="*/ 3227105 w 4373594"/>
                <a:gd name="connsiteY1" fmla="*/ 4521083 h 5730880"/>
                <a:gd name="connsiteX2" fmla="*/ 3121365 w 4373594"/>
                <a:gd name="connsiteY2" fmla="*/ 5072033 h 5730880"/>
                <a:gd name="connsiteX3" fmla="*/ 1674802 w 4373594"/>
                <a:gd name="connsiteY3" fmla="*/ 5582216 h 5730880"/>
                <a:gd name="connsiteX4" fmla="*/ 1164620 w 4373594"/>
                <a:gd name="connsiteY4" fmla="*/ 4135653 h 5730880"/>
                <a:gd name="connsiteX5" fmla="*/ 1694108 w 4373594"/>
                <a:gd name="connsiteY5" fmla="*/ 3616749 h 5730880"/>
                <a:gd name="connsiteX6" fmla="*/ 2399112 w 4373594"/>
                <a:gd name="connsiteY6" fmla="*/ 2926248 h 5730880"/>
                <a:gd name="connsiteX7" fmla="*/ 1720274 w 4373594"/>
                <a:gd name="connsiteY7" fmla="*/ 1001745 h 5730880"/>
                <a:gd name="connsiteX8" fmla="*/ 1097294 w 4373594"/>
                <a:gd name="connsiteY8" fmla="*/ 860039 h 5730880"/>
                <a:gd name="connsiteX9" fmla="*/ 984595 w 4373594"/>
                <a:gd name="connsiteY9" fmla="*/ 864547 h 5730880"/>
                <a:gd name="connsiteX10" fmla="*/ 539092 w 4373594"/>
                <a:gd name="connsiteY10" fmla="*/ 781150 h 5730880"/>
                <a:gd name="connsiteX11" fmla="*/ 92511 w 4373594"/>
                <a:gd name="connsiteY11" fmla="*/ 283315 h 5730880"/>
                <a:gd name="connsiteX12" fmla="*/ 42434 w 4373594"/>
                <a:gd name="connsiteY12" fmla="*/ 0 h 5730880"/>
                <a:gd name="connsiteX13" fmla="*/ 0 w 4373594"/>
                <a:gd name="connsiteY13" fmla="*/ 0 h 5730880"/>
                <a:gd name="connsiteX14" fmla="*/ 52527 w 4373594"/>
                <a:gd name="connsiteY14" fmla="*/ 297427 h 5730880"/>
                <a:gd name="connsiteX15" fmla="*/ 520766 w 4373594"/>
                <a:gd name="connsiteY15" fmla="*/ 819369 h 5730880"/>
                <a:gd name="connsiteX16" fmla="*/ 987927 w 4373594"/>
                <a:gd name="connsiteY16" fmla="*/ 906784 h 5730880"/>
                <a:gd name="connsiteX17" fmla="*/ 1702046 w 4373594"/>
                <a:gd name="connsiteY17" fmla="*/ 1040063 h 5730880"/>
                <a:gd name="connsiteX18" fmla="*/ 2360893 w 4373594"/>
                <a:gd name="connsiteY18" fmla="*/ 2907923 h 5730880"/>
                <a:gd name="connsiteX19" fmla="*/ 1676664 w 4373594"/>
                <a:gd name="connsiteY19" fmla="*/ 3578137 h 5730880"/>
                <a:gd name="connsiteX20" fmla="*/ 1126400 w 4373594"/>
                <a:gd name="connsiteY20" fmla="*/ 4117426 h 5730880"/>
                <a:gd name="connsiteX21" fmla="*/ 1656574 w 4373594"/>
                <a:gd name="connsiteY21" fmla="*/ 5620534 h 5730880"/>
                <a:gd name="connsiteX22" fmla="*/ 2141277 w 4373594"/>
                <a:gd name="connsiteY22" fmla="*/ 5730881 h 5730880"/>
                <a:gd name="connsiteX23" fmla="*/ 3159682 w 4373594"/>
                <a:gd name="connsiteY23" fmla="*/ 5090359 h 5730880"/>
                <a:gd name="connsiteX24" fmla="*/ 3269441 w 4373594"/>
                <a:gd name="connsiteY24" fmla="*/ 4517849 h 5730880"/>
                <a:gd name="connsiteX25" fmla="*/ 3385178 w 4373594"/>
                <a:gd name="connsiteY25" fmla="*/ 3913686 h 5730880"/>
                <a:gd name="connsiteX26" fmla="*/ 4373595 w 4373594"/>
                <a:gd name="connsiteY26" fmla="*/ 3240629 h 5730880"/>
                <a:gd name="connsiteX27" fmla="*/ 4373595 w 4373594"/>
                <a:gd name="connsiteY27" fmla="*/ 3198097 h 5730880"/>
                <a:gd name="connsiteX28" fmla="*/ 3346958 w 4373594"/>
                <a:gd name="connsiteY28" fmla="*/ 3895262 h 57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3594" h="5730880">
                  <a:moveTo>
                    <a:pt x="3346958" y="3895360"/>
                  </a:moveTo>
                  <a:cubicBezTo>
                    <a:pt x="3252193" y="4093416"/>
                    <a:pt x="3210740" y="4309798"/>
                    <a:pt x="3227105" y="4521083"/>
                  </a:cubicBezTo>
                  <a:cubicBezTo>
                    <a:pt x="3241511" y="4706693"/>
                    <a:pt x="3204958" y="4897203"/>
                    <a:pt x="3121365" y="5072033"/>
                  </a:cubicBezTo>
                  <a:cubicBezTo>
                    <a:pt x="2863236" y="5611517"/>
                    <a:pt x="2214286" y="5840443"/>
                    <a:pt x="1674802" y="5582216"/>
                  </a:cubicBezTo>
                  <a:cubicBezTo>
                    <a:pt x="1135318" y="5324087"/>
                    <a:pt x="906490" y="4675138"/>
                    <a:pt x="1164620" y="4135653"/>
                  </a:cubicBezTo>
                  <a:cubicBezTo>
                    <a:pt x="1274672" y="3905650"/>
                    <a:pt x="1462732" y="3721314"/>
                    <a:pt x="1694108" y="3616749"/>
                  </a:cubicBezTo>
                  <a:cubicBezTo>
                    <a:pt x="2002315" y="3477394"/>
                    <a:pt x="2252702" y="3232201"/>
                    <a:pt x="2399112" y="2926248"/>
                  </a:cubicBezTo>
                  <a:cubicBezTo>
                    <a:pt x="2742501" y="2208504"/>
                    <a:pt x="2438018" y="1345231"/>
                    <a:pt x="1720274" y="1001745"/>
                  </a:cubicBezTo>
                  <a:cubicBezTo>
                    <a:pt x="1524962" y="908254"/>
                    <a:pt x="1311716" y="860039"/>
                    <a:pt x="1097294" y="860039"/>
                  </a:cubicBezTo>
                  <a:cubicBezTo>
                    <a:pt x="1059761" y="860039"/>
                    <a:pt x="1022129" y="861509"/>
                    <a:pt x="984595" y="864547"/>
                  </a:cubicBezTo>
                  <a:cubicBezTo>
                    <a:pt x="832305" y="876601"/>
                    <a:pt x="678251" y="847691"/>
                    <a:pt x="539092" y="781150"/>
                  </a:cubicBezTo>
                  <a:cubicBezTo>
                    <a:pt x="328884" y="680505"/>
                    <a:pt x="170224" y="503715"/>
                    <a:pt x="92511" y="283315"/>
                  </a:cubicBezTo>
                  <a:cubicBezTo>
                    <a:pt x="59877" y="190804"/>
                    <a:pt x="43316" y="95255"/>
                    <a:pt x="42434" y="0"/>
                  </a:cubicBezTo>
                  <a:lnTo>
                    <a:pt x="0" y="0"/>
                  </a:lnTo>
                  <a:cubicBezTo>
                    <a:pt x="980" y="99959"/>
                    <a:pt x="18228" y="200212"/>
                    <a:pt x="52527" y="297427"/>
                  </a:cubicBezTo>
                  <a:cubicBezTo>
                    <a:pt x="134063" y="528508"/>
                    <a:pt x="300367" y="713922"/>
                    <a:pt x="520766" y="819369"/>
                  </a:cubicBezTo>
                  <a:cubicBezTo>
                    <a:pt x="666589" y="889144"/>
                    <a:pt x="828189" y="919426"/>
                    <a:pt x="987927" y="906784"/>
                  </a:cubicBezTo>
                  <a:cubicBezTo>
                    <a:pt x="1232337" y="887380"/>
                    <a:pt x="1479196" y="933440"/>
                    <a:pt x="1702046" y="1040063"/>
                  </a:cubicBezTo>
                  <a:cubicBezTo>
                    <a:pt x="2398720" y="1373357"/>
                    <a:pt x="2694187" y="2211346"/>
                    <a:pt x="2360893" y="2907923"/>
                  </a:cubicBezTo>
                  <a:cubicBezTo>
                    <a:pt x="2218794" y="3204958"/>
                    <a:pt x="1975757" y="3442899"/>
                    <a:pt x="1676664" y="3578137"/>
                  </a:cubicBezTo>
                  <a:cubicBezTo>
                    <a:pt x="1436175" y="3686818"/>
                    <a:pt x="1240765" y="3878308"/>
                    <a:pt x="1126400" y="4117426"/>
                  </a:cubicBezTo>
                  <a:cubicBezTo>
                    <a:pt x="858177" y="4677980"/>
                    <a:pt x="1096020" y="5352311"/>
                    <a:pt x="1656574" y="5620534"/>
                  </a:cubicBezTo>
                  <a:cubicBezTo>
                    <a:pt x="1813079" y="5695404"/>
                    <a:pt x="1978305" y="5730881"/>
                    <a:pt x="2141277" y="5730881"/>
                  </a:cubicBezTo>
                  <a:cubicBezTo>
                    <a:pt x="2561889" y="5730881"/>
                    <a:pt x="2966330" y="5494507"/>
                    <a:pt x="3159682" y="5090359"/>
                  </a:cubicBezTo>
                  <a:cubicBezTo>
                    <a:pt x="3246509" y="4908865"/>
                    <a:pt x="3284533" y="4710908"/>
                    <a:pt x="3269441" y="4517849"/>
                  </a:cubicBezTo>
                  <a:cubicBezTo>
                    <a:pt x="3253663" y="4313914"/>
                    <a:pt x="3293647" y="4104980"/>
                    <a:pt x="3385178" y="3913686"/>
                  </a:cubicBezTo>
                  <a:cubicBezTo>
                    <a:pt x="3575982" y="3514928"/>
                    <a:pt x="3961412" y="3270911"/>
                    <a:pt x="4373595" y="3240629"/>
                  </a:cubicBezTo>
                  <a:lnTo>
                    <a:pt x="4373595" y="3198097"/>
                  </a:lnTo>
                  <a:cubicBezTo>
                    <a:pt x="3945536" y="3228379"/>
                    <a:pt x="3545014" y="3481315"/>
                    <a:pt x="3346958" y="3895262"/>
                  </a:cubicBezTo>
                  <a:close/>
                </a:path>
              </a:pathLst>
            </a:custGeom>
            <a:solidFill>
              <a:srgbClr val="84B135"/>
            </a:solidFill>
            <a:ln w="979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B56CD21-3C49-C794-8475-BCF076F1CC74}"/>
                </a:ext>
              </a:extLst>
            </p:cNvPr>
            <p:cNvSpPr/>
            <p:nvPr/>
          </p:nvSpPr>
          <p:spPr>
            <a:xfrm>
              <a:off x="7715702" y="-97"/>
              <a:ext cx="4479139" cy="5836424"/>
            </a:xfrm>
            <a:custGeom>
              <a:avLst/>
              <a:gdLst>
                <a:gd name="connsiteX0" fmla="*/ 3547464 w 4479139"/>
                <a:gd name="connsiteY0" fmla="*/ 3940832 h 5836424"/>
                <a:gd name="connsiteX1" fmla="*/ 3437607 w 4479139"/>
                <a:gd name="connsiteY1" fmla="*/ 4513145 h 5836424"/>
                <a:gd name="connsiteX2" fmla="*/ 3321871 w 4479139"/>
                <a:gd name="connsiteY2" fmla="*/ 5117505 h 5836424"/>
                <a:gd name="connsiteX3" fmla="*/ 2644110 w 4479139"/>
                <a:gd name="connsiteY3" fmla="*/ 5725490 h 5836424"/>
                <a:gd name="connsiteX4" fmla="*/ 1734875 w 4479139"/>
                <a:gd name="connsiteY4" fmla="*/ 5677275 h 5836424"/>
                <a:gd name="connsiteX5" fmla="*/ 1126890 w 4479139"/>
                <a:gd name="connsiteY5" fmla="*/ 4999514 h 5836424"/>
                <a:gd name="connsiteX6" fmla="*/ 1175105 w 4479139"/>
                <a:gd name="connsiteY6" fmla="*/ 4090280 h 5836424"/>
                <a:gd name="connsiteX7" fmla="*/ 1755651 w 4479139"/>
                <a:gd name="connsiteY7" fmla="*/ 3521200 h 5836424"/>
                <a:gd name="connsiteX8" fmla="*/ 2409696 w 4479139"/>
                <a:gd name="connsiteY8" fmla="*/ 2880875 h 5836424"/>
                <a:gd name="connsiteX9" fmla="*/ 2463988 w 4479139"/>
                <a:gd name="connsiteY9" fmla="*/ 1858746 h 5836424"/>
                <a:gd name="connsiteX10" fmla="*/ 1780445 w 4479139"/>
                <a:gd name="connsiteY10" fmla="*/ 1096902 h 5836424"/>
                <a:gd name="connsiteX11" fmla="*/ 1202251 w 4479139"/>
                <a:gd name="connsiteY11" fmla="*/ 965486 h 5836424"/>
                <a:gd name="connsiteX12" fmla="*/ 1097588 w 4479139"/>
                <a:gd name="connsiteY12" fmla="*/ 969602 h 5836424"/>
                <a:gd name="connsiteX13" fmla="*/ 599166 w 4479139"/>
                <a:gd name="connsiteY13" fmla="*/ 876111 h 5836424"/>
                <a:gd name="connsiteX14" fmla="*/ 98783 w 4479139"/>
                <a:gd name="connsiteY14" fmla="*/ 318301 h 5836424"/>
                <a:gd name="connsiteX15" fmla="*/ 42433 w 4479139"/>
                <a:gd name="connsiteY15" fmla="*/ 0 h 5836424"/>
                <a:gd name="connsiteX16" fmla="*/ 0 w 4479139"/>
                <a:gd name="connsiteY16" fmla="*/ 0 h 5836424"/>
                <a:gd name="connsiteX17" fmla="*/ 58799 w 4479139"/>
                <a:gd name="connsiteY17" fmla="*/ 332412 h 5836424"/>
                <a:gd name="connsiteX18" fmla="*/ 580840 w 4479139"/>
                <a:gd name="connsiteY18" fmla="*/ 914330 h 5836424"/>
                <a:gd name="connsiteX19" fmla="*/ 1100822 w 4479139"/>
                <a:gd name="connsiteY19" fmla="*/ 1011839 h 5836424"/>
                <a:gd name="connsiteX20" fmla="*/ 1762021 w 4479139"/>
                <a:gd name="connsiteY20" fmla="*/ 1135024 h 5836424"/>
                <a:gd name="connsiteX21" fmla="*/ 2423906 w 4479139"/>
                <a:gd name="connsiteY21" fmla="*/ 1872760 h 5836424"/>
                <a:gd name="connsiteX22" fmla="*/ 2371379 w 4479139"/>
                <a:gd name="connsiteY22" fmla="*/ 2862451 h 5836424"/>
                <a:gd name="connsiteX23" fmla="*/ 1738109 w 4479139"/>
                <a:gd name="connsiteY23" fmla="*/ 3482491 h 5836424"/>
                <a:gd name="connsiteX24" fmla="*/ 1136886 w 4479139"/>
                <a:gd name="connsiteY24" fmla="*/ 4071856 h 5836424"/>
                <a:gd name="connsiteX25" fmla="*/ 1086906 w 4479139"/>
                <a:gd name="connsiteY25" fmla="*/ 5013528 h 5836424"/>
                <a:gd name="connsiteX26" fmla="*/ 1716648 w 4479139"/>
                <a:gd name="connsiteY26" fmla="*/ 5715397 h 5836424"/>
                <a:gd name="connsiteX27" fmla="*/ 2246626 w 4479139"/>
                <a:gd name="connsiteY27" fmla="*/ 5836425 h 5836424"/>
                <a:gd name="connsiteX28" fmla="*/ 2658319 w 4479139"/>
                <a:gd name="connsiteY28" fmla="*/ 5765376 h 5836424"/>
                <a:gd name="connsiteX29" fmla="*/ 3360188 w 4479139"/>
                <a:gd name="connsiteY29" fmla="*/ 5135635 h 5836424"/>
                <a:gd name="connsiteX30" fmla="*/ 3479943 w 4479139"/>
                <a:gd name="connsiteY30" fmla="*/ 4509618 h 5836424"/>
                <a:gd name="connsiteX31" fmla="*/ 3585684 w 4479139"/>
                <a:gd name="connsiteY31" fmla="*/ 3958961 h 5836424"/>
                <a:gd name="connsiteX32" fmla="*/ 4479140 w 4479139"/>
                <a:gd name="connsiteY32" fmla="*/ 3346076 h 5836424"/>
                <a:gd name="connsiteX33" fmla="*/ 4479140 w 4479139"/>
                <a:gd name="connsiteY33" fmla="*/ 3303544 h 5836424"/>
                <a:gd name="connsiteX34" fmla="*/ 3547464 w 4479139"/>
                <a:gd name="connsiteY34" fmla="*/ 3940636 h 583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79139" h="5836424">
                  <a:moveTo>
                    <a:pt x="3547464" y="3940832"/>
                  </a:moveTo>
                  <a:cubicBezTo>
                    <a:pt x="3460441" y="4122718"/>
                    <a:pt x="3422515" y="4320578"/>
                    <a:pt x="3437607" y="4513145"/>
                  </a:cubicBezTo>
                  <a:cubicBezTo>
                    <a:pt x="3453679" y="4716689"/>
                    <a:pt x="3413695" y="4925623"/>
                    <a:pt x="3321871" y="5117505"/>
                  </a:cubicBezTo>
                  <a:cubicBezTo>
                    <a:pt x="3184868" y="5403760"/>
                    <a:pt x="2944183" y="5619652"/>
                    <a:pt x="2644110" y="5725490"/>
                  </a:cubicBezTo>
                  <a:cubicBezTo>
                    <a:pt x="2344037" y="5831330"/>
                    <a:pt x="2021130" y="5814180"/>
                    <a:pt x="1734875" y="5677275"/>
                  </a:cubicBezTo>
                  <a:cubicBezTo>
                    <a:pt x="1448620" y="5540273"/>
                    <a:pt x="1232729" y="5299587"/>
                    <a:pt x="1126890" y="4999514"/>
                  </a:cubicBezTo>
                  <a:cubicBezTo>
                    <a:pt x="1021051" y="4699441"/>
                    <a:pt x="1038201" y="4376535"/>
                    <a:pt x="1175105" y="4090280"/>
                  </a:cubicBezTo>
                  <a:cubicBezTo>
                    <a:pt x="1295644" y="3838423"/>
                    <a:pt x="1501834" y="3636251"/>
                    <a:pt x="1755651" y="3521200"/>
                  </a:cubicBezTo>
                  <a:cubicBezTo>
                    <a:pt x="2041710" y="3391842"/>
                    <a:pt x="2273968" y="3164484"/>
                    <a:pt x="2409696" y="2880875"/>
                  </a:cubicBezTo>
                  <a:cubicBezTo>
                    <a:pt x="2563652" y="2559046"/>
                    <a:pt x="2582958" y="2196058"/>
                    <a:pt x="2463988" y="1858746"/>
                  </a:cubicBezTo>
                  <a:cubicBezTo>
                    <a:pt x="2345017" y="1521434"/>
                    <a:pt x="2102274" y="1250859"/>
                    <a:pt x="1780445" y="1096902"/>
                  </a:cubicBezTo>
                  <a:cubicBezTo>
                    <a:pt x="1599441" y="1010271"/>
                    <a:pt x="1401483" y="965486"/>
                    <a:pt x="1202251" y="965486"/>
                  </a:cubicBezTo>
                  <a:cubicBezTo>
                    <a:pt x="1167364" y="965486"/>
                    <a:pt x="1132476" y="966858"/>
                    <a:pt x="1097588" y="969602"/>
                  </a:cubicBezTo>
                  <a:cubicBezTo>
                    <a:pt x="926776" y="982733"/>
                    <a:pt x="754494" y="950492"/>
                    <a:pt x="599166" y="876111"/>
                  </a:cubicBezTo>
                  <a:cubicBezTo>
                    <a:pt x="363576" y="763412"/>
                    <a:pt x="185904" y="565258"/>
                    <a:pt x="98783" y="318301"/>
                  </a:cubicBezTo>
                  <a:cubicBezTo>
                    <a:pt x="62131" y="214324"/>
                    <a:pt x="43414" y="107015"/>
                    <a:pt x="42433" y="0"/>
                  </a:cubicBezTo>
                  <a:lnTo>
                    <a:pt x="0" y="0"/>
                  </a:lnTo>
                  <a:cubicBezTo>
                    <a:pt x="980" y="111719"/>
                    <a:pt x="20482" y="223830"/>
                    <a:pt x="58799" y="332412"/>
                  </a:cubicBezTo>
                  <a:cubicBezTo>
                    <a:pt x="149644" y="590052"/>
                    <a:pt x="335058" y="796731"/>
                    <a:pt x="580840" y="914330"/>
                  </a:cubicBezTo>
                  <a:cubicBezTo>
                    <a:pt x="742832" y="991847"/>
                    <a:pt x="922660" y="1025559"/>
                    <a:pt x="1100822" y="1011839"/>
                  </a:cubicBezTo>
                  <a:cubicBezTo>
                    <a:pt x="1327396" y="993905"/>
                    <a:pt x="1556027" y="1036535"/>
                    <a:pt x="1762021" y="1135024"/>
                  </a:cubicBezTo>
                  <a:cubicBezTo>
                    <a:pt x="2073560" y="1284080"/>
                    <a:pt x="2308659" y="1546129"/>
                    <a:pt x="2423906" y="1872760"/>
                  </a:cubicBezTo>
                  <a:cubicBezTo>
                    <a:pt x="2539153" y="2199390"/>
                    <a:pt x="2520435" y="2550913"/>
                    <a:pt x="2371379" y="2862451"/>
                  </a:cubicBezTo>
                  <a:cubicBezTo>
                    <a:pt x="2239962" y="3137044"/>
                    <a:pt x="2015054" y="3357248"/>
                    <a:pt x="1738109" y="3482491"/>
                  </a:cubicBezTo>
                  <a:cubicBezTo>
                    <a:pt x="1475178" y="3601657"/>
                    <a:pt x="1261638" y="3810983"/>
                    <a:pt x="1136886" y="4071856"/>
                  </a:cubicBezTo>
                  <a:cubicBezTo>
                    <a:pt x="994983" y="4368303"/>
                    <a:pt x="977245" y="4702773"/>
                    <a:pt x="1086906" y="5013528"/>
                  </a:cubicBezTo>
                  <a:cubicBezTo>
                    <a:pt x="1196567" y="5324283"/>
                    <a:pt x="1420201" y="5573592"/>
                    <a:pt x="1716648" y="5715397"/>
                  </a:cubicBezTo>
                  <a:cubicBezTo>
                    <a:pt x="1884814" y="5795853"/>
                    <a:pt x="2065230" y="5836425"/>
                    <a:pt x="2246626" y="5836425"/>
                  </a:cubicBezTo>
                  <a:cubicBezTo>
                    <a:pt x="2385001" y="5836425"/>
                    <a:pt x="2523865" y="5812808"/>
                    <a:pt x="2658319" y="5765376"/>
                  </a:cubicBezTo>
                  <a:cubicBezTo>
                    <a:pt x="2969074" y="5655715"/>
                    <a:pt x="3218384" y="5432081"/>
                    <a:pt x="3360188" y="5135635"/>
                  </a:cubicBezTo>
                  <a:cubicBezTo>
                    <a:pt x="3455247" y="4936991"/>
                    <a:pt x="3496603" y="4720609"/>
                    <a:pt x="3479943" y="4509618"/>
                  </a:cubicBezTo>
                  <a:cubicBezTo>
                    <a:pt x="3465341" y="4324497"/>
                    <a:pt x="3501895" y="4134085"/>
                    <a:pt x="3585684" y="3958961"/>
                  </a:cubicBezTo>
                  <a:cubicBezTo>
                    <a:pt x="3758456" y="3597933"/>
                    <a:pt x="4106254" y="3376064"/>
                    <a:pt x="4479140" y="3346076"/>
                  </a:cubicBezTo>
                  <a:lnTo>
                    <a:pt x="4479140" y="3303544"/>
                  </a:lnTo>
                  <a:cubicBezTo>
                    <a:pt x="4090476" y="3333630"/>
                    <a:pt x="3727488" y="3564418"/>
                    <a:pt x="3547464" y="3940636"/>
                  </a:cubicBezTo>
                  <a:close/>
                </a:path>
              </a:pathLst>
            </a:custGeom>
            <a:solidFill>
              <a:srgbClr val="84B135"/>
            </a:solidFill>
            <a:ln w="979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3E9EDB4A-D8F0-EF99-EC46-D6B33249E4AD}"/>
                </a:ext>
              </a:extLst>
            </p:cNvPr>
            <p:cNvSpPr/>
            <p:nvPr/>
          </p:nvSpPr>
          <p:spPr>
            <a:xfrm>
              <a:off x="7610451" y="0"/>
              <a:ext cx="4584390" cy="5941675"/>
            </a:xfrm>
            <a:custGeom>
              <a:avLst/>
              <a:gdLst>
                <a:gd name="connsiteX0" fmla="*/ 3747774 w 4584390"/>
                <a:gd name="connsiteY0" fmla="*/ 3986205 h 5941675"/>
                <a:gd name="connsiteX1" fmla="*/ 3648011 w 4584390"/>
                <a:gd name="connsiteY1" fmla="*/ 4505404 h 5941675"/>
                <a:gd name="connsiteX2" fmla="*/ 3522278 w 4584390"/>
                <a:gd name="connsiteY2" fmla="*/ 5162879 h 5941675"/>
                <a:gd name="connsiteX3" fmla="*/ 1794851 w 4584390"/>
                <a:gd name="connsiteY3" fmla="*/ 5772138 h 5941675"/>
                <a:gd name="connsiteX4" fmla="*/ 1185493 w 4584390"/>
                <a:gd name="connsiteY4" fmla="*/ 4044711 h 5941675"/>
                <a:gd name="connsiteX5" fmla="*/ 1820135 w 4584390"/>
                <a:gd name="connsiteY5" fmla="*/ 3424083 h 5941675"/>
                <a:gd name="connsiteX6" fmla="*/ 2419986 w 4584390"/>
                <a:gd name="connsiteY6" fmla="*/ 2835306 h 5941675"/>
                <a:gd name="connsiteX7" fmla="*/ 2469966 w 4584390"/>
                <a:gd name="connsiteY7" fmla="*/ 1893634 h 5941675"/>
                <a:gd name="connsiteX8" fmla="*/ 1840224 w 4584390"/>
                <a:gd name="connsiteY8" fmla="*/ 1191765 h 5941675"/>
                <a:gd name="connsiteX9" fmla="*/ 1309070 w 4584390"/>
                <a:gd name="connsiteY9" fmla="*/ 1070443 h 5941675"/>
                <a:gd name="connsiteX10" fmla="*/ 1212443 w 4584390"/>
                <a:gd name="connsiteY10" fmla="*/ 1074362 h 5941675"/>
                <a:gd name="connsiteX11" fmla="*/ 659043 w 4584390"/>
                <a:gd name="connsiteY11" fmla="*/ 971072 h 5941675"/>
                <a:gd name="connsiteX12" fmla="*/ 104859 w 4584390"/>
                <a:gd name="connsiteY12" fmla="*/ 353286 h 5941675"/>
                <a:gd name="connsiteX13" fmla="*/ 42434 w 4584390"/>
                <a:gd name="connsiteY13" fmla="*/ 0 h 5941675"/>
                <a:gd name="connsiteX14" fmla="*/ 0 w 4584390"/>
                <a:gd name="connsiteY14" fmla="*/ 0 h 5941675"/>
                <a:gd name="connsiteX15" fmla="*/ 64777 w 4584390"/>
                <a:gd name="connsiteY15" fmla="*/ 367398 h 5941675"/>
                <a:gd name="connsiteX16" fmla="*/ 640717 w 4584390"/>
                <a:gd name="connsiteY16" fmla="*/ 1009291 h 5941675"/>
                <a:gd name="connsiteX17" fmla="*/ 1215873 w 4584390"/>
                <a:gd name="connsiteY17" fmla="*/ 1116600 h 5941675"/>
                <a:gd name="connsiteX18" fmla="*/ 1821898 w 4584390"/>
                <a:gd name="connsiteY18" fmla="*/ 1229985 h 5941675"/>
                <a:gd name="connsiteX19" fmla="*/ 2429884 w 4584390"/>
                <a:gd name="connsiteY19" fmla="*/ 1907745 h 5941675"/>
                <a:gd name="connsiteX20" fmla="*/ 2381668 w 4584390"/>
                <a:gd name="connsiteY20" fmla="*/ 2816980 h 5941675"/>
                <a:gd name="connsiteX21" fmla="*/ 1802495 w 4584390"/>
                <a:gd name="connsiteY21" fmla="*/ 3385471 h 5941675"/>
                <a:gd name="connsiteX22" fmla="*/ 1147176 w 4584390"/>
                <a:gd name="connsiteY22" fmla="*/ 4026385 h 5941675"/>
                <a:gd name="connsiteX23" fmla="*/ 1776427 w 4584390"/>
                <a:gd name="connsiteY23" fmla="*/ 5810358 h 5941675"/>
                <a:gd name="connsiteX24" fmla="*/ 2351681 w 4584390"/>
                <a:gd name="connsiteY24" fmla="*/ 5941676 h 5941675"/>
                <a:gd name="connsiteX25" fmla="*/ 2798556 w 4584390"/>
                <a:gd name="connsiteY25" fmla="*/ 5864551 h 5941675"/>
                <a:gd name="connsiteX26" fmla="*/ 3560400 w 4584390"/>
                <a:gd name="connsiteY26" fmla="*/ 5181008 h 5941675"/>
                <a:gd name="connsiteX27" fmla="*/ 3690248 w 4584390"/>
                <a:gd name="connsiteY27" fmla="*/ 4501876 h 5941675"/>
                <a:gd name="connsiteX28" fmla="*/ 3785994 w 4584390"/>
                <a:gd name="connsiteY28" fmla="*/ 4004335 h 5941675"/>
                <a:gd name="connsiteX29" fmla="*/ 4584391 w 4584390"/>
                <a:gd name="connsiteY29" fmla="*/ 3451719 h 5941675"/>
                <a:gd name="connsiteX30" fmla="*/ 4584391 w 4584390"/>
                <a:gd name="connsiteY30" fmla="*/ 3409187 h 5941675"/>
                <a:gd name="connsiteX31" fmla="*/ 3747676 w 4584390"/>
                <a:gd name="connsiteY31" fmla="*/ 3986107 h 594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584390" h="5941675">
                  <a:moveTo>
                    <a:pt x="3747774" y="3986205"/>
                  </a:moveTo>
                  <a:cubicBezTo>
                    <a:pt x="3668689" y="4151431"/>
                    <a:pt x="3634193" y="4330966"/>
                    <a:pt x="3648011" y="4505404"/>
                  </a:cubicBezTo>
                  <a:cubicBezTo>
                    <a:pt x="3665357" y="4727175"/>
                    <a:pt x="3621943" y="4954533"/>
                    <a:pt x="3522278" y="5162879"/>
                  </a:cubicBezTo>
                  <a:cubicBezTo>
                    <a:pt x="3213974" y="5807124"/>
                    <a:pt x="2439096" y="6080443"/>
                    <a:pt x="1794851" y="5772138"/>
                  </a:cubicBezTo>
                  <a:cubicBezTo>
                    <a:pt x="1150606" y="5463833"/>
                    <a:pt x="877287" y="4688956"/>
                    <a:pt x="1185493" y="4044711"/>
                  </a:cubicBezTo>
                  <a:cubicBezTo>
                    <a:pt x="1316714" y="3770411"/>
                    <a:pt x="1542112" y="3550012"/>
                    <a:pt x="1820135" y="3424083"/>
                  </a:cubicBezTo>
                  <a:cubicBezTo>
                    <a:pt x="2082772" y="3303937"/>
                    <a:pt x="2295822" y="3094905"/>
                    <a:pt x="2419986" y="2835306"/>
                  </a:cubicBezTo>
                  <a:cubicBezTo>
                    <a:pt x="2561889" y="2538859"/>
                    <a:pt x="2579626" y="2204388"/>
                    <a:pt x="2469966" y="1893634"/>
                  </a:cubicBezTo>
                  <a:cubicBezTo>
                    <a:pt x="2360305" y="1582879"/>
                    <a:pt x="2136671" y="1333570"/>
                    <a:pt x="1840224" y="1191765"/>
                  </a:cubicBezTo>
                  <a:cubicBezTo>
                    <a:pt x="1673136" y="1111798"/>
                    <a:pt x="1491250" y="1070443"/>
                    <a:pt x="1309070" y="1070443"/>
                  </a:cubicBezTo>
                  <a:cubicBezTo>
                    <a:pt x="1276828" y="1070443"/>
                    <a:pt x="1244587" y="1071716"/>
                    <a:pt x="1212443" y="1074362"/>
                  </a:cubicBezTo>
                  <a:cubicBezTo>
                    <a:pt x="1023893" y="1089846"/>
                    <a:pt x="832501" y="1054077"/>
                    <a:pt x="659043" y="971072"/>
                  </a:cubicBezTo>
                  <a:cubicBezTo>
                    <a:pt x="398170" y="846221"/>
                    <a:pt x="201290" y="626801"/>
                    <a:pt x="104859" y="353286"/>
                  </a:cubicBezTo>
                  <a:cubicBezTo>
                    <a:pt x="64189" y="237843"/>
                    <a:pt x="43512" y="118775"/>
                    <a:pt x="42434" y="0"/>
                  </a:cubicBezTo>
                  <a:lnTo>
                    <a:pt x="0" y="0"/>
                  </a:lnTo>
                  <a:cubicBezTo>
                    <a:pt x="980" y="123479"/>
                    <a:pt x="22442" y="247349"/>
                    <a:pt x="64777" y="367398"/>
                  </a:cubicBezTo>
                  <a:cubicBezTo>
                    <a:pt x="165030" y="651595"/>
                    <a:pt x="369554" y="879541"/>
                    <a:pt x="640717" y="1009291"/>
                  </a:cubicBezTo>
                  <a:cubicBezTo>
                    <a:pt x="820937" y="1095530"/>
                    <a:pt x="1019875" y="1132672"/>
                    <a:pt x="1215873" y="1116600"/>
                  </a:cubicBezTo>
                  <a:cubicBezTo>
                    <a:pt x="1422455" y="1099940"/>
                    <a:pt x="1632075" y="1139140"/>
                    <a:pt x="1821898" y="1229985"/>
                  </a:cubicBezTo>
                  <a:cubicBezTo>
                    <a:pt x="2108153" y="1366987"/>
                    <a:pt x="2324045" y="1607673"/>
                    <a:pt x="2429884" y="1907745"/>
                  </a:cubicBezTo>
                  <a:cubicBezTo>
                    <a:pt x="2535723" y="2207818"/>
                    <a:pt x="2518573" y="2530725"/>
                    <a:pt x="2381668" y="2816980"/>
                  </a:cubicBezTo>
                  <a:cubicBezTo>
                    <a:pt x="2261718" y="3067563"/>
                    <a:pt x="2056018" y="3269539"/>
                    <a:pt x="1802495" y="3385471"/>
                  </a:cubicBezTo>
                  <a:cubicBezTo>
                    <a:pt x="1515456" y="3515516"/>
                    <a:pt x="1282708" y="3743168"/>
                    <a:pt x="1147176" y="4026385"/>
                  </a:cubicBezTo>
                  <a:cubicBezTo>
                    <a:pt x="828777" y="4691700"/>
                    <a:pt x="1111112" y="5492057"/>
                    <a:pt x="1776427" y="5810358"/>
                  </a:cubicBezTo>
                  <a:cubicBezTo>
                    <a:pt x="1958999" y="5897675"/>
                    <a:pt x="2154801" y="5941676"/>
                    <a:pt x="2351681" y="5941676"/>
                  </a:cubicBezTo>
                  <a:cubicBezTo>
                    <a:pt x="2501815" y="5941676"/>
                    <a:pt x="2652636" y="5916098"/>
                    <a:pt x="2798556" y="5864551"/>
                  </a:cubicBezTo>
                  <a:cubicBezTo>
                    <a:pt x="3135869" y="5745580"/>
                    <a:pt x="3406444" y="5502837"/>
                    <a:pt x="3560400" y="5181008"/>
                  </a:cubicBezTo>
                  <a:cubicBezTo>
                    <a:pt x="3663299" y="4965999"/>
                    <a:pt x="3708182" y="4731193"/>
                    <a:pt x="3690248" y="4501876"/>
                  </a:cubicBezTo>
                  <a:cubicBezTo>
                    <a:pt x="3677019" y="4334885"/>
                    <a:pt x="3710142" y="4162799"/>
                    <a:pt x="3785994" y="4004335"/>
                  </a:cubicBezTo>
                  <a:cubicBezTo>
                    <a:pt x="3940734" y="3681036"/>
                    <a:pt x="4250901" y="3481314"/>
                    <a:pt x="4584391" y="3451719"/>
                  </a:cubicBezTo>
                  <a:lnTo>
                    <a:pt x="4584391" y="3409187"/>
                  </a:lnTo>
                  <a:cubicBezTo>
                    <a:pt x="4235025" y="3438979"/>
                    <a:pt x="3909668" y="3647521"/>
                    <a:pt x="3747676" y="3986107"/>
                  </a:cubicBezTo>
                  <a:close/>
                </a:path>
              </a:pathLst>
            </a:custGeom>
            <a:solidFill>
              <a:srgbClr val="84B135"/>
            </a:solidFill>
            <a:ln w="979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B9F3740-B53F-3B88-C854-2F913F58B34A}"/>
                </a:ext>
              </a:extLst>
            </p:cNvPr>
            <p:cNvSpPr/>
            <p:nvPr/>
          </p:nvSpPr>
          <p:spPr>
            <a:xfrm>
              <a:off x="7508630" y="0"/>
              <a:ext cx="4686211" cy="6047220"/>
            </a:xfrm>
            <a:custGeom>
              <a:avLst/>
              <a:gdLst>
                <a:gd name="connsiteX0" fmla="*/ 3944556 w 4686211"/>
                <a:gd name="connsiteY0" fmla="*/ 4031677 h 6047220"/>
                <a:gd name="connsiteX1" fmla="*/ 3854789 w 4686211"/>
                <a:gd name="connsiteY1" fmla="*/ 4498054 h 6047220"/>
                <a:gd name="connsiteX2" fmla="*/ 3718962 w 4686211"/>
                <a:gd name="connsiteY2" fmla="*/ 5208350 h 6047220"/>
                <a:gd name="connsiteX3" fmla="*/ 2921251 w 4686211"/>
                <a:gd name="connsiteY3" fmla="*/ 5924036 h 6047220"/>
                <a:gd name="connsiteX4" fmla="*/ 1851102 w 4686211"/>
                <a:gd name="connsiteY4" fmla="*/ 5867197 h 6047220"/>
                <a:gd name="connsiteX5" fmla="*/ 1135416 w 4686211"/>
                <a:gd name="connsiteY5" fmla="*/ 5069485 h 6047220"/>
                <a:gd name="connsiteX6" fmla="*/ 1192255 w 4686211"/>
                <a:gd name="connsiteY6" fmla="*/ 3999337 h 6047220"/>
                <a:gd name="connsiteX7" fmla="*/ 1877072 w 4686211"/>
                <a:gd name="connsiteY7" fmla="*/ 3328828 h 6047220"/>
                <a:gd name="connsiteX8" fmla="*/ 2426748 w 4686211"/>
                <a:gd name="connsiteY8" fmla="*/ 2789834 h 6047220"/>
                <a:gd name="connsiteX9" fmla="*/ 1896574 w 4686211"/>
                <a:gd name="connsiteY9" fmla="*/ 1286726 h 6047220"/>
                <a:gd name="connsiteX10" fmla="*/ 1405991 w 4686211"/>
                <a:gd name="connsiteY10" fmla="*/ 1172851 h 6047220"/>
                <a:gd name="connsiteX11" fmla="*/ 1321614 w 4686211"/>
                <a:gd name="connsiteY11" fmla="*/ 1176281 h 6047220"/>
                <a:gd name="connsiteX12" fmla="*/ 718430 w 4686211"/>
                <a:gd name="connsiteY12" fmla="*/ 1059565 h 6047220"/>
                <a:gd name="connsiteX13" fmla="*/ 42434 w 4686211"/>
                <a:gd name="connsiteY13" fmla="*/ 0 h 6047220"/>
                <a:gd name="connsiteX14" fmla="*/ 0 w 4686211"/>
                <a:gd name="connsiteY14" fmla="*/ 0 h 6047220"/>
                <a:gd name="connsiteX15" fmla="*/ 700105 w 4686211"/>
                <a:gd name="connsiteY15" fmla="*/ 1097882 h 6047220"/>
                <a:gd name="connsiteX16" fmla="*/ 1324946 w 4686211"/>
                <a:gd name="connsiteY16" fmla="*/ 1218617 h 6047220"/>
                <a:gd name="connsiteX17" fmla="*/ 1878248 w 4686211"/>
                <a:gd name="connsiteY17" fmla="*/ 1325044 h 6047220"/>
                <a:gd name="connsiteX18" fmla="*/ 2388431 w 4686211"/>
                <a:gd name="connsiteY18" fmla="*/ 2771606 h 6047220"/>
                <a:gd name="connsiteX19" fmla="*/ 1859530 w 4686211"/>
                <a:gd name="connsiteY19" fmla="*/ 3290217 h 6047220"/>
                <a:gd name="connsiteX20" fmla="*/ 1153938 w 4686211"/>
                <a:gd name="connsiteY20" fmla="*/ 3981011 h 6047220"/>
                <a:gd name="connsiteX21" fmla="*/ 1832776 w 4686211"/>
                <a:gd name="connsiteY21" fmla="*/ 5905514 h 6047220"/>
                <a:gd name="connsiteX22" fmla="*/ 2453306 w 4686211"/>
                <a:gd name="connsiteY22" fmla="*/ 6047221 h 6047220"/>
                <a:gd name="connsiteX23" fmla="*/ 2935363 w 4686211"/>
                <a:gd name="connsiteY23" fmla="*/ 5964118 h 6047220"/>
                <a:gd name="connsiteX24" fmla="*/ 3757182 w 4686211"/>
                <a:gd name="connsiteY24" fmla="*/ 5226774 h 6047220"/>
                <a:gd name="connsiteX25" fmla="*/ 3897026 w 4686211"/>
                <a:gd name="connsiteY25" fmla="*/ 4494820 h 6047220"/>
                <a:gd name="connsiteX26" fmla="*/ 3982775 w 4686211"/>
                <a:gd name="connsiteY26" fmla="*/ 4050100 h 6047220"/>
                <a:gd name="connsiteX27" fmla="*/ 4480610 w 4686211"/>
                <a:gd name="connsiteY27" fmla="*/ 3603519 h 6047220"/>
                <a:gd name="connsiteX28" fmla="*/ 4686212 w 4686211"/>
                <a:gd name="connsiteY28" fmla="*/ 3557558 h 6047220"/>
                <a:gd name="connsiteX29" fmla="*/ 4686212 w 4686211"/>
                <a:gd name="connsiteY29" fmla="*/ 3514830 h 6047220"/>
                <a:gd name="connsiteX30" fmla="*/ 4466498 w 4686211"/>
                <a:gd name="connsiteY30" fmla="*/ 3563536 h 6047220"/>
                <a:gd name="connsiteX31" fmla="*/ 3944556 w 4686211"/>
                <a:gd name="connsiteY31" fmla="*/ 4031775 h 604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6211" h="6047220">
                  <a:moveTo>
                    <a:pt x="3944556" y="4031677"/>
                  </a:moveTo>
                  <a:cubicBezTo>
                    <a:pt x="3873212" y="4180733"/>
                    <a:pt x="3842147" y="4342039"/>
                    <a:pt x="3854789" y="4498054"/>
                  </a:cubicBezTo>
                  <a:cubicBezTo>
                    <a:pt x="3873604" y="4737759"/>
                    <a:pt x="3826663" y="4983345"/>
                    <a:pt x="3718962" y="5208350"/>
                  </a:cubicBezTo>
                  <a:cubicBezTo>
                    <a:pt x="3557754" y="5545270"/>
                    <a:pt x="3274439" y="5799382"/>
                    <a:pt x="2921251" y="5924036"/>
                  </a:cubicBezTo>
                  <a:cubicBezTo>
                    <a:pt x="2568062" y="6048593"/>
                    <a:pt x="2188023" y="6028405"/>
                    <a:pt x="1851102" y="5867197"/>
                  </a:cubicBezTo>
                  <a:cubicBezTo>
                    <a:pt x="1514182" y="5705989"/>
                    <a:pt x="1260070" y="5422674"/>
                    <a:pt x="1135416" y="5069485"/>
                  </a:cubicBezTo>
                  <a:cubicBezTo>
                    <a:pt x="1010859" y="4716297"/>
                    <a:pt x="1031047" y="4336258"/>
                    <a:pt x="1192255" y="3999337"/>
                  </a:cubicBezTo>
                  <a:cubicBezTo>
                    <a:pt x="1334256" y="3702596"/>
                    <a:pt x="1577489" y="3464459"/>
                    <a:pt x="1877072" y="3328828"/>
                  </a:cubicBezTo>
                  <a:cubicBezTo>
                    <a:pt x="2117464" y="3219559"/>
                    <a:pt x="2312677" y="3028167"/>
                    <a:pt x="2426748" y="2789834"/>
                  </a:cubicBezTo>
                  <a:cubicBezTo>
                    <a:pt x="2694971" y="2229280"/>
                    <a:pt x="2457128" y="1554949"/>
                    <a:pt x="1896574" y="1286726"/>
                  </a:cubicBezTo>
                  <a:cubicBezTo>
                    <a:pt x="1739775" y="1211659"/>
                    <a:pt x="1571805" y="1172851"/>
                    <a:pt x="1405991" y="1172851"/>
                  </a:cubicBezTo>
                  <a:cubicBezTo>
                    <a:pt x="1377767" y="1172851"/>
                    <a:pt x="1349642" y="1173929"/>
                    <a:pt x="1321614" y="1176281"/>
                  </a:cubicBezTo>
                  <a:cubicBezTo>
                    <a:pt x="1119246" y="1191961"/>
                    <a:pt x="910704" y="1151586"/>
                    <a:pt x="718430" y="1059565"/>
                  </a:cubicBezTo>
                  <a:cubicBezTo>
                    <a:pt x="296839" y="857883"/>
                    <a:pt x="48216" y="438545"/>
                    <a:pt x="42434" y="0"/>
                  </a:cubicBezTo>
                  <a:lnTo>
                    <a:pt x="0" y="0"/>
                  </a:lnTo>
                  <a:cubicBezTo>
                    <a:pt x="5782" y="454323"/>
                    <a:pt x="263323" y="888850"/>
                    <a:pt x="700105" y="1097882"/>
                  </a:cubicBezTo>
                  <a:cubicBezTo>
                    <a:pt x="899140" y="1193137"/>
                    <a:pt x="1115130" y="1234885"/>
                    <a:pt x="1324946" y="1218617"/>
                  </a:cubicBezTo>
                  <a:cubicBezTo>
                    <a:pt x="1510164" y="1203721"/>
                    <a:pt x="1701458" y="1240471"/>
                    <a:pt x="1878248" y="1325044"/>
                  </a:cubicBezTo>
                  <a:cubicBezTo>
                    <a:pt x="2417732" y="1583173"/>
                    <a:pt x="2646560" y="2232122"/>
                    <a:pt x="2388431" y="2771606"/>
                  </a:cubicBezTo>
                  <a:cubicBezTo>
                    <a:pt x="2278672" y="3000924"/>
                    <a:pt x="2090808" y="3185162"/>
                    <a:pt x="1859530" y="3290217"/>
                  </a:cubicBezTo>
                  <a:cubicBezTo>
                    <a:pt x="1550833" y="3429963"/>
                    <a:pt x="1300250" y="3675254"/>
                    <a:pt x="1153938" y="3981011"/>
                  </a:cubicBezTo>
                  <a:cubicBezTo>
                    <a:pt x="810549" y="4698756"/>
                    <a:pt x="1115032" y="5562028"/>
                    <a:pt x="1832776" y="5905514"/>
                  </a:cubicBezTo>
                  <a:cubicBezTo>
                    <a:pt x="2029754" y="5999789"/>
                    <a:pt x="2240942" y="6047221"/>
                    <a:pt x="2453306" y="6047221"/>
                  </a:cubicBezTo>
                  <a:cubicBezTo>
                    <a:pt x="2615298" y="6047221"/>
                    <a:pt x="2777878" y="6019585"/>
                    <a:pt x="2935363" y="5964118"/>
                  </a:cubicBezTo>
                  <a:cubicBezTo>
                    <a:pt x="3299233" y="5835739"/>
                    <a:pt x="3591171" y="5573886"/>
                    <a:pt x="3757182" y="5226774"/>
                  </a:cubicBezTo>
                  <a:cubicBezTo>
                    <a:pt x="3868117" y="4995006"/>
                    <a:pt x="3916430" y="4741875"/>
                    <a:pt x="3897026" y="4494820"/>
                  </a:cubicBezTo>
                  <a:cubicBezTo>
                    <a:pt x="3884972" y="4346253"/>
                    <a:pt x="3914666" y="4192493"/>
                    <a:pt x="3982775" y="4050100"/>
                  </a:cubicBezTo>
                  <a:cubicBezTo>
                    <a:pt x="4083420" y="3839893"/>
                    <a:pt x="4260211" y="3681233"/>
                    <a:pt x="4480610" y="3603519"/>
                  </a:cubicBezTo>
                  <a:cubicBezTo>
                    <a:pt x="4548033" y="3579705"/>
                    <a:pt x="4616926" y="3564516"/>
                    <a:pt x="4686212" y="3557558"/>
                  </a:cubicBezTo>
                  <a:lnTo>
                    <a:pt x="4686212" y="3514830"/>
                  </a:lnTo>
                  <a:cubicBezTo>
                    <a:pt x="4612223" y="3521886"/>
                    <a:pt x="4538527" y="3538056"/>
                    <a:pt x="4466498" y="3563536"/>
                  </a:cubicBezTo>
                  <a:cubicBezTo>
                    <a:pt x="4235417" y="3645071"/>
                    <a:pt x="4050003" y="3811375"/>
                    <a:pt x="3944556" y="4031775"/>
                  </a:cubicBezTo>
                  <a:close/>
                </a:path>
              </a:pathLst>
            </a:custGeom>
            <a:solidFill>
              <a:srgbClr val="84B135"/>
            </a:solidFill>
            <a:ln w="979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7F71E33B-C5D8-D045-6558-EE394A06891A}"/>
                </a:ext>
              </a:extLst>
            </p:cNvPr>
            <p:cNvSpPr/>
            <p:nvPr/>
          </p:nvSpPr>
          <p:spPr>
            <a:xfrm>
              <a:off x="7400145" y="0"/>
              <a:ext cx="4794696" cy="6152569"/>
            </a:xfrm>
            <a:custGeom>
              <a:avLst/>
              <a:gdLst>
                <a:gd name="connsiteX0" fmla="*/ 4148100 w 4794696"/>
                <a:gd name="connsiteY0" fmla="*/ 4077148 h 6152569"/>
                <a:gd name="connsiteX1" fmla="*/ 4068329 w 4794696"/>
                <a:gd name="connsiteY1" fmla="*/ 4489822 h 6152569"/>
                <a:gd name="connsiteX2" fmla="*/ 3922506 w 4794696"/>
                <a:gd name="connsiteY2" fmla="*/ 5253821 h 6152569"/>
                <a:gd name="connsiteX3" fmla="*/ 3064819 w 4794696"/>
                <a:gd name="connsiteY3" fmla="*/ 6023309 h 6152569"/>
                <a:gd name="connsiteX4" fmla="*/ 1914116 w 4794696"/>
                <a:gd name="connsiteY4" fmla="*/ 5962256 h 6152569"/>
                <a:gd name="connsiteX5" fmla="*/ 1144628 w 4794696"/>
                <a:gd name="connsiteY5" fmla="*/ 5104569 h 6152569"/>
                <a:gd name="connsiteX6" fmla="*/ 1205681 w 4794696"/>
                <a:gd name="connsiteY6" fmla="*/ 3953865 h 6152569"/>
                <a:gd name="connsiteX7" fmla="*/ 1942241 w 4794696"/>
                <a:gd name="connsiteY7" fmla="*/ 3232887 h 6152569"/>
                <a:gd name="connsiteX8" fmla="*/ 2440174 w 4794696"/>
                <a:gd name="connsiteY8" fmla="*/ 2744460 h 6152569"/>
                <a:gd name="connsiteX9" fmla="*/ 2481628 w 4794696"/>
                <a:gd name="connsiteY9" fmla="*/ 1963801 h 6152569"/>
                <a:gd name="connsiteX10" fmla="*/ 1959587 w 4794696"/>
                <a:gd name="connsiteY10" fmla="*/ 1381883 h 6152569"/>
                <a:gd name="connsiteX11" fmla="*/ 1517808 w 4794696"/>
                <a:gd name="connsiteY11" fmla="*/ 1281336 h 6152569"/>
                <a:gd name="connsiteX12" fmla="*/ 1438527 w 4794696"/>
                <a:gd name="connsiteY12" fmla="*/ 1284472 h 6152569"/>
                <a:gd name="connsiteX13" fmla="*/ 778308 w 4794696"/>
                <a:gd name="connsiteY13" fmla="*/ 1161190 h 6152569"/>
                <a:gd name="connsiteX14" fmla="*/ 42434 w 4794696"/>
                <a:gd name="connsiteY14" fmla="*/ 0 h 6152569"/>
                <a:gd name="connsiteX15" fmla="*/ 0 w 4794696"/>
                <a:gd name="connsiteY15" fmla="*/ 0 h 6152569"/>
                <a:gd name="connsiteX16" fmla="*/ 760080 w 4794696"/>
                <a:gd name="connsiteY16" fmla="*/ 1199311 h 6152569"/>
                <a:gd name="connsiteX17" fmla="*/ 1441957 w 4794696"/>
                <a:gd name="connsiteY17" fmla="*/ 1326612 h 6152569"/>
                <a:gd name="connsiteX18" fmla="*/ 1941261 w 4794696"/>
                <a:gd name="connsiteY18" fmla="*/ 1420005 h 6152569"/>
                <a:gd name="connsiteX19" fmla="*/ 2441644 w 4794696"/>
                <a:gd name="connsiteY19" fmla="*/ 1977815 h 6152569"/>
                <a:gd name="connsiteX20" fmla="*/ 2401954 w 4794696"/>
                <a:gd name="connsiteY20" fmla="*/ 2726135 h 6152569"/>
                <a:gd name="connsiteX21" fmla="*/ 1924797 w 4794696"/>
                <a:gd name="connsiteY21" fmla="*/ 3194276 h 6152569"/>
                <a:gd name="connsiteX22" fmla="*/ 1167462 w 4794696"/>
                <a:gd name="connsiteY22" fmla="*/ 3935638 h 6152569"/>
                <a:gd name="connsiteX23" fmla="*/ 1104644 w 4794696"/>
                <a:gd name="connsiteY23" fmla="*/ 5118681 h 6152569"/>
                <a:gd name="connsiteX24" fmla="*/ 1895790 w 4794696"/>
                <a:gd name="connsiteY24" fmla="*/ 6000573 h 6152569"/>
                <a:gd name="connsiteX25" fmla="*/ 2561595 w 4794696"/>
                <a:gd name="connsiteY25" fmla="*/ 6152570 h 6152569"/>
                <a:gd name="connsiteX26" fmla="*/ 3078833 w 4794696"/>
                <a:gd name="connsiteY26" fmla="*/ 6063390 h 6152569"/>
                <a:gd name="connsiteX27" fmla="*/ 3960726 w 4794696"/>
                <a:gd name="connsiteY27" fmla="*/ 5272245 h 6152569"/>
                <a:gd name="connsiteX28" fmla="*/ 4110566 w 4794696"/>
                <a:gd name="connsiteY28" fmla="*/ 4486588 h 6152569"/>
                <a:gd name="connsiteX29" fmla="*/ 4186319 w 4794696"/>
                <a:gd name="connsiteY29" fmla="*/ 4095572 h 6152569"/>
                <a:gd name="connsiteX30" fmla="*/ 4794697 w 4794696"/>
                <a:gd name="connsiteY30" fmla="*/ 3663788 h 6152569"/>
                <a:gd name="connsiteX31" fmla="*/ 4794697 w 4794696"/>
                <a:gd name="connsiteY31" fmla="*/ 3621061 h 6152569"/>
                <a:gd name="connsiteX32" fmla="*/ 4148001 w 4794696"/>
                <a:gd name="connsiteY32" fmla="*/ 4077246 h 615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94696" h="6152569">
                  <a:moveTo>
                    <a:pt x="4148100" y="4077148"/>
                  </a:moveTo>
                  <a:cubicBezTo>
                    <a:pt x="4084890" y="4209251"/>
                    <a:pt x="4057352" y="4351937"/>
                    <a:pt x="4068329" y="4489822"/>
                  </a:cubicBezTo>
                  <a:cubicBezTo>
                    <a:pt x="4088516" y="4748147"/>
                    <a:pt x="4038047" y="5012352"/>
                    <a:pt x="3922506" y="5253821"/>
                  </a:cubicBezTo>
                  <a:cubicBezTo>
                    <a:pt x="3749146" y="5616026"/>
                    <a:pt x="3444565" y="5889345"/>
                    <a:pt x="3064819" y="6023309"/>
                  </a:cubicBezTo>
                  <a:cubicBezTo>
                    <a:pt x="2685073" y="6157274"/>
                    <a:pt x="2276418" y="6135616"/>
                    <a:pt x="1914116" y="5962256"/>
                  </a:cubicBezTo>
                  <a:cubicBezTo>
                    <a:pt x="1551813" y="5788896"/>
                    <a:pt x="1278592" y="5484315"/>
                    <a:pt x="1144628" y="5104569"/>
                  </a:cubicBezTo>
                  <a:cubicBezTo>
                    <a:pt x="1010663" y="4724823"/>
                    <a:pt x="1032321" y="4316168"/>
                    <a:pt x="1205681" y="3953865"/>
                  </a:cubicBezTo>
                  <a:cubicBezTo>
                    <a:pt x="1358657" y="3634193"/>
                    <a:pt x="1620217" y="3378220"/>
                    <a:pt x="1942241" y="3232887"/>
                  </a:cubicBezTo>
                  <a:cubicBezTo>
                    <a:pt x="2159799" y="3134398"/>
                    <a:pt x="2336589" y="2960940"/>
                    <a:pt x="2440174" y="2744460"/>
                  </a:cubicBezTo>
                  <a:cubicBezTo>
                    <a:pt x="2557773" y="2498679"/>
                    <a:pt x="2572472" y="2221440"/>
                    <a:pt x="2481628" y="1963801"/>
                  </a:cubicBezTo>
                  <a:cubicBezTo>
                    <a:pt x="2390782" y="1706162"/>
                    <a:pt x="2205369" y="1499482"/>
                    <a:pt x="1959587" y="1381883"/>
                  </a:cubicBezTo>
                  <a:cubicBezTo>
                    <a:pt x="1821115" y="1315636"/>
                    <a:pt x="1669902" y="1281336"/>
                    <a:pt x="1517808" y="1281336"/>
                  </a:cubicBezTo>
                  <a:cubicBezTo>
                    <a:pt x="1491446" y="1281336"/>
                    <a:pt x="1464986" y="1282414"/>
                    <a:pt x="1438527" y="1284472"/>
                  </a:cubicBezTo>
                  <a:cubicBezTo>
                    <a:pt x="1212541" y="1302308"/>
                    <a:pt x="984204" y="1259678"/>
                    <a:pt x="778308" y="1161190"/>
                  </a:cubicBezTo>
                  <a:cubicBezTo>
                    <a:pt x="317027" y="940300"/>
                    <a:pt x="45864" y="480097"/>
                    <a:pt x="42434" y="0"/>
                  </a:cubicBezTo>
                  <a:lnTo>
                    <a:pt x="0" y="0"/>
                  </a:lnTo>
                  <a:cubicBezTo>
                    <a:pt x="3528" y="495875"/>
                    <a:pt x="283511" y="971268"/>
                    <a:pt x="760080" y="1199311"/>
                  </a:cubicBezTo>
                  <a:cubicBezTo>
                    <a:pt x="972640" y="1301034"/>
                    <a:pt x="1208523" y="1345036"/>
                    <a:pt x="1441957" y="1326612"/>
                  </a:cubicBezTo>
                  <a:cubicBezTo>
                    <a:pt x="1612867" y="1313186"/>
                    <a:pt x="1785541" y="1345427"/>
                    <a:pt x="1941261" y="1420005"/>
                  </a:cubicBezTo>
                  <a:cubicBezTo>
                    <a:pt x="2176851" y="1532703"/>
                    <a:pt x="2354523" y="1730857"/>
                    <a:pt x="2441644" y="1977815"/>
                  </a:cubicBezTo>
                  <a:cubicBezTo>
                    <a:pt x="2528765" y="2224772"/>
                    <a:pt x="2514653" y="2490545"/>
                    <a:pt x="2401954" y="2726135"/>
                  </a:cubicBezTo>
                  <a:cubicBezTo>
                    <a:pt x="2301211" y="2936636"/>
                    <a:pt x="2136181" y="3098531"/>
                    <a:pt x="1924797" y="3194276"/>
                  </a:cubicBezTo>
                  <a:cubicBezTo>
                    <a:pt x="1593659" y="3343724"/>
                    <a:pt x="1324750" y="3606949"/>
                    <a:pt x="1167462" y="3935638"/>
                  </a:cubicBezTo>
                  <a:cubicBezTo>
                    <a:pt x="989201" y="4308132"/>
                    <a:pt x="966956" y="4728253"/>
                    <a:pt x="1104644" y="5118681"/>
                  </a:cubicBezTo>
                  <a:cubicBezTo>
                    <a:pt x="1242333" y="5509109"/>
                    <a:pt x="1523296" y="5822313"/>
                    <a:pt x="1895790" y="6000573"/>
                  </a:cubicBezTo>
                  <a:cubicBezTo>
                    <a:pt x="2107076" y="6101708"/>
                    <a:pt x="2333747" y="6152570"/>
                    <a:pt x="2561595" y="6152570"/>
                  </a:cubicBezTo>
                  <a:cubicBezTo>
                    <a:pt x="2735347" y="6152570"/>
                    <a:pt x="2909883" y="6122974"/>
                    <a:pt x="3078833" y="6063390"/>
                  </a:cubicBezTo>
                  <a:cubicBezTo>
                    <a:pt x="3469261" y="5925702"/>
                    <a:pt x="3782466" y="5644739"/>
                    <a:pt x="3960726" y="5272245"/>
                  </a:cubicBezTo>
                  <a:cubicBezTo>
                    <a:pt x="4079500" y="5024014"/>
                    <a:pt x="4131244" y="4752361"/>
                    <a:pt x="4110566" y="4486588"/>
                  </a:cubicBezTo>
                  <a:cubicBezTo>
                    <a:pt x="4100178" y="4356151"/>
                    <a:pt x="4126344" y="4220913"/>
                    <a:pt x="4186319" y="4095572"/>
                  </a:cubicBezTo>
                  <a:cubicBezTo>
                    <a:pt x="4304898" y="3847733"/>
                    <a:pt x="4539900" y="3692502"/>
                    <a:pt x="4794697" y="3663788"/>
                  </a:cubicBezTo>
                  <a:lnTo>
                    <a:pt x="4794697" y="3621061"/>
                  </a:lnTo>
                  <a:cubicBezTo>
                    <a:pt x="4524024" y="3650069"/>
                    <a:pt x="4273930" y="3814217"/>
                    <a:pt x="4148001" y="4077246"/>
                  </a:cubicBezTo>
                  <a:close/>
                </a:path>
              </a:pathLst>
            </a:custGeom>
            <a:solidFill>
              <a:srgbClr val="84B135"/>
            </a:solidFill>
            <a:ln w="979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E8556DDF-BED4-B221-83D8-FED9D4DED253}"/>
                </a:ext>
              </a:extLst>
            </p:cNvPr>
            <p:cNvSpPr/>
            <p:nvPr/>
          </p:nvSpPr>
          <p:spPr>
            <a:xfrm>
              <a:off x="7294796" y="0"/>
              <a:ext cx="4900143" cy="6257918"/>
            </a:xfrm>
            <a:custGeom>
              <a:avLst/>
              <a:gdLst>
                <a:gd name="connsiteX0" fmla="*/ 4348410 w 4900143"/>
                <a:gd name="connsiteY0" fmla="*/ 4122620 h 6257918"/>
                <a:gd name="connsiteX1" fmla="*/ 4278634 w 4900143"/>
                <a:gd name="connsiteY1" fmla="*/ 4482178 h 6257918"/>
                <a:gd name="connsiteX2" fmla="*/ 4122816 w 4900143"/>
                <a:gd name="connsiteY2" fmla="*/ 5299293 h 6257918"/>
                <a:gd name="connsiteX3" fmla="*/ 3205154 w 4900143"/>
                <a:gd name="connsiteY3" fmla="*/ 6122582 h 6257918"/>
                <a:gd name="connsiteX4" fmla="*/ 1973993 w 4900143"/>
                <a:gd name="connsiteY4" fmla="*/ 6057217 h 6257918"/>
                <a:gd name="connsiteX5" fmla="*/ 1216069 w 4900143"/>
                <a:gd name="connsiteY5" fmla="*/ 3908394 h 6257918"/>
                <a:gd name="connsiteX6" fmla="*/ 2003001 w 4900143"/>
                <a:gd name="connsiteY6" fmla="*/ 3137534 h 6257918"/>
                <a:gd name="connsiteX7" fmla="*/ 2450562 w 4900143"/>
                <a:gd name="connsiteY7" fmla="*/ 2698989 h 6257918"/>
                <a:gd name="connsiteX8" fmla="*/ 2487703 w 4900143"/>
                <a:gd name="connsiteY8" fmla="*/ 1998787 h 6257918"/>
                <a:gd name="connsiteX9" fmla="*/ 2019464 w 4900143"/>
                <a:gd name="connsiteY9" fmla="*/ 1476844 h 6257918"/>
                <a:gd name="connsiteX10" fmla="*/ 1623647 w 4900143"/>
                <a:gd name="connsiteY10" fmla="*/ 1386587 h 6257918"/>
                <a:gd name="connsiteX11" fmla="*/ 1551323 w 4900143"/>
                <a:gd name="connsiteY11" fmla="*/ 1389527 h 6257918"/>
                <a:gd name="connsiteX12" fmla="*/ 838283 w 4900143"/>
                <a:gd name="connsiteY12" fmla="*/ 1256150 h 6257918"/>
                <a:gd name="connsiteX13" fmla="*/ 42434 w 4900143"/>
                <a:gd name="connsiteY13" fmla="*/ 0 h 6257918"/>
                <a:gd name="connsiteX14" fmla="*/ 0 w 4900143"/>
                <a:gd name="connsiteY14" fmla="*/ 0 h 6257918"/>
                <a:gd name="connsiteX15" fmla="*/ 819957 w 4900143"/>
                <a:gd name="connsiteY15" fmla="*/ 1294370 h 6257918"/>
                <a:gd name="connsiteX16" fmla="*/ 1554753 w 4900143"/>
                <a:gd name="connsiteY16" fmla="*/ 1431765 h 6257918"/>
                <a:gd name="connsiteX17" fmla="*/ 2001237 w 4900143"/>
                <a:gd name="connsiteY17" fmla="*/ 1515064 h 6257918"/>
                <a:gd name="connsiteX18" fmla="*/ 2412342 w 4900143"/>
                <a:gd name="connsiteY18" fmla="*/ 2680663 h 6257918"/>
                <a:gd name="connsiteX19" fmla="*/ 1985557 w 4900143"/>
                <a:gd name="connsiteY19" fmla="*/ 3098923 h 6257918"/>
                <a:gd name="connsiteX20" fmla="*/ 1177849 w 4900143"/>
                <a:gd name="connsiteY20" fmla="*/ 3890166 h 6257918"/>
                <a:gd name="connsiteX21" fmla="*/ 1955765 w 4900143"/>
                <a:gd name="connsiteY21" fmla="*/ 6095534 h 6257918"/>
                <a:gd name="connsiteX22" fmla="*/ 2666846 w 4900143"/>
                <a:gd name="connsiteY22" fmla="*/ 6257919 h 6257918"/>
                <a:gd name="connsiteX23" fmla="*/ 3219266 w 4900143"/>
                <a:gd name="connsiteY23" fmla="*/ 6162663 h 6257918"/>
                <a:gd name="connsiteX24" fmla="*/ 4161134 w 4900143"/>
                <a:gd name="connsiteY24" fmla="*/ 5317717 h 6257918"/>
                <a:gd name="connsiteX25" fmla="*/ 4320970 w 4900143"/>
                <a:gd name="connsiteY25" fmla="*/ 4478944 h 6257918"/>
                <a:gd name="connsiteX26" fmla="*/ 4386727 w 4900143"/>
                <a:gd name="connsiteY26" fmla="*/ 4141043 h 6257918"/>
                <a:gd name="connsiteX27" fmla="*/ 4900144 w 4900143"/>
                <a:gd name="connsiteY27" fmla="*/ 3769823 h 6257918"/>
                <a:gd name="connsiteX28" fmla="*/ 4900144 w 4900143"/>
                <a:gd name="connsiteY28" fmla="*/ 3727096 h 6257918"/>
                <a:gd name="connsiteX29" fmla="*/ 4348508 w 4900143"/>
                <a:gd name="connsiteY29" fmla="*/ 4122718 h 625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00143" h="6257918">
                  <a:moveTo>
                    <a:pt x="4348410" y="4122620"/>
                  </a:moveTo>
                  <a:cubicBezTo>
                    <a:pt x="4293334" y="4237768"/>
                    <a:pt x="4269227" y="4362129"/>
                    <a:pt x="4278634" y="4482178"/>
                  </a:cubicBezTo>
                  <a:cubicBezTo>
                    <a:pt x="4299998" y="4759123"/>
                    <a:pt x="4246099" y="5041654"/>
                    <a:pt x="4122816" y="5299293"/>
                  </a:cubicBezTo>
                  <a:cubicBezTo>
                    <a:pt x="3937402" y="5686879"/>
                    <a:pt x="3611457" y="5979210"/>
                    <a:pt x="3205154" y="6122582"/>
                  </a:cubicBezTo>
                  <a:cubicBezTo>
                    <a:pt x="2798850" y="6265857"/>
                    <a:pt x="2361579" y="6242729"/>
                    <a:pt x="1973993" y="6057217"/>
                  </a:cubicBezTo>
                  <a:cubicBezTo>
                    <a:pt x="1172557" y="5673747"/>
                    <a:pt x="832599" y="4709829"/>
                    <a:pt x="1216069" y="3908394"/>
                  </a:cubicBezTo>
                  <a:cubicBezTo>
                    <a:pt x="1379433" y="3566868"/>
                    <a:pt x="1658926" y="3293157"/>
                    <a:pt x="2003001" y="3137534"/>
                  </a:cubicBezTo>
                  <a:cubicBezTo>
                    <a:pt x="2198508" y="3049237"/>
                    <a:pt x="2357463" y="2893517"/>
                    <a:pt x="2450562" y="2698989"/>
                  </a:cubicBezTo>
                  <a:cubicBezTo>
                    <a:pt x="2556009" y="2478491"/>
                    <a:pt x="2569239" y="2229868"/>
                    <a:pt x="2487703" y="1998787"/>
                  </a:cubicBezTo>
                  <a:cubicBezTo>
                    <a:pt x="2406168" y="1767705"/>
                    <a:pt x="2239864" y="1582291"/>
                    <a:pt x="2019464" y="1476844"/>
                  </a:cubicBezTo>
                  <a:cubicBezTo>
                    <a:pt x="1895104" y="1417359"/>
                    <a:pt x="1759571" y="1386587"/>
                    <a:pt x="1623647" y="1386587"/>
                  </a:cubicBezTo>
                  <a:cubicBezTo>
                    <a:pt x="1599539" y="1386587"/>
                    <a:pt x="1575431" y="1387567"/>
                    <a:pt x="1551323" y="1389527"/>
                  </a:cubicBezTo>
                  <a:cubicBezTo>
                    <a:pt x="1307502" y="1408833"/>
                    <a:pt x="1060937" y="1362773"/>
                    <a:pt x="838283" y="1256150"/>
                  </a:cubicBezTo>
                  <a:cubicBezTo>
                    <a:pt x="339174" y="1017229"/>
                    <a:pt x="45962" y="519394"/>
                    <a:pt x="42434" y="0"/>
                  </a:cubicBezTo>
                  <a:lnTo>
                    <a:pt x="0" y="0"/>
                  </a:lnTo>
                  <a:cubicBezTo>
                    <a:pt x="3528" y="535172"/>
                    <a:pt x="305659" y="1048197"/>
                    <a:pt x="819957" y="1294370"/>
                  </a:cubicBezTo>
                  <a:cubicBezTo>
                    <a:pt x="1049373" y="1404129"/>
                    <a:pt x="1303386" y="1451658"/>
                    <a:pt x="1554753" y="1431765"/>
                  </a:cubicBezTo>
                  <a:cubicBezTo>
                    <a:pt x="1707142" y="1419417"/>
                    <a:pt x="1861490" y="1448228"/>
                    <a:pt x="2001237" y="1515064"/>
                  </a:cubicBezTo>
                  <a:cubicBezTo>
                    <a:pt x="2435960" y="1723115"/>
                    <a:pt x="2620394" y="2245940"/>
                    <a:pt x="2412342" y="2680663"/>
                  </a:cubicBezTo>
                  <a:cubicBezTo>
                    <a:pt x="2323555" y="2866175"/>
                    <a:pt x="2172049" y="3014742"/>
                    <a:pt x="1985557" y="3098923"/>
                  </a:cubicBezTo>
                  <a:cubicBezTo>
                    <a:pt x="1632369" y="3258661"/>
                    <a:pt x="1345526" y="3539624"/>
                    <a:pt x="1177849" y="3890166"/>
                  </a:cubicBezTo>
                  <a:cubicBezTo>
                    <a:pt x="784286" y="4712672"/>
                    <a:pt x="1133260" y="5701971"/>
                    <a:pt x="1955765" y="6095534"/>
                  </a:cubicBezTo>
                  <a:cubicBezTo>
                    <a:pt x="2181457" y="6203529"/>
                    <a:pt x="2423514" y="6257919"/>
                    <a:pt x="2666846" y="6257919"/>
                  </a:cubicBezTo>
                  <a:cubicBezTo>
                    <a:pt x="2852456" y="6257919"/>
                    <a:pt x="3038849" y="6226265"/>
                    <a:pt x="3219266" y="6162663"/>
                  </a:cubicBezTo>
                  <a:cubicBezTo>
                    <a:pt x="3636251" y="6015568"/>
                    <a:pt x="3970721" y="5715494"/>
                    <a:pt x="4161134" y="5317717"/>
                  </a:cubicBezTo>
                  <a:cubicBezTo>
                    <a:pt x="4287650" y="5053316"/>
                    <a:pt x="4342922" y="4763337"/>
                    <a:pt x="4320970" y="4478944"/>
                  </a:cubicBezTo>
                  <a:cubicBezTo>
                    <a:pt x="4312052" y="4366343"/>
                    <a:pt x="4334788" y="4249430"/>
                    <a:pt x="4386727" y="4141043"/>
                  </a:cubicBezTo>
                  <a:cubicBezTo>
                    <a:pt x="4487274" y="3930934"/>
                    <a:pt x="4684742" y="3798047"/>
                    <a:pt x="4900144" y="3769823"/>
                  </a:cubicBezTo>
                  <a:lnTo>
                    <a:pt x="4900144" y="3727096"/>
                  </a:lnTo>
                  <a:cubicBezTo>
                    <a:pt x="4668866" y="3755516"/>
                    <a:pt x="4456306" y="3897418"/>
                    <a:pt x="4348508" y="4122718"/>
                  </a:cubicBezTo>
                  <a:close/>
                </a:path>
              </a:pathLst>
            </a:custGeom>
            <a:solidFill>
              <a:srgbClr val="84B135"/>
            </a:solidFill>
            <a:ln w="979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C2BC4BD-5981-9410-AB6E-DD79039F26EC}"/>
                </a:ext>
              </a:extLst>
            </p:cNvPr>
            <p:cNvSpPr/>
            <p:nvPr/>
          </p:nvSpPr>
          <p:spPr>
            <a:xfrm>
              <a:off x="7189153" y="0"/>
              <a:ext cx="5005884" cy="6362777"/>
            </a:xfrm>
            <a:custGeom>
              <a:avLst/>
              <a:gdLst>
                <a:gd name="connsiteX0" fmla="*/ 4549013 w 5005884"/>
                <a:gd name="connsiteY0" fmla="*/ 4168091 h 6362777"/>
                <a:gd name="connsiteX1" fmla="*/ 4489136 w 5005884"/>
                <a:gd name="connsiteY1" fmla="*/ 4472770 h 6362777"/>
                <a:gd name="connsiteX2" fmla="*/ 4323420 w 5005884"/>
                <a:gd name="connsiteY2" fmla="*/ 5344765 h 6362777"/>
                <a:gd name="connsiteX3" fmla="*/ 2034164 w 5005884"/>
                <a:gd name="connsiteY3" fmla="*/ 6152276 h 6362777"/>
                <a:gd name="connsiteX4" fmla="*/ 1157074 w 5005884"/>
                <a:gd name="connsiteY4" fmla="*/ 5174639 h 6362777"/>
                <a:gd name="connsiteX5" fmla="*/ 1226653 w 5005884"/>
                <a:gd name="connsiteY5" fmla="*/ 3863020 h 6362777"/>
                <a:gd name="connsiteX6" fmla="*/ 2063760 w 5005884"/>
                <a:gd name="connsiteY6" fmla="*/ 3042377 h 6362777"/>
                <a:gd name="connsiteX7" fmla="*/ 2461244 w 5005884"/>
                <a:gd name="connsiteY7" fmla="*/ 2653615 h 6362777"/>
                <a:gd name="connsiteX8" fmla="*/ 2079734 w 5005884"/>
                <a:gd name="connsiteY8" fmla="*/ 1571903 h 6362777"/>
                <a:gd name="connsiteX9" fmla="*/ 1728506 w 5005884"/>
                <a:gd name="connsiteY9" fmla="*/ 1492034 h 6362777"/>
                <a:gd name="connsiteX10" fmla="*/ 1665982 w 5005884"/>
                <a:gd name="connsiteY10" fmla="*/ 1494484 h 6362777"/>
                <a:gd name="connsiteX11" fmla="*/ 898552 w 5005884"/>
                <a:gd name="connsiteY11" fmla="*/ 1351210 h 6362777"/>
                <a:gd name="connsiteX12" fmla="*/ 129065 w 5005884"/>
                <a:gd name="connsiteY12" fmla="*/ 493523 h 6362777"/>
                <a:gd name="connsiteX13" fmla="*/ 42434 w 5005884"/>
                <a:gd name="connsiteY13" fmla="*/ 0 h 6362777"/>
                <a:gd name="connsiteX14" fmla="*/ 0 w 5005884"/>
                <a:gd name="connsiteY14" fmla="*/ 0 h 6362777"/>
                <a:gd name="connsiteX15" fmla="*/ 89081 w 5005884"/>
                <a:gd name="connsiteY15" fmla="*/ 507439 h 6362777"/>
                <a:gd name="connsiteX16" fmla="*/ 880227 w 5005884"/>
                <a:gd name="connsiteY16" fmla="*/ 1389331 h 6362777"/>
                <a:gd name="connsiteX17" fmla="*/ 1669314 w 5005884"/>
                <a:gd name="connsiteY17" fmla="*/ 1536624 h 6362777"/>
                <a:gd name="connsiteX18" fmla="*/ 2061506 w 5005884"/>
                <a:gd name="connsiteY18" fmla="*/ 1610025 h 6362777"/>
                <a:gd name="connsiteX19" fmla="*/ 2423122 w 5005884"/>
                <a:gd name="connsiteY19" fmla="*/ 2635192 h 6362777"/>
                <a:gd name="connsiteX20" fmla="*/ 2046414 w 5005884"/>
                <a:gd name="connsiteY20" fmla="*/ 3003668 h 6362777"/>
                <a:gd name="connsiteX21" fmla="*/ 1188629 w 5005884"/>
                <a:gd name="connsiteY21" fmla="*/ 3844695 h 6362777"/>
                <a:gd name="connsiteX22" fmla="*/ 1117286 w 5005884"/>
                <a:gd name="connsiteY22" fmla="*/ 5188750 h 6362777"/>
                <a:gd name="connsiteX23" fmla="*/ 2016034 w 5005884"/>
                <a:gd name="connsiteY23" fmla="*/ 6190594 h 6362777"/>
                <a:gd name="connsiteX24" fmla="*/ 2772488 w 5005884"/>
                <a:gd name="connsiteY24" fmla="*/ 6362778 h 6362777"/>
                <a:gd name="connsiteX25" fmla="*/ 4361835 w 5005884"/>
                <a:gd name="connsiteY25" fmla="*/ 5363189 h 6362777"/>
                <a:gd name="connsiteX26" fmla="*/ 4531570 w 5005884"/>
                <a:gd name="connsiteY26" fmla="*/ 4469634 h 6362777"/>
                <a:gd name="connsiteX27" fmla="*/ 4587429 w 5005884"/>
                <a:gd name="connsiteY27" fmla="*/ 4186515 h 6362777"/>
                <a:gd name="connsiteX28" fmla="*/ 5005884 w 5005884"/>
                <a:gd name="connsiteY28" fmla="*/ 3876054 h 6362777"/>
                <a:gd name="connsiteX29" fmla="*/ 5005884 w 5005884"/>
                <a:gd name="connsiteY29" fmla="*/ 3833131 h 6362777"/>
                <a:gd name="connsiteX30" fmla="*/ 4549209 w 5005884"/>
                <a:gd name="connsiteY30" fmla="*/ 4168091 h 63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05884" h="6362777">
                  <a:moveTo>
                    <a:pt x="4549013" y="4168091"/>
                  </a:moveTo>
                  <a:cubicBezTo>
                    <a:pt x="4502072" y="4266188"/>
                    <a:pt x="4481394" y="4371537"/>
                    <a:pt x="4489136" y="4472770"/>
                  </a:cubicBezTo>
                  <a:cubicBezTo>
                    <a:pt x="4512166" y="4768531"/>
                    <a:pt x="4454934" y="5069975"/>
                    <a:pt x="4323420" y="5344765"/>
                  </a:cubicBezTo>
                  <a:cubicBezTo>
                    <a:pt x="3914862" y="6198531"/>
                    <a:pt x="2887931" y="6560735"/>
                    <a:pt x="2034164" y="6152276"/>
                  </a:cubicBezTo>
                  <a:cubicBezTo>
                    <a:pt x="1621295" y="5954710"/>
                    <a:pt x="1309756" y="5607500"/>
                    <a:pt x="1157074" y="5174639"/>
                  </a:cubicBezTo>
                  <a:cubicBezTo>
                    <a:pt x="1004391" y="4741777"/>
                    <a:pt x="1029087" y="4275988"/>
                    <a:pt x="1226653" y="3863020"/>
                  </a:cubicBezTo>
                  <a:cubicBezTo>
                    <a:pt x="1400209" y="3500424"/>
                    <a:pt x="1697440" y="3208878"/>
                    <a:pt x="2063760" y="3042377"/>
                  </a:cubicBezTo>
                  <a:cubicBezTo>
                    <a:pt x="2237708" y="2963782"/>
                    <a:pt x="2378925" y="2825702"/>
                    <a:pt x="2461244" y="2653615"/>
                  </a:cubicBezTo>
                  <a:cubicBezTo>
                    <a:pt x="2654302" y="2250154"/>
                    <a:pt x="2483098" y="1764961"/>
                    <a:pt x="2079734" y="1571903"/>
                  </a:cubicBezTo>
                  <a:cubicBezTo>
                    <a:pt x="1969681" y="1519278"/>
                    <a:pt x="1849436" y="1492034"/>
                    <a:pt x="1728506" y="1492034"/>
                  </a:cubicBezTo>
                  <a:cubicBezTo>
                    <a:pt x="1707632" y="1492034"/>
                    <a:pt x="1686758" y="1492818"/>
                    <a:pt x="1665982" y="1494484"/>
                  </a:cubicBezTo>
                  <a:cubicBezTo>
                    <a:pt x="1403051" y="1515162"/>
                    <a:pt x="1137670" y="1465672"/>
                    <a:pt x="898552" y="1351210"/>
                  </a:cubicBezTo>
                  <a:cubicBezTo>
                    <a:pt x="536348" y="1177849"/>
                    <a:pt x="263029" y="873269"/>
                    <a:pt x="129065" y="493523"/>
                  </a:cubicBezTo>
                  <a:cubicBezTo>
                    <a:pt x="72225" y="332216"/>
                    <a:pt x="43512" y="165814"/>
                    <a:pt x="42434" y="0"/>
                  </a:cubicBezTo>
                  <a:lnTo>
                    <a:pt x="0" y="0"/>
                  </a:lnTo>
                  <a:cubicBezTo>
                    <a:pt x="1078" y="170518"/>
                    <a:pt x="30576" y="341722"/>
                    <a:pt x="89081" y="507439"/>
                  </a:cubicBezTo>
                  <a:cubicBezTo>
                    <a:pt x="226770" y="897866"/>
                    <a:pt x="507733" y="1211071"/>
                    <a:pt x="880227" y="1389331"/>
                  </a:cubicBezTo>
                  <a:cubicBezTo>
                    <a:pt x="1126106" y="1506930"/>
                    <a:pt x="1398935" y="1557987"/>
                    <a:pt x="1669314" y="1536624"/>
                  </a:cubicBezTo>
                  <a:cubicBezTo>
                    <a:pt x="1803573" y="1526138"/>
                    <a:pt x="1939203" y="1551519"/>
                    <a:pt x="2061506" y="1610025"/>
                  </a:cubicBezTo>
                  <a:cubicBezTo>
                    <a:pt x="2443800" y="1792989"/>
                    <a:pt x="2606086" y="2252898"/>
                    <a:pt x="2423122" y="2635192"/>
                  </a:cubicBezTo>
                  <a:cubicBezTo>
                    <a:pt x="2345115" y="2798262"/>
                    <a:pt x="2211346" y="2929091"/>
                    <a:pt x="2046414" y="3003668"/>
                  </a:cubicBezTo>
                  <a:cubicBezTo>
                    <a:pt x="1671078" y="3174382"/>
                    <a:pt x="1366399" y="3473083"/>
                    <a:pt x="1188629" y="3844695"/>
                  </a:cubicBezTo>
                  <a:cubicBezTo>
                    <a:pt x="986163" y="4267854"/>
                    <a:pt x="960782" y="4745109"/>
                    <a:pt x="1117286" y="5188750"/>
                  </a:cubicBezTo>
                  <a:cubicBezTo>
                    <a:pt x="1273692" y="5632293"/>
                    <a:pt x="1592973" y="5988127"/>
                    <a:pt x="2016034" y="6190594"/>
                  </a:cubicBezTo>
                  <a:cubicBezTo>
                    <a:pt x="2260248" y="6307506"/>
                    <a:pt x="2518279" y="6362778"/>
                    <a:pt x="2772488" y="6362778"/>
                  </a:cubicBezTo>
                  <a:cubicBezTo>
                    <a:pt x="3428983" y="6362778"/>
                    <a:pt x="4060096" y="5993811"/>
                    <a:pt x="4361835" y="5363189"/>
                  </a:cubicBezTo>
                  <a:cubicBezTo>
                    <a:pt x="4496486" y="5081735"/>
                    <a:pt x="4555187" y="4772745"/>
                    <a:pt x="4531570" y="4469634"/>
                  </a:cubicBezTo>
                  <a:cubicBezTo>
                    <a:pt x="4524416" y="4375849"/>
                    <a:pt x="4543721" y="4277948"/>
                    <a:pt x="4587429" y="4186515"/>
                  </a:cubicBezTo>
                  <a:cubicBezTo>
                    <a:pt x="4669944" y="4014135"/>
                    <a:pt x="4829878" y="3903494"/>
                    <a:pt x="5005884" y="3876054"/>
                  </a:cubicBezTo>
                  <a:lnTo>
                    <a:pt x="5005884" y="3833131"/>
                  </a:lnTo>
                  <a:cubicBezTo>
                    <a:pt x="4814100" y="3860864"/>
                    <a:pt x="4638976" y="3980521"/>
                    <a:pt x="4549209" y="4168091"/>
                  </a:cubicBezTo>
                  <a:close/>
                </a:path>
              </a:pathLst>
            </a:custGeom>
            <a:solidFill>
              <a:srgbClr val="84B135"/>
            </a:solidFill>
            <a:ln w="979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AD8FCCB2-A4B9-3422-560A-BE3BA9DA9CAE}"/>
                </a:ext>
              </a:extLst>
            </p:cNvPr>
            <p:cNvSpPr/>
            <p:nvPr/>
          </p:nvSpPr>
          <p:spPr>
            <a:xfrm>
              <a:off x="7084196" y="0"/>
              <a:ext cx="5110742" cy="6467930"/>
            </a:xfrm>
            <a:custGeom>
              <a:avLst/>
              <a:gdLst>
                <a:gd name="connsiteX0" fmla="*/ 4749029 w 5110742"/>
                <a:gd name="connsiteY0" fmla="*/ 4213563 h 6467930"/>
                <a:gd name="connsiteX1" fmla="*/ 4699246 w 5110742"/>
                <a:gd name="connsiteY1" fmla="*/ 4466106 h 6467930"/>
                <a:gd name="connsiteX2" fmla="*/ 4523436 w 5110742"/>
                <a:gd name="connsiteY2" fmla="*/ 5390138 h 6467930"/>
                <a:gd name="connsiteX3" fmla="*/ 2093748 w 5110742"/>
                <a:gd name="connsiteY3" fmla="*/ 6247139 h 6467930"/>
                <a:gd name="connsiteX4" fmla="*/ 1236747 w 5110742"/>
                <a:gd name="connsiteY4" fmla="*/ 3817451 h 6467930"/>
                <a:gd name="connsiteX5" fmla="*/ 2126479 w 5110742"/>
                <a:gd name="connsiteY5" fmla="*/ 2945848 h 6467930"/>
                <a:gd name="connsiteX6" fmla="*/ 2471239 w 5110742"/>
                <a:gd name="connsiteY6" fmla="*/ 2608046 h 6467930"/>
                <a:gd name="connsiteX7" fmla="*/ 2499855 w 5110742"/>
                <a:gd name="connsiteY7" fmla="*/ 2068758 h 6467930"/>
                <a:gd name="connsiteX8" fmla="*/ 2139219 w 5110742"/>
                <a:gd name="connsiteY8" fmla="*/ 1666766 h 6467930"/>
                <a:gd name="connsiteX9" fmla="*/ 1833266 w 5110742"/>
                <a:gd name="connsiteY9" fmla="*/ 1597187 h 6467930"/>
                <a:gd name="connsiteX10" fmla="*/ 1780053 w 5110742"/>
                <a:gd name="connsiteY10" fmla="*/ 1599245 h 6467930"/>
                <a:gd name="connsiteX11" fmla="*/ 958038 w 5110742"/>
                <a:gd name="connsiteY11" fmla="*/ 1446072 h 6467930"/>
                <a:gd name="connsiteX12" fmla="*/ 42434 w 5110742"/>
                <a:gd name="connsiteY12" fmla="*/ 0 h 6467930"/>
                <a:gd name="connsiteX13" fmla="*/ 0 w 5110742"/>
                <a:gd name="connsiteY13" fmla="*/ 0 h 6467930"/>
                <a:gd name="connsiteX14" fmla="*/ 939614 w 5110742"/>
                <a:gd name="connsiteY14" fmla="*/ 1484292 h 6467930"/>
                <a:gd name="connsiteX15" fmla="*/ 1783287 w 5110742"/>
                <a:gd name="connsiteY15" fmla="*/ 1641482 h 6467930"/>
                <a:gd name="connsiteX16" fmla="*/ 2120893 w 5110742"/>
                <a:gd name="connsiteY16" fmla="*/ 1704986 h 6467930"/>
                <a:gd name="connsiteX17" fmla="*/ 2459872 w 5110742"/>
                <a:gd name="connsiteY17" fmla="*/ 2082772 h 6467930"/>
                <a:gd name="connsiteX18" fmla="*/ 2433020 w 5110742"/>
                <a:gd name="connsiteY18" fmla="*/ 2589622 h 6467930"/>
                <a:gd name="connsiteX19" fmla="*/ 2109133 w 5110742"/>
                <a:gd name="connsiteY19" fmla="*/ 2907139 h 6467930"/>
                <a:gd name="connsiteX20" fmla="*/ 1198527 w 5110742"/>
                <a:gd name="connsiteY20" fmla="*/ 3799125 h 6467930"/>
                <a:gd name="connsiteX21" fmla="*/ 2075520 w 5110742"/>
                <a:gd name="connsiteY21" fmla="*/ 6285456 h 6467930"/>
                <a:gd name="connsiteX22" fmla="*/ 2877249 w 5110742"/>
                <a:gd name="connsiteY22" fmla="*/ 6467930 h 6467930"/>
                <a:gd name="connsiteX23" fmla="*/ 4561753 w 5110742"/>
                <a:gd name="connsiteY23" fmla="*/ 5408464 h 6467930"/>
                <a:gd name="connsiteX24" fmla="*/ 4741581 w 5110742"/>
                <a:gd name="connsiteY24" fmla="*/ 4462774 h 6467930"/>
                <a:gd name="connsiteX25" fmla="*/ 4787347 w 5110742"/>
                <a:gd name="connsiteY25" fmla="*/ 4231791 h 6467930"/>
                <a:gd name="connsiteX26" fmla="*/ 5110743 w 5110742"/>
                <a:gd name="connsiteY26" fmla="*/ 3982775 h 6467930"/>
                <a:gd name="connsiteX27" fmla="*/ 5110743 w 5110742"/>
                <a:gd name="connsiteY27" fmla="*/ 3939753 h 6467930"/>
                <a:gd name="connsiteX28" fmla="*/ 4749127 w 5110742"/>
                <a:gd name="connsiteY28" fmla="*/ 4213465 h 64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10742" h="6467930">
                  <a:moveTo>
                    <a:pt x="4749029" y="4213563"/>
                  </a:moveTo>
                  <a:cubicBezTo>
                    <a:pt x="4710026" y="4295098"/>
                    <a:pt x="4692778" y="4382513"/>
                    <a:pt x="4699246" y="4466106"/>
                  </a:cubicBezTo>
                  <a:cubicBezTo>
                    <a:pt x="4723353" y="4779997"/>
                    <a:pt x="4662496" y="5099571"/>
                    <a:pt x="4523436" y="5390138"/>
                  </a:cubicBezTo>
                  <a:cubicBezTo>
                    <a:pt x="4089790" y="6296334"/>
                    <a:pt x="2999846" y="6680784"/>
                    <a:pt x="2093748" y="6247139"/>
                  </a:cubicBezTo>
                  <a:cubicBezTo>
                    <a:pt x="1187551" y="5813493"/>
                    <a:pt x="803101" y="4723549"/>
                    <a:pt x="1236747" y="3817451"/>
                  </a:cubicBezTo>
                  <a:cubicBezTo>
                    <a:pt x="1421671" y="3431041"/>
                    <a:pt x="1737619" y="3121462"/>
                    <a:pt x="2126479" y="2945848"/>
                  </a:cubicBezTo>
                  <a:cubicBezTo>
                    <a:pt x="2278966" y="2877445"/>
                    <a:pt x="2398230" y="2760630"/>
                    <a:pt x="2471239" y="2608046"/>
                  </a:cubicBezTo>
                  <a:cubicBezTo>
                    <a:pt x="2552481" y="2438214"/>
                    <a:pt x="2562673" y="2246724"/>
                    <a:pt x="2499855" y="2068758"/>
                  </a:cubicBezTo>
                  <a:cubicBezTo>
                    <a:pt x="2437038" y="1890792"/>
                    <a:pt x="2308953" y="1748007"/>
                    <a:pt x="2139219" y="1666766"/>
                  </a:cubicBezTo>
                  <a:cubicBezTo>
                    <a:pt x="2043376" y="1620903"/>
                    <a:pt x="1938615" y="1597187"/>
                    <a:pt x="1833266" y="1597187"/>
                  </a:cubicBezTo>
                  <a:cubicBezTo>
                    <a:pt x="1815529" y="1597187"/>
                    <a:pt x="1797791" y="1597873"/>
                    <a:pt x="1780053" y="1599245"/>
                  </a:cubicBezTo>
                  <a:cubicBezTo>
                    <a:pt x="1498306" y="1621589"/>
                    <a:pt x="1214109" y="1568669"/>
                    <a:pt x="958038" y="1446072"/>
                  </a:cubicBezTo>
                  <a:cubicBezTo>
                    <a:pt x="383470" y="1171185"/>
                    <a:pt x="46158" y="597892"/>
                    <a:pt x="42434" y="0"/>
                  </a:cubicBezTo>
                  <a:lnTo>
                    <a:pt x="0" y="0"/>
                  </a:lnTo>
                  <a:cubicBezTo>
                    <a:pt x="3724" y="613669"/>
                    <a:pt x="349954" y="1202153"/>
                    <a:pt x="939614" y="1484292"/>
                  </a:cubicBezTo>
                  <a:cubicBezTo>
                    <a:pt x="1202447" y="1610025"/>
                    <a:pt x="1494190" y="1664414"/>
                    <a:pt x="1783287" y="1641482"/>
                  </a:cubicBezTo>
                  <a:cubicBezTo>
                    <a:pt x="1898926" y="1632662"/>
                    <a:pt x="2015642" y="1654614"/>
                    <a:pt x="2120893" y="1704986"/>
                  </a:cubicBezTo>
                  <a:cubicBezTo>
                    <a:pt x="2280436" y="1781327"/>
                    <a:pt x="2400876" y="1915487"/>
                    <a:pt x="2459872" y="2082772"/>
                  </a:cubicBezTo>
                  <a:cubicBezTo>
                    <a:pt x="2518867" y="2250056"/>
                    <a:pt x="2509361" y="2430080"/>
                    <a:pt x="2433020" y="2589622"/>
                  </a:cubicBezTo>
                  <a:cubicBezTo>
                    <a:pt x="2364421" y="2732995"/>
                    <a:pt x="2252408" y="2842851"/>
                    <a:pt x="2109133" y="2907139"/>
                  </a:cubicBezTo>
                  <a:cubicBezTo>
                    <a:pt x="1711160" y="3086869"/>
                    <a:pt x="1387763" y="3403699"/>
                    <a:pt x="1198527" y="3799125"/>
                  </a:cubicBezTo>
                  <a:cubicBezTo>
                    <a:pt x="754788" y="4726391"/>
                    <a:pt x="1148254" y="5841717"/>
                    <a:pt x="2075520" y="6285456"/>
                  </a:cubicBezTo>
                  <a:cubicBezTo>
                    <a:pt x="2334433" y="6409327"/>
                    <a:pt x="2607752" y="6467930"/>
                    <a:pt x="2877249" y="6467930"/>
                  </a:cubicBezTo>
                  <a:cubicBezTo>
                    <a:pt x="3573042" y="6467930"/>
                    <a:pt x="4241983" y="6076914"/>
                    <a:pt x="4561753" y="5408464"/>
                  </a:cubicBezTo>
                  <a:cubicBezTo>
                    <a:pt x="4704048" y="5111135"/>
                    <a:pt x="4766179" y="4784113"/>
                    <a:pt x="4741581" y="4462774"/>
                  </a:cubicBezTo>
                  <a:cubicBezTo>
                    <a:pt x="4735701" y="4386531"/>
                    <a:pt x="4751479" y="4306564"/>
                    <a:pt x="4787347" y="4231791"/>
                  </a:cubicBezTo>
                  <a:cubicBezTo>
                    <a:pt x="4851732" y="4097238"/>
                    <a:pt x="4974427" y="4009039"/>
                    <a:pt x="5110743" y="3982775"/>
                  </a:cubicBezTo>
                  <a:lnTo>
                    <a:pt x="5110743" y="3939753"/>
                  </a:lnTo>
                  <a:cubicBezTo>
                    <a:pt x="4958453" y="3966507"/>
                    <a:pt x="4820764" y="4063722"/>
                    <a:pt x="4749127" y="4213465"/>
                  </a:cubicBezTo>
                  <a:close/>
                </a:path>
              </a:pathLst>
            </a:custGeom>
            <a:solidFill>
              <a:srgbClr val="84B135"/>
            </a:solidFill>
            <a:ln w="979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43AB298-C5CC-1FD7-F916-E61297858679}"/>
                </a:ext>
              </a:extLst>
            </p:cNvPr>
            <p:cNvSpPr/>
            <p:nvPr/>
          </p:nvSpPr>
          <p:spPr>
            <a:xfrm>
              <a:off x="6978456" y="0"/>
              <a:ext cx="5216483" cy="6573180"/>
            </a:xfrm>
            <a:custGeom>
              <a:avLst/>
              <a:gdLst>
                <a:gd name="connsiteX0" fmla="*/ 4949731 w 5216483"/>
                <a:gd name="connsiteY0" fmla="*/ 4258936 h 6573180"/>
                <a:gd name="connsiteX1" fmla="*/ 4909943 w 5216483"/>
                <a:gd name="connsiteY1" fmla="*/ 4458560 h 6573180"/>
                <a:gd name="connsiteX2" fmla="*/ 4724137 w 5216483"/>
                <a:gd name="connsiteY2" fmla="*/ 5435609 h 6573180"/>
                <a:gd name="connsiteX3" fmla="*/ 2153919 w 5216483"/>
                <a:gd name="connsiteY3" fmla="*/ 6342198 h 6573180"/>
                <a:gd name="connsiteX4" fmla="*/ 1247331 w 5216483"/>
                <a:gd name="connsiteY4" fmla="*/ 3771979 h 6573180"/>
                <a:gd name="connsiteX5" fmla="*/ 2188415 w 5216483"/>
                <a:gd name="connsiteY5" fmla="*/ 2850005 h 6573180"/>
                <a:gd name="connsiteX6" fmla="*/ 2481823 w 5216483"/>
                <a:gd name="connsiteY6" fmla="*/ 2562477 h 6573180"/>
                <a:gd name="connsiteX7" fmla="*/ 2506225 w 5216483"/>
                <a:gd name="connsiteY7" fmla="*/ 2103645 h 6573180"/>
                <a:gd name="connsiteX8" fmla="*/ 2199390 w 5216483"/>
                <a:gd name="connsiteY8" fmla="*/ 1761629 h 6573180"/>
                <a:gd name="connsiteX9" fmla="*/ 1939595 w 5216483"/>
                <a:gd name="connsiteY9" fmla="*/ 1702242 h 6573180"/>
                <a:gd name="connsiteX10" fmla="*/ 1893438 w 5216483"/>
                <a:gd name="connsiteY10" fmla="*/ 1704104 h 6573180"/>
                <a:gd name="connsiteX11" fmla="*/ 1018111 w 5216483"/>
                <a:gd name="connsiteY11" fmla="*/ 1540935 h 6573180"/>
                <a:gd name="connsiteX12" fmla="*/ 42924 w 5216483"/>
                <a:gd name="connsiteY12" fmla="*/ 0 h 6573180"/>
                <a:gd name="connsiteX13" fmla="*/ 0 w 5216483"/>
                <a:gd name="connsiteY13" fmla="*/ 0 h 6573180"/>
                <a:gd name="connsiteX14" fmla="*/ 101233 w 5216483"/>
                <a:gd name="connsiteY14" fmla="*/ 577508 h 6573180"/>
                <a:gd name="connsiteX15" fmla="*/ 999981 w 5216483"/>
                <a:gd name="connsiteY15" fmla="*/ 1579351 h 6573180"/>
                <a:gd name="connsiteX16" fmla="*/ 1896966 w 5216483"/>
                <a:gd name="connsiteY16" fmla="*/ 1746537 h 6573180"/>
                <a:gd name="connsiteX17" fmla="*/ 2181163 w 5216483"/>
                <a:gd name="connsiteY17" fmla="*/ 1800045 h 6573180"/>
                <a:gd name="connsiteX18" fmla="*/ 2466340 w 5216483"/>
                <a:gd name="connsiteY18" fmla="*/ 2117855 h 6573180"/>
                <a:gd name="connsiteX19" fmla="*/ 2443702 w 5216483"/>
                <a:gd name="connsiteY19" fmla="*/ 2544249 h 6573180"/>
                <a:gd name="connsiteX20" fmla="*/ 2170971 w 5216483"/>
                <a:gd name="connsiteY20" fmla="*/ 2811394 h 6573180"/>
                <a:gd name="connsiteX21" fmla="*/ 1209111 w 5216483"/>
                <a:gd name="connsiteY21" fmla="*/ 3753654 h 6573180"/>
                <a:gd name="connsiteX22" fmla="*/ 1129242 w 5216483"/>
                <a:gd name="connsiteY22" fmla="*/ 5258623 h 6573180"/>
                <a:gd name="connsiteX23" fmla="*/ 2135691 w 5216483"/>
                <a:gd name="connsiteY23" fmla="*/ 6380417 h 6573180"/>
                <a:gd name="connsiteX24" fmla="*/ 2982696 w 5216483"/>
                <a:gd name="connsiteY24" fmla="*/ 6573181 h 6573180"/>
                <a:gd name="connsiteX25" fmla="*/ 4762455 w 5216483"/>
                <a:gd name="connsiteY25" fmla="*/ 5453936 h 6573180"/>
                <a:gd name="connsiteX26" fmla="*/ 4952279 w 5216483"/>
                <a:gd name="connsiteY26" fmla="*/ 4455130 h 6573180"/>
                <a:gd name="connsiteX27" fmla="*/ 4988049 w 5216483"/>
                <a:gd name="connsiteY27" fmla="*/ 4277262 h 6573180"/>
                <a:gd name="connsiteX28" fmla="*/ 5185908 w 5216483"/>
                <a:gd name="connsiteY28" fmla="*/ 4099786 h 6573180"/>
                <a:gd name="connsiteX29" fmla="*/ 5216484 w 5216483"/>
                <a:gd name="connsiteY29" fmla="*/ 4090574 h 6573180"/>
                <a:gd name="connsiteX30" fmla="*/ 5216484 w 5216483"/>
                <a:gd name="connsiteY30" fmla="*/ 4047062 h 6573180"/>
                <a:gd name="connsiteX31" fmla="*/ 4949829 w 5216483"/>
                <a:gd name="connsiteY31" fmla="*/ 4258936 h 657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16483" h="6573180">
                  <a:moveTo>
                    <a:pt x="4949731" y="4258936"/>
                  </a:moveTo>
                  <a:cubicBezTo>
                    <a:pt x="4917685" y="4325870"/>
                    <a:pt x="4904358" y="4393097"/>
                    <a:pt x="4909943" y="4458560"/>
                  </a:cubicBezTo>
                  <a:cubicBezTo>
                    <a:pt x="4935815" y="4789699"/>
                    <a:pt x="4871528" y="5127599"/>
                    <a:pt x="4724137" y="5435609"/>
                  </a:cubicBezTo>
                  <a:cubicBezTo>
                    <a:pt x="4265503" y="6394137"/>
                    <a:pt x="3112447" y="6800833"/>
                    <a:pt x="2153919" y="6342198"/>
                  </a:cubicBezTo>
                  <a:cubicBezTo>
                    <a:pt x="1195391" y="5883563"/>
                    <a:pt x="788696" y="4730507"/>
                    <a:pt x="1247331" y="3771979"/>
                  </a:cubicBezTo>
                  <a:cubicBezTo>
                    <a:pt x="1442447" y="3364304"/>
                    <a:pt x="1776623" y="3036889"/>
                    <a:pt x="2188415" y="2850005"/>
                  </a:cubicBezTo>
                  <a:cubicBezTo>
                    <a:pt x="2316793" y="2791794"/>
                    <a:pt x="2420966" y="2689679"/>
                    <a:pt x="2481823" y="2562477"/>
                  </a:cubicBezTo>
                  <a:cubicBezTo>
                    <a:pt x="2550913" y="2418026"/>
                    <a:pt x="2559635" y="2255054"/>
                    <a:pt x="2506225" y="2103645"/>
                  </a:cubicBezTo>
                  <a:cubicBezTo>
                    <a:pt x="2452816" y="1952237"/>
                    <a:pt x="2343841" y="1830816"/>
                    <a:pt x="2199390" y="1761629"/>
                  </a:cubicBezTo>
                  <a:cubicBezTo>
                    <a:pt x="2117659" y="1722528"/>
                    <a:pt x="2028676" y="1702242"/>
                    <a:pt x="1939595" y="1702242"/>
                  </a:cubicBezTo>
                  <a:cubicBezTo>
                    <a:pt x="1924209" y="1702242"/>
                    <a:pt x="1908824" y="1702830"/>
                    <a:pt x="1893438" y="1704104"/>
                  </a:cubicBezTo>
                  <a:cubicBezTo>
                    <a:pt x="1593953" y="1728015"/>
                    <a:pt x="1291332" y="1671666"/>
                    <a:pt x="1018111" y="1540935"/>
                  </a:cubicBezTo>
                  <a:cubicBezTo>
                    <a:pt x="406010" y="1248115"/>
                    <a:pt x="46648" y="637091"/>
                    <a:pt x="42924" y="0"/>
                  </a:cubicBezTo>
                  <a:lnTo>
                    <a:pt x="0" y="0"/>
                  </a:lnTo>
                  <a:cubicBezTo>
                    <a:pt x="1176" y="194136"/>
                    <a:pt x="34692" y="388860"/>
                    <a:pt x="101233" y="577508"/>
                  </a:cubicBezTo>
                  <a:cubicBezTo>
                    <a:pt x="257639" y="1021051"/>
                    <a:pt x="576920" y="1376885"/>
                    <a:pt x="999981" y="1579351"/>
                  </a:cubicBezTo>
                  <a:cubicBezTo>
                    <a:pt x="1279866" y="1713316"/>
                    <a:pt x="1590033" y="1771135"/>
                    <a:pt x="1896966" y="1746537"/>
                  </a:cubicBezTo>
                  <a:cubicBezTo>
                    <a:pt x="1993789" y="1738893"/>
                    <a:pt x="2092082" y="1757415"/>
                    <a:pt x="2181163" y="1800045"/>
                  </a:cubicBezTo>
                  <a:cubicBezTo>
                    <a:pt x="2315421" y="1864234"/>
                    <a:pt x="2416654" y="1977129"/>
                    <a:pt x="2466340" y="2117855"/>
                  </a:cubicBezTo>
                  <a:cubicBezTo>
                    <a:pt x="2516025" y="2258582"/>
                    <a:pt x="2507989" y="2409990"/>
                    <a:pt x="2443702" y="2544249"/>
                  </a:cubicBezTo>
                  <a:cubicBezTo>
                    <a:pt x="2387156" y="2662435"/>
                    <a:pt x="2290334" y="2757396"/>
                    <a:pt x="2170971" y="2811394"/>
                  </a:cubicBezTo>
                  <a:cubicBezTo>
                    <a:pt x="1750065" y="3002394"/>
                    <a:pt x="1408539" y="3336962"/>
                    <a:pt x="1209111" y="3753654"/>
                  </a:cubicBezTo>
                  <a:cubicBezTo>
                    <a:pt x="982439" y="4227479"/>
                    <a:pt x="954020" y="4761965"/>
                    <a:pt x="1129242" y="5258623"/>
                  </a:cubicBezTo>
                  <a:cubicBezTo>
                    <a:pt x="1304464" y="5755282"/>
                    <a:pt x="1661866" y="6153746"/>
                    <a:pt x="2135691" y="6380417"/>
                  </a:cubicBezTo>
                  <a:cubicBezTo>
                    <a:pt x="2409206" y="6511246"/>
                    <a:pt x="2698009" y="6573181"/>
                    <a:pt x="2982696" y="6573181"/>
                  </a:cubicBezTo>
                  <a:cubicBezTo>
                    <a:pt x="3717786" y="6573181"/>
                    <a:pt x="4424555" y="6160018"/>
                    <a:pt x="4762455" y="5453936"/>
                  </a:cubicBezTo>
                  <a:cubicBezTo>
                    <a:pt x="4913079" y="5139162"/>
                    <a:pt x="4978739" y="4793912"/>
                    <a:pt x="4952279" y="4455130"/>
                  </a:cubicBezTo>
                  <a:cubicBezTo>
                    <a:pt x="4947281" y="4397115"/>
                    <a:pt x="4959335" y="4337335"/>
                    <a:pt x="4988049" y="4277262"/>
                  </a:cubicBezTo>
                  <a:cubicBezTo>
                    <a:pt x="5028032" y="4193669"/>
                    <a:pt x="5098297" y="4130656"/>
                    <a:pt x="5185908" y="4099786"/>
                  </a:cubicBezTo>
                  <a:cubicBezTo>
                    <a:pt x="5196003" y="4096258"/>
                    <a:pt x="5206194" y="4093220"/>
                    <a:pt x="5216484" y="4090574"/>
                  </a:cubicBezTo>
                  <a:lnTo>
                    <a:pt x="5216484" y="4047062"/>
                  </a:lnTo>
                  <a:cubicBezTo>
                    <a:pt x="5103883" y="4072346"/>
                    <a:pt x="5003434" y="4147021"/>
                    <a:pt x="4949829" y="4258936"/>
                  </a:cubicBezTo>
                  <a:close/>
                </a:path>
              </a:pathLst>
            </a:custGeom>
            <a:solidFill>
              <a:srgbClr val="84B135"/>
            </a:solidFill>
            <a:ln w="9794" cap="flat">
              <a:noFill/>
              <a:prstDash val="solid"/>
              <a:miter/>
            </a:ln>
          </p:spPr>
          <p:txBody>
            <a:bodyPr rtlCol="0" anchor="ctr"/>
            <a:lstStyle/>
            <a:p>
              <a:endParaRPr lang="en-US"/>
            </a:p>
          </p:txBody>
        </p:sp>
      </p:grpSp>
      <p:grpSp>
        <p:nvGrpSpPr>
          <p:cNvPr id="20" name="Graphic 25">
            <a:extLst>
              <a:ext uri="{FF2B5EF4-FFF2-40B4-BE49-F238E27FC236}">
                <a16:creationId xmlns:a16="http://schemas.microsoft.com/office/drawing/2014/main" id="{EA19FB23-B734-F81A-E9EB-64FFBC10C4BC}"/>
              </a:ext>
            </a:extLst>
          </p:cNvPr>
          <p:cNvGrpSpPr/>
          <p:nvPr userDrawn="1"/>
        </p:nvGrpSpPr>
        <p:grpSpPr>
          <a:xfrm>
            <a:off x="6978456" y="-97"/>
            <a:ext cx="5216581" cy="6573277"/>
            <a:chOff x="6978456" y="-97"/>
            <a:chExt cx="5216581" cy="6573277"/>
          </a:xfrm>
          <a:solidFill>
            <a:srgbClr val="84B135"/>
          </a:solidFill>
        </p:grpSpPr>
        <p:sp>
          <p:nvSpPr>
            <p:cNvPr id="21" name="Freeform: Shape 20">
              <a:extLst>
                <a:ext uri="{FF2B5EF4-FFF2-40B4-BE49-F238E27FC236}">
                  <a16:creationId xmlns:a16="http://schemas.microsoft.com/office/drawing/2014/main" id="{768787DB-7CBC-3254-173D-EF9A09F52965}"/>
                </a:ext>
              </a:extLst>
            </p:cNvPr>
            <p:cNvSpPr/>
            <p:nvPr/>
          </p:nvSpPr>
          <p:spPr>
            <a:xfrm>
              <a:off x="7821246" y="-97"/>
              <a:ext cx="4373594" cy="5730880"/>
            </a:xfrm>
            <a:custGeom>
              <a:avLst/>
              <a:gdLst>
                <a:gd name="connsiteX0" fmla="*/ 3346958 w 4373594"/>
                <a:gd name="connsiteY0" fmla="*/ 3895360 h 5730880"/>
                <a:gd name="connsiteX1" fmla="*/ 3227105 w 4373594"/>
                <a:gd name="connsiteY1" fmla="*/ 4521083 h 5730880"/>
                <a:gd name="connsiteX2" fmla="*/ 3121365 w 4373594"/>
                <a:gd name="connsiteY2" fmla="*/ 5072033 h 5730880"/>
                <a:gd name="connsiteX3" fmla="*/ 1674802 w 4373594"/>
                <a:gd name="connsiteY3" fmla="*/ 5582216 h 5730880"/>
                <a:gd name="connsiteX4" fmla="*/ 1164620 w 4373594"/>
                <a:gd name="connsiteY4" fmla="*/ 4135653 h 5730880"/>
                <a:gd name="connsiteX5" fmla="*/ 1694108 w 4373594"/>
                <a:gd name="connsiteY5" fmla="*/ 3616749 h 5730880"/>
                <a:gd name="connsiteX6" fmla="*/ 2399112 w 4373594"/>
                <a:gd name="connsiteY6" fmla="*/ 2926248 h 5730880"/>
                <a:gd name="connsiteX7" fmla="*/ 1720274 w 4373594"/>
                <a:gd name="connsiteY7" fmla="*/ 1001745 h 5730880"/>
                <a:gd name="connsiteX8" fmla="*/ 1097294 w 4373594"/>
                <a:gd name="connsiteY8" fmla="*/ 860039 h 5730880"/>
                <a:gd name="connsiteX9" fmla="*/ 984595 w 4373594"/>
                <a:gd name="connsiteY9" fmla="*/ 864547 h 5730880"/>
                <a:gd name="connsiteX10" fmla="*/ 539092 w 4373594"/>
                <a:gd name="connsiteY10" fmla="*/ 781150 h 5730880"/>
                <a:gd name="connsiteX11" fmla="*/ 92511 w 4373594"/>
                <a:gd name="connsiteY11" fmla="*/ 283315 h 5730880"/>
                <a:gd name="connsiteX12" fmla="*/ 42434 w 4373594"/>
                <a:gd name="connsiteY12" fmla="*/ 0 h 5730880"/>
                <a:gd name="connsiteX13" fmla="*/ 0 w 4373594"/>
                <a:gd name="connsiteY13" fmla="*/ 0 h 5730880"/>
                <a:gd name="connsiteX14" fmla="*/ 52527 w 4373594"/>
                <a:gd name="connsiteY14" fmla="*/ 297427 h 5730880"/>
                <a:gd name="connsiteX15" fmla="*/ 520766 w 4373594"/>
                <a:gd name="connsiteY15" fmla="*/ 819369 h 5730880"/>
                <a:gd name="connsiteX16" fmla="*/ 987927 w 4373594"/>
                <a:gd name="connsiteY16" fmla="*/ 906784 h 5730880"/>
                <a:gd name="connsiteX17" fmla="*/ 1702046 w 4373594"/>
                <a:gd name="connsiteY17" fmla="*/ 1040063 h 5730880"/>
                <a:gd name="connsiteX18" fmla="*/ 2360893 w 4373594"/>
                <a:gd name="connsiteY18" fmla="*/ 2907923 h 5730880"/>
                <a:gd name="connsiteX19" fmla="*/ 1676664 w 4373594"/>
                <a:gd name="connsiteY19" fmla="*/ 3578137 h 5730880"/>
                <a:gd name="connsiteX20" fmla="*/ 1126400 w 4373594"/>
                <a:gd name="connsiteY20" fmla="*/ 4117426 h 5730880"/>
                <a:gd name="connsiteX21" fmla="*/ 1656574 w 4373594"/>
                <a:gd name="connsiteY21" fmla="*/ 5620534 h 5730880"/>
                <a:gd name="connsiteX22" fmla="*/ 2141277 w 4373594"/>
                <a:gd name="connsiteY22" fmla="*/ 5730881 h 5730880"/>
                <a:gd name="connsiteX23" fmla="*/ 3159682 w 4373594"/>
                <a:gd name="connsiteY23" fmla="*/ 5090359 h 5730880"/>
                <a:gd name="connsiteX24" fmla="*/ 3269441 w 4373594"/>
                <a:gd name="connsiteY24" fmla="*/ 4517849 h 5730880"/>
                <a:gd name="connsiteX25" fmla="*/ 3385178 w 4373594"/>
                <a:gd name="connsiteY25" fmla="*/ 3913686 h 5730880"/>
                <a:gd name="connsiteX26" fmla="*/ 4373595 w 4373594"/>
                <a:gd name="connsiteY26" fmla="*/ 3240629 h 5730880"/>
                <a:gd name="connsiteX27" fmla="*/ 4373595 w 4373594"/>
                <a:gd name="connsiteY27" fmla="*/ 3198097 h 5730880"/>
                <a:gd name="connsiteX28" fmla="*/ 3346958 w 4373594"/>
                <a:gd name="connsiteY28" fmla="*/ 3895262 h 57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3594" h="5730880">
                  <a:moveTo>
                    <a:pt x="3346958" y="3895360"/>
                  </a:moveTo>
                  <a:cubicBezTo>
                    <a:pt x="3252193" y="4093416"/>
                    <a:pt x="3210740" y="4309798"/>
                    <a:pt x="3227105" y="4521083"/>
                  </a:cubicBezTo>
                  <a:cubicBezTo>
                    <a:pt x="3241511" y="4706693"/>
                    <a:pt x="3204958" y="4897203"/>
                    <a:pt x="3121365" y="5072033"/>
                  </a:cubicBezTo>
                  <a:cubicBezTo>
                    <a:pt x="2863236" y="5611517"/>
                    <a:pt x="2214286" y="5840443"/>
                    <a:pt x="1674802" y="5582216"/>
                  </a:cubicBezTo>
                  <a:cubicBezTo>
                    <a:pt x="1135318" y="5324087"/>
                    <a:pt x="906490" y="4675138"/>
                    <a:pt x="1164620" y="4135653"/>
                  </a:cubicBezTo>
                  <a:cubicBezTo>
                    <a:pt x="1274672" y="3905650"/>
                    <a:pt x="1462732" y="3721314"/>
                    <a:pt x="1694108" y="3616749"/>
                  </a:cubicBezTo>
                  <a:cubicBezTo>
                    <a:pt x="2002315" y="3477394"/>
                    <a:pt x="2252702" y="3232201"/>
                    <a:pt x="2399112" y="2926248"/>
                  </a:cubicBezTo>
                  <a:cubicBezTo>
                    <a:pt x="2742501" y="2208504"/>
                    <a:pt x="2438018" y="1345231"/>
                    <a:pt x="1720274" y="1001745"/>
                  </a:cubicBezTo>
                  <a:cubicBezTo>
                    <a:pt x="1524962" y="908254"/>
                    <a:pt x="1311716" y="860039"/>
                    <a:pt x="1097294" y="860039"/>
                  </a:cubicBezTo>
                  <a:cubicBezTo>
                    <a:pt x="1059761" y="860039"/>
                    <a:pt x="1022129" y="861509"/>
                    <a:pt x="984595" y="864547"/>
                  </a:cubicBezTo>
                  <a:cubicBezTo>
                    <a:pt x="832305" y="876601"/>
                    <a:pt x="678251" y="847691"/>
                    <a:pt x="539092" y="781150"/>
                  </a:cubicBezTo>
                  <a:cubicBezTo>
                    <a:pt x="328884" y="680505"/>
                    <a:pt x="170224" y="503715"/>
                    <a:pt x="92511" y="283315"/>
                  </a:cubicBezTo>
                  <a:cubicBezTo>
                    <a:pt x="59877" y="190804"/>
                    <a:pt x="43316" y="95255"/>
                    <a:pt x="42434" y="0"/>
                  </a:cubicBezTo>
                  <a:lnTo>
                    <a:pt x="0" y="0"/>
                  </a:lnTo>
                  <a:cubicBezTo>
                    <a:pt x="980" y="99959"/>
                    <a:pt x="18228" y="200212"/>
                    <a:pt x="52527" y="297427"/>
                  </a:cubicBezTo>
                  <a:cubicBezTo>
                    <a:pt x="134063" y="528508"/>
                    <a:pt x="300367" y="713922"/>
                    <a:pt x="520766" y="819369"/>
                  </a:cubicBezTo>
                  <a:cubicBezTo>
                    <a:pt x="666589" y="889144"/>
                    <a:pt x="828189" y="919426"/>
                    <a:pt x="987927" y="906784"/>
                  </a:cubicBezTo>
                  <a:cubicBezTo>
                    <a:pt x="1232337" y="887380"/>
                    <a:pt x="1479196" y="933440"/>
                    <a:pt x="1702046" y="1040063"/>
                  </a:cubicBezTo>
                  <a:cubicBezTo>
                    <a:pt x="2398720" y="1373357"/>
                    <a:pt x="2694187" y="2211346"/>
                    <a:pt x="2360893" y="2907923"/>
                  </a:cubicBezTo>
                  <a:cubicBezTo>
                    <a:pt x="2218794" y="3204958"/>
                    <a:pt x="1975757" y="3442899"/>
                    <a:pt x="1676664" y="3578137"/>
                  </a:cubicBezTo>
                  <a:cubicBezTo>
                    <a:pt x="1436175" y="3686818"/>
                    <a:pt x="1240765" y="3878308"/>
                    <a:pt x="1126400" y="4117426"/>
                  </a:cubicBezTo>
                  <a:cubicBezTo>
                    <a:pt x="858177" y="4677980"/>
                    <a:pt x="1096020" y="5352311"/>
                    <a:pt x="1656574" y="5620534"/>
                  </a:cubicBezTo>
                  <a:cubicBezTo>
                    <a:pt x="1813079" y="5695404"/>
                    <a:pt x="1978305" y="5730881"/>
                    <a:pt x="2141277" y="5730881"/>
                  </a:cubicBezTo>
                  <a:cubicBezTo>
                    <a:pt x="2561889" y="5730881"/>
                    <a:pt x="2966330" y="5494507"/>
                    <a:pt x="3159682" y="5090359"/>
                  </a:cubicBezTo>
                  <a:cubicBezTo>
                    <a:pt x="3246509" y="4908865"/>
                    <a:pt x="3284533" y="4710908"/>
                    <a:pt x="3269441" y="4517849"/>
                  </a:cubicBezTo>
                  <a:cubicBezTo>
                    <a:pt x="3253663" y="4313914"/>
                    <a:pt x="3293647" y="4104980"/>
                    <a:pt x="3385178" y="3913686"/>
                  </a:cubicBezTo>
                  <a:cubicBezTo>
                    <a:pt x="3575982" y="3514928"/>
                    <a:pt x="3961412" y="3270911"/>
                    <a:pt x="4373595" y="3240629"/>
                  </a:cubicBezTo>
                  <a:lnTo>
                    <a:pt x="4373595" y="3198097"/>
                  </a:lnTo>
                  <a:cubicBezTo>
                    <a:pt x="3945536" y="3228379"/>
                    <a:pt x="3545014" y="3481315"/>
                    <a:pt x="3346958" y="3895262"/>
                  </a:cubicBezTo>
                  <a:close/>
                </a:path>
              </a:pathLst>
            </a:custGeom>
            <a:solidFill>
              <a:srgbClr val="84B135"/>
            </a:solidFill>
            <a:ln w="979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C743873A-5D3E-0CC2-B092-25995AECB2F5}"/>
                </a:ext>
              </a:extLst>
            </p:cNvPr>
            <p:cNvSpPr/>
            <p:nvPr/>
          </p:nvSpPr>
          <p:spPr>
            <a:xfrm>
              <a:off x="7715702" y="-97"/>
              <a:ext cx="4479139" cy="5836424"/>
            </a:xfrm>
            <a:custGeom>
              <a:avLst/>
              <a:gdLst>
                <a:gd name="connsiteX0" fmla="*/ 3547464 w 4479139"/>
                <a:gd name="connsiteY0" fmla="*/ 3940832 h 5836424"/>
                <a:gd name="connsiteX1" fmla="*/ 3437607 w 4479139"/>
                <a:gd name="connsiteY1" fmla="*/ 4513145 h 5836424"/>
                <a:gd name="connsiteX2" fmla="*/ 3321871 w 4479139"/>
                <a:gd name="connsiteY2" fmla="*/ 5117505 h 5836424"/>
                <a:gd name="connsiteX3" fmla="*/ 2644110 w 4479139"/>
                <a:gd name="connsiteY3" fmla="*/ 5725490 h 5836424"/>
                <a:gd name="connsiteX4" fmla="*/ 1734875 w 4479139"/>
                <a:gd name="connsiteY4" fmla="*/ 5677275 h 5836424"/>
                <a:gd name="connsiteX5" fmla="*/ 1126890 w 4479139"/>
                <a:gd name="connsiteY5" fmla="*/ 4999514 h 5836424"/>
                <a:gd name="connsiteX6" fmla="*/ 1175105 w 4479139"/>
                <a:gd name="connsiteY6" fmla="*/ 4090280 h 5836424"/>
                <a:gd name="connsiteX7" fmla="*/ 1755651 w 4479139"/>
                <a:gd name="connsiteY7" fmla="*/ 3521200 h 5836424"/>
                <a:gd name="connsiteX8" fmla="*/ 2409696 w 4479139"/>
                <a:gd name="connsiteY8" fmla="*/ 2880875 h 5836424"/>
                <a:gd name="connsiteX9" fmla="*/ 2463988 w 4479139"/>
                <a:gd name="connsiteY9" fmla="*/ 1858746 h 5836424"/>
                <a:gd name="connsiteX10" fmla="*/ 1780445 w 4479139"/>
                <a:gd name="connsiteY10" fmla="*/ 1096902 h 5836424"/>
                <a:gd name="connsiteX11" fmla="*/ 1202251 w 4479139"/>
                <a:gd name="connsiteY11" fmla="*/ 965486 h 5836424"/>
                <a:gd name="connsiteX12" fmla="*/ 1097588 w 4479139"/>
                <a:gd name="connsiteY12" fmla="*/ 969602 h 5836424"/>
                <a:gd name="connsiteX13" fmla="*/ 599166 w 4479139"/>
                <a:gd name="connsiteY13" fmla="*/ 876111 h 5836424"/>
                <a:gd name="connsiteX14" fmla="*/ 98783 w 4479139"/>
                <a:gd name="connsiteY14" fmla="*/ 318301 h 5836424"/>
                <a:gd name="connsiteX15" fmla="*/ 42433 w 4479139"/>
                <a:gd name="connsiteY15" fmla="*/ 0 h 5836424"/>
                <a:gd name="connsiteX16" fmla="*/ 0 w 4479139"/>
                <a:gd name="connsiteY16" fmla="*/ 0 h 5836424"/>
                <a:gd name="connsiteX17" fmla="*/ 58799 w 4479139"/>
                <a:gd name="connsiteY17" fmla="*/ 332412 h 5836424"/>
                <a:gd name="connsiteX18" fmla="*/ 580840 w 4479139"/>
                <a:gd name="connsiteY18" fmla="*/ 914330 h 5836424"/>
                <a:gd name="connsiteX19" fmla="*/ 1100822 w 4479139"/>
                <a:gd name="connsiteY19" fmla="*/ 1011839 h 5836424"/>
                <a:gd name="connsiteX20" fmla="*/ 1762021 w 4479139"/>
                <a:gd name="connsiteY20" fmla="*/ 1135024 h 5836424"/>
                <a:gd name="connsiteX21" fmla="*/ 2423906 w 4479139"/>
                <a:gd name="connsiteY21" fmla="*/ 1872760 h 5836424"/>
                <a:gd name="connsiteX22" fmla="*/ 2371379 w 4479139"/>
                <a:gd name="connsiteY22" fmla="*/ 2862451 h 5836424"/>
                <a:gd name="connsiteX23" fmla="*/ 1738109 w 4479139"/>
                <a:gd name="connsiteY23" fmla="*/ 3482491 h 5836424"/>
                <a:gd name="connsiteX24" fmla="*/ 1136886 w 4479139"/>
                <a:gd name="connsiteY24" fmla="*/ 4071856 h 5836424"/>
                <a:gd name="connsiteX25" fmla="*/ 1086906 w 4479139"/>
                <a:gd name="connsiteY25" fmla="*/ 5013528 h 5836424"/>
                <a:gd name="connsiteX26" fmla="*/ 1716648 w 4479139"/>
                <a:gd name="connsiteY26" fmla="*/ 5715397 h 5836424"/>
                <a:gd name="connsiteX27" fmla="*/ 2246626 w 4479139"/>
                <a:gd name="connsiteY27" fmla="*/ 5836425 h 5836424"/>
                <a:gd name="connsiteX28" fmla="*/ 2658319 w 4479139"/>
                <a:gd name="connsiteY28" fmla="*/ 5765376 h 5836424"/>
                <a:gd name="connsiteX29" fmla="*/ 3360188 w 4479139"/>
                <a:gd name="connsiteY29" fmla="*/ 5135635 h 5836424"/>
                <a:gd name="connsiteX30" fmla="*/ 3479943 w 4479139"/>
                <a:gd name="connsiteY30" fmla="*/ 4509618 h 5836424"/>
                <a:gd name="connsiteX31" fmla="*/ 3585684 w 4479139"/>
                <a:gd name="connsiteY31" fmla="*/ 3958961 h 5836424"/>
                <a:gd name="connsiteX32" fmla="*/ 4479140 w 4479139"/>
                <a:gd name="connsiteY32" fmla="*/ 3346076 h 5836424"/>
                <a:gd name="connsiteX33" fmla="*/ 4479140 w 4479139"/>
                <a:gd name="connsiteY33" fmla="*/ 3303544 h 5836424"/>
                <a:gd name="connsiteX34" fmla="*/ 3547464 w 4479139"/>
                <a:gd name="connsiteY34" fmla="*/ 3940636 h 583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79139" h="5836424">
                  <a:moveTo>
                    <a:pt x="3547464" y="3940832"/>
                  </a:moveTo>
                  <a:cubicBezTo>
                    <a:pt x="3460441" y="4122718"/>
                    <a:pt x="3422515" y="4320578"/>
                    <a:pt x="3437607" y="4513145"/>
                  </a:cubicBezTo>
                  <a:cubicBezTo>
                    <a:pt x="3453679" y="4716689"/>
                    <a:pt x="3413695" y="4925623"/>
                    <a:pt x="3321871" y="5117505"/>
                  </a:cubicBezTo>
                  <a:cubicBezTo>
                    <a:pt x="3184868" y="5403760"/>
                    <a:pt x="2944183" y="5619652"/>
                    <a:pt x="2644110" y="5725490"/>
                  </a:cubicBezTo>
                  <a:cubicBezTo>
                    <a:pt x="2344037" y="5831330"/>
                    <a:pt x="2021130" y="5814180"/>
                    <a:pt x="1734875" y="5677275"/>
                  </a:cubicBezTo>
                  <a:cubicBezTo>
                    <a:pt x="1448620" y="5540273"/>
                    <a:pt x="1232729" y="5299587"/>
                    <a:pt x="1126890" y="4999514"/>
                  </a:cubicBezTo>
                  <a:cubicBezTo>
                    <a:pt x="1021051" y="4699441"/>
                    <a:pt x="1038201" y="4376535"/>
                    <a:pt x="1175105" y="4090280"/>
                  </a:cubicBezTo>
                  <a:cubicBezTo>
                    <a:pt x="1295644" y="3838423"/>
                    <a:pt x="1501834" y="3636251"/>
                    <a:pt x="1755651" y="3521200"/>
                  </a:cubicBezTo>
                  <a:cubicBezTo>
                    <a:pt x="2041710" y="3391842"/>
                    <a:pt x="2273968" y="3164484"/>
                    <a:pt x="2409696" y="2880875"/>
                  </a:cubicBezTo>
                  <a:cubicBezTo>
                    <a:pt x="2563652" y="2559046"/>
                    <a:pt x="2582958" y="2196058"/>
                    <a:pt x="2463988" y="1858746"/>
                  </a:cubicBezTo>
                  <a:cubicBezTo>
                    <a:pt x="2345017" y="1521434"/>
                    <a:pt x="2102274" y="1250859"/>
                    <a:pt x="1780445" y="1096902"/>
                  </a:cubicBezTo>
                  <a:cubicBezTo>
                    <a:pt x="1599441" y="1010271"/>
                    <a:pt x="1401483" y="965486"/>
                    <a:pt x="1202251" y="965486"/>
                  </a:cubicBezTo>
                  <a:cubicBezTo>
                    <a:pt x="1167364" y="965486"/>
                    <a:pt x="1132476" y="966858"/>
                    <a:pt x="1097588" y="969602"/>
                  </a:cubicBezTo>
                  <a:cubicBezTo>
                    <a:pt x="926776" y="982733"/>
                    <a:pt x="754494" y="950492"/>
                    <a:pt x="599166" y="876111"/>
                  </a:cubicBezTo>
                  <a:cubicBezTo>
                    <a:pt x="363576" y="763412"/>
                    <a:pt x="185904" y="565258"/>
                    <a:pt x="98783" y="318301"/>
                  </a:cubicBezTo>
                  <a:cubicBezTo>
                    <a:pt x="62131" y="214324"/>
                    <a:pt x="43414" y="107015"/>
                    <a:pt x="42433" y="0"/>
                  </a:cubicBezTo>
                  <a:lnTo>
                    <a:pt x="0" y="0"/>
                  </a:lnTo>
                  <a:cubicBezTo>
                    <a:pt x="980" y="111719"/>
                    <a:pt x="20482" y="223830"/>
                    <a:pt x="58799" y="332412"/>
                  </a:cubicBezTo>
                  <a:cubicBezTo>
                    <a:pt x="149644" y="590052"/>
                    <a:pt x="335058" y="796731"/>
                    <a:pt x="580840" y="914330"/>
                  </a:cubicBezTo>
                  <a:cubicBezTo>
                    <a:pt x="742832" y="991847"/>
                    <a:pt x="922660" y="1025559"/>
                    <a:pt x="1100822" y="1011839"/>
                  </a:cubicBezTo>
                  <a:cubicBezTo>
                    <a:pt x="1327396" y="993905"/>
                    <a:pt x="1556027" y="1036535"/>
                    <a:pt x="1762021" y="1135024"/>
                  </a:cubicBezTo>
                  <a:cubicBezTo>
                    <a:pt x="2073560" y="1284080"/>
                    <a:pt x="2308659" y="1546129"/>
                    <a:pt x="2423906" y="1872760"/>
                  </a:cubicBezTo>
                  <a:cubicBezTo>
                    <a:pt x="2539153" y="2199390"/>
                    <a:pt x="2520435" y="2550913"/>
                    <a:pt x="2371379" y="2862451"/>
                  </a:cubicBezTo>
                  <a:cubicBezTo>
                    <a:pt x="2239962" y="3137044"/>
                    <a:pt x="2015054" y="3357248"/>
                    <a:pt x="1738109" y="3482491"/>
                  </a:cubicBezTo>
                  <a:cubicBezTo>
                    <a:pt x="1475178" y="3601657"/>
                    <a:pt x="1261638" y="3810983"/>
                    <a:pt x="1136886" y="4071856"/>
                  </a:cubicBezTo>
                  <a:cubicBezTo>
                    <a:pt x="994983" y="4368303"/>
                    <a:pt x="977245" y="4702773"/>
                    <a:pt x="1086906" y="5013528"/>
                  </a:cubicBezTo>
                  <a:cubicBezTo>
                    <a:pt x="1196567" y="5324283"/>
                    <a:pt x="1420201" y="5573592"/>
                    <a:pt x="1716648" y="5715397"/>
                  </a:cubicBezTo>
                  <a:cubicBezTo>
                    <a:pt x="1884814" y="5795853"/>
                    <a:pt x="2065230" y="5836425"/>
                    <a:pt x="2246626" y="5836425"/>
                  </a:cubicBezTo>
                  <a:cubicBezTo>
                    <a:pt x="2385001" y="5836425"/>
                    <a:pt x="2523865" y="5812808"/>
                    <a:pt x="2658319" y="5765376"/>
                  </a:cubicBezTo>
                  <a:cubicBezTo>
                    <a:pt x="2969074" y="5655715"/>
                    <a:pt x="3218384" y="5432081"/>
                    <a:pt x="3360188" y="5135635"/>
                  </a:cubicBezTo>
                  <a:cubicBezTo>
                    <a:pt x="3455247" y="4936991"/>
                    <a:pt x="3496603" y="4720609"/>
                    <a:pt x="3479943" y="4509618"/>
                  </a:cubicBezTo>
                  <a:cubicBezTo>
                    <a:pt x="3465341" y="4324497"/>
                    <a:pt x="3501895" y="4134085"/>
                    <a:pt x="3585684" y="3958961"/>
                  </a:cubicBezTo>
                  <a:cubicBezTo>
                    <a:pt x="3758456" y="3597933"/>
                    <a:pt x="4106254" y="3376064"/>
                    <a:pt x="4479140" y="3346076"/>
                  </a:cubicBezTo>
                  <a:lnTo>
                    <a:pt x="4479140" y="3303544"/>
                  </a:lnTo>
                  <a:cubicBezTo>
                    <a:pt x="4090476" y="3333630"/>
                    <a:pt x="3727488" y="3564418"/>
                    <a:pt x="3547464" y="3940636"/>
                  </a:cubicBezTo>
                  <a:close/>
                </a:path>
              </a:pathLst>
            </a:custGeom>
            <a:solidFill>
              <a:srgbClr val="84B135"/>
            </a:solidFill>
            <a:ln w="979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B4149CE-D7B5-1A48-A867-406B3DCE566B}"/>
                </a:ext>
              </a:extLst>
            </p:cNvPr>
            <p:cNvSpPr/>
            <p:nvPr/>
          </p:nvSpPr>
          <p:spPr>
            <a:xfrm>
              <a:off x="7610451" y="0"/>
              <a:ext cx="4584390" cy="5941675"/>
            </a:xfrm>
            <a:custGeom>
              <a:avLst/>
              <a:gdLst>
                <a:gd name="connsiteX0" fmla="*/ 3747774 w 4584390"/>
                <a:gd name="connsiteY0" fmla="*/ 3986205 h 5941675"/>
                <a:gd name="connsiteX1" fmla="*/ 3648011 w 4584390"/>
                <a:gd name="connsiteY1" fmla="*/ 4505404 h 5941675"/>
                <a:gd name="connsiteX2" fmla="*/ 3522278 w 4584390"/>
                <a:gd name="connsiteY2" fmla="*/ 5162879 h 5941675"/>
                <a:gd name="connsiteX3" fmla="*/ 1794851 w 4584390"/>
                <a:gd name="connsiteY3" fmla="*/ 5772138 h 5941675"/>
                <a:gd name="connsiteX4" fmla="*/ 1185493 w 4584390"/>
                <a:gd name="connsiteY4" fmla="*/ 4044711 h 5941675"/>
                <a:gd name="connsiteX5" fmla="*/ 1820135 w 4584390"/>
                <a:gd name="connsiteY5" fmla="*/ 3424083 h 5941675"/>
                <a:gd name="connsiteX6" fmla="*/ 2419986 w 4584390"/>
                <a:gd name="connsiteY6" fmla="*/ 2835306 h 5941675"/>
                <a:gd name="connsiteX7" fmla="*/ 2469966 w 4584390"/>
                <a:gd name="connsiteY7" fmla="*/ 1893634 h 5941675"/>
                <a:gd name="connsiteX8" fmla="*/ 1840224 w 4584390"/>
                <a:gd name="connsiteY8" fmla="*/ 1191765 h 5941675"/>
                <a:gd name="connsiteX9" fmla="*/ 1309070 w 4584390"/>
                <a:gd name="connsiteY9" fmla="*/ 1070443 h 5941675"/>
                <a:gd name="connsiteX10" fmla="*/ 1212443 w 4584390"/>
                <a:gd name="connsiteY10" fmla="*/ 1074362 h 5941675"/>
                <a:gd name="connsiteX11" fmla="*/ 659043 w 4584390"/>
                <a:gd name="connsiteY11" fmla="*/ 971072 h 5941675"/>
                <a:gd name="connsiteX12" fmla="*/ 104859 w 4584390"/>
                <a:gd name="connsiteY12" fmla="*/ 353286 h 5941675"/>
                <a:gd name="connsiteX13" fmla="*/ 42434 w 4584390"/>
                <a:gd name="connsiteY13" fmla="*/ 0 h 5941675"/>
                <a:gd name="connsiteX14" fmla="*/ 0 w 4584390"/>
                <a:gd name="connsiteY14" fmla="*/ 0 h 5941675"/>
                <a:gd name="connsiteX15" fmla="*/ 64777 w 4584390"/>
                <a:gd name="connsiteY15" fmla="*/ 367398 h 5941675"/>
                <a:gd name="connsiteX16" fmla="*/ 640717 w 4584390"/>
                <a:gd name="connsiteY16" fmla="*/ 1009291 h 5941675"/>
                <a:gd name="connsiteX17" fmla="*/ 1215873 w 4584390"/>
                <a:gd name="connsiteY17" fmla="*/ 1116600 h 5941675"/>
                <a:gd name="connsiteX18" fmla="*/ 1821898 w 4584390"/>
                <a:gd name="connsiteY18" fmla="*/ 1229985 h 5941675"/>
                <a:gd name="connsiteX19" fmla="*/ 2429884 w 4584390"/>
                <a:gd name="connsiteY19" fmla="*/ 1907745 h 5941675"/>
                <a:gd name="connsiteX20" fmla="*/ 2381668 w 4584390"/>
                <a:gd name="connsiteY20" fmla="*/ 2816980 h 5941675"/>
                <a:gd name="connsiteX21" fmla="*/ 1802495 w 4584390"/>
                <a:gd name="connsiteY21" fmla="*/ 3385471 h 5941675"/>
                <a:gd name="connsiteX22" fmla="*/ 1147176 w 4584390"/>
                <a:gd name="connsiteY22" fmla="*/ 4026385 h 5941675"/>
                <a:gd name="connsiteX23" fmla="*/ 1776427 w 4584390"/>
                <a:gd name="connsiteY23" fmla="*/ 5810358 h 5941675"/>
                <a:gd name="connsiteX24" fmla="*/ 2351681 w 4584390"/>
                <a:gd name="connsiteY24" fmla="*/ 5941676 h 5941675"/>
                <a:gd name="connsiteX25" fmla="*/ 2798556 w 4584390"/>
                <a:gd name="connsiteY25" fmla="*/ 5864551 h 5941675"/>
                <a:gd name="connsiteX26" fmla="*/ 3560400 w 4584390"/>
                <a:gd name="connsiteY26" fmla="*/ 5181008 h 5941675"/>
                <a:gd name="connsiteX27" fmla="*/ 3690248 w 4584390"/>
                <a:gd name="connsiteY27" fmla="*/ 4501876 h 5941675"/>
                <a:gd name="connsiteX28" fmla="*/ 3785994 w 4584390"/>
                <a:gd name="connsiteY28" fmla="*/ 4004335 h 5941675"/>
                <a:gd name="connsiteX29" fmla="*/ 4584391 w 4584390"/>
                <a:gd name="connsiteY29" fmla="*/ 3451719 h 5941675"/>
                <a:gd name="connsiteX30" fmla="*/ 4584391 w 4584390"/>
                <a:gd name="connsiteY30" fmla="*/ 3409187 h 5941675"/>
                <a:gd name="connsiteX31" fmla="*/ 3747676 w 4584390"/>
                <a:gd name="connsiteY31" fmla="*/ 3986107 h 594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584390" h="5941675">
                  <a:moveTo>
                    <a:pt x="3747774" y="3986205"/>
                  </a:moveTo>
                  <a:cubicBezTo>
                    <a:pt x="3668689" y="4151431"/>
                    <a:pt x="3634193" y="4330966"/>
                    <a:pt x="3648011" y="4505404"/>
                  </a:cubicBezTo>
                  <a:cubicBezTo>
                    <a:pt x="3665357" y="4727175"/>
                    <a:pt x="3621943" y="4954533"/>
                    <a:pt x="3522278" y="5162879"/>
                  </a:cubicBezTo>
                  <a:cubicBezTo>
                    <a:pt x="3213974" y="5807124"/>
                    <a:pt x="2439096" y="6080443"/>
                    <a:pt x="1794851" y="5772138"/>
                  </a:cubicBezTo>
                  <a:cubicBezTo>
                    <a:pt x="1150606" y="5463833"/>
                    <a:pt x="877287" y="4688956"/>
                    <a:pt x="1185493" y="4044711"/>
                  </a:cubicBezTo>
                  <a:cubicBezTo>
                    <a:pt x="1316714" y="3770411"/>
                    <a:pt x="1542112" y="3550012"/>
                    <a:pt x="1820135" y="3424083"/>
                  </a:cubicBezTo>
                  <a:cubicBezTo>
                    <a:pt x="2082772" y="3303937"/>
                    <a:pt x="2295822" y="3094905"/>
                    <a:pt x="2419986" y="2835306"/>
                  </a:cubicBezTo>
                  <a:cubicBezTo>
                    <a:pt x="2561889" y="2538859"/>
                    <a:pt x="2579626" y="2204388"/>
                    <a:pt x="2469966" y="1893634"/>
                  </a:cubicBezTo>
                  <a:cubicBezTo>
                    <a:pt x="2360305" y="1582879"/>
                    <a:pt x="2136671" y="1333570"/>
                    <a:pt x="1840224" y="1191765"/>
                  </a:cubicBezTo>
                  <a:cubicBezTo>
                    <a:pt x="1673136" y="1111798"/>
                    <a:pt x="1491250" y="1070443"/>
                    <a:pt x="1309070" y="1070443"/>
                  </a:cubicBezTo>
                  <a:cubicBezTo>
                    <a:pt x="1276828" y="1070443"/>
                    <a:pt x="1244587" y="1071716"/>
                    <a:pt x="1212443" y="1074362"/>
                  </a:cubicBezTo>
                  <a:cubicBezTo>
                    <a:pt x="1023893" y="1089846"/>
                    <a:pt x="832501" y="1054077"/>
                    <a:pt x="659043" y="971072"/>
                  </a:cubicBezTo>
                  <a:cubicBezTo>
                    <a:pt x="398170" y="846221"/>
                    <a:pt x="201290" y="626801"/>
                    <a:pt x="104859" y="353286"/>
                  </a:cubicBezTo>
                  <a:cubicBezTo>
                    <a:pt x="64189" y="237843"/>
                    <a:pt x="43512" y="118775"/>
                    <a:pt x="42434" y="0"/>
                  </a:cubicBezTo>
                  <a:lnTo>
                    <a:pt x="0" y="0"/>
                  </a:lnTo>
                  <a:cubicBezTo>
                    <a:pt x="980" y="123479"/>
                    <a:pt x="22442" y="247349"/>
                    <a:pt x="64777" y="367398"/>
                  </a:cubicBezTo>
                  <a:cubicBezTo>
                    <a:pt x="165030" y="651595"/>
                    <a:pt x="369554" y="879541"/>
                    <a:pt x="640717" y="1009291"/>
                  </a:cubicBezTo>
                  <a:cubicBezTo>
                    <a:pt x="820937" y="1095530"/>
                    <a:pt x="1019875" y="1132672"/>
                    <a:pt x="1215873" y="1116600"/>
                  </a:cubicBezTo>
                  <a:cubicBezTo>
                    <a:pt x="1422455" y="1099940"/>
                    <a:pt x="1632075" y="1139140"/>
                    <a:pt x="1821898" y="1229985"/>
                  </a:cubicBezTo>
                  <a:cubicBezTo>
                    <a:pt x="2108153" y="1366987"/>
                    <a:pt x="2324045" y="1607673"/>
                    <a:pt x="2429884" y="1907745"/>
                  </a:cubicBezTo>
                  <a:cubicBezTo>
                    <a:pt x="2535723" y="2207818"/>
                    <a:pt x="2518573" y="2530725"/>
                    <a:pt x="2381668" y="2816980"/>
                  </a:cubicBezTo>
                  <a:cubicBezTo>
                    <a:pt x="2261718" y="3067563"/>
                    <a:pt x="2056018" y="3269539"/>
                    <a:pt x="1802495" y="3385471"/>
                  </a:cubicBezTo>
                  <a:cubicBezTo>
                    <a:pt x="1515456" y="3515516"/>
                    <a:pt x="1282708" y="3743168"/>
                    <a:pt x="1147176" y="4026385"/>
                  </a:cubicBezTo>
                  <a:cubicBezTo>
                    <a:pt x="828777" y="4691700"/>
                    <a:pt x="1111112" y="5492057"/>
                    <a:pt x="1776427" y="5810358"/>
                  </a:cubicBezTo>
                  <a:cubicBezTo>
                    <a:pt x="1958999" y="5897675"/>
                    <a:pt x="2154801" y="5941676"/>
                    <a:pt x="2351681" y="5941676"/>
                  </a:cubicBezTo>
                  <a:cubicBezTo>
                    <a:pt x="2501815" y="5941676"/>
                    <a:pt x="2652636" y="5916098"/>
                    <a:pt x="2798556" y="5864551"/>
                  </a:cubicBezTo>
                  <a:cubicBezTo>
                    <a:pt x="3135869" y="5745580"/>
                    <a:pt x="3406444" y="5502837"/>
                    <a:pt x="3560400" y="5181008"/>
                  </a:cubicBezTo>
                  <a:cubicBezTo>
                    <a:pt x="3663299" y="4965999"/>
                    <a:pt x="3708182" y="4731193"/>
                    <a:pt x="3690248" y="4501876"/>
                  </a:cubicBezTo>
                  <a:cubicBezTo>
                    <a:pt x="3677019" y="4334885"/>
                    <a:pt x="3710142" y="4162799"/>
                    <a:pt x="3785994" y="4004335"/>
                  </a:cubicBezTo>
                  <a:cubicBezTo>
                    <a:pt x="3940734" y="3681036"/>
                    <a:pt x="4250901" y="3481314"/>
                    <a:pt x="4584391" y="3451719"/>
                  </a:cubicBezTo>
                  <a:lnTo>
                    <a:pt x="4584391" y="3409187"/>
                  </a:lnTo>
                  <a:cubicBezTo>
                    <a:pt x="4235025" y="3438979"/>
                    <a:pt x="3909668" y="3647521"/>
                    <a:pt x="3747676" y="3986107"/>
                  </a:cubicBezTo>
                  <a:close/>
                </a:path>
              </a:pathLst>
            </a:custGeom>
            <a:solidFill>
              <a:srgbClr val="84B135"/>
            </a:solidFill>
            <a:ln w="979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70DBC5-3F68-3C29-D0DF-B801BF7709F3}"/>
                </a:ext>
              </a:extLst>
            </p:cNvPr>
            <p:cNvSpPr/>
            <p:nvPr/>
          </p:nvSpPr>
          <p:spPr>
            <a:xfrm>
              <a:off x="7508630" y="0"/>
              <a:ext cx="4686211" cy="6047220"/>
            </a:xfrm>
            <a:custGeom>
              <a:avLst/>
              <a:gdLst>
                <a:gd name="connsiteX0" fmla="*/ 3944556 w 4686211"/>
                <a:gd name="connsiteY0" fmla="*/ 4031677 h 6047220"/>
                <a:gd name="connsiteX1" fmla="*/ 3854789 w 4686211"/>
                <a:gd name="connsiteY1" fmla="*/ 4498054 h 6047220"/>
                <a:gd name="connsiteX2" fmla="*/ 3718962 w 4686211"/>
                <a:gd name="connsiteY2" fmla="*/ 5208350 h 6047220"/>
                <a:gd name="connsiteX3" fmla="*/ 2921251 w 4686211"/>
                <a:gd name="connsiteY3" fmla="*/ 5924036 h 6047220"/>
                <a:gd name="connsiteX4" fmla="*/ 1851102 w 4686211"/>
                <a:gd name="connsiteY4" fmla="*/ 5867197 h 6047220"/>
                <a:gd name="connsiteX5" fmla="*/ 1135416 w 4686211"/>
                <a:gd name="connsiteY5" fmla="*/ 5069485 h 6047220"/>
                <a:gd name="connsiteX6" fmla="*/ 1192255 w 4686211"/>
                <a:gd name="connsiteY6" fmla="*/ 3999337 h 6047220"/>
                <a:gd name="connsiteX7" fmla="*/ 1877072 w 4686211"/>
                <a:gd name="connsiteY7" fmla="*/ 3328828 h 6047220"/>
                <a:gd name="connsiteX8" fmla="*/ 2426748 w 4686211"/>
                <a:gd name="connsiteY8" fmla="*/ 2789834 h 6047220"/>
                <a:gd name="connsiteX9" fmla="*/ 1896574 w 4686211"/>
                <a:gd name="connsiteY9" fmla="*/ 1286726 h 6047220"/>
                <a:gd name="connsiteX10" fmla="*/ 1405991 w 4686211"/>
                <a:gd name="connsiteY10" fmla="*/ 1172851 h 6047220"/>
                <a:gd name="connsiteX11" fmla="*/ 1321614 w 4686211"/>
                <a:gd name="connsiteY11" fmla="*/ 1176281 h 6047220"/>
                <a:gd name="connsiteX12" fmla="*/ 718430 w 4686211"/>
                <a:gd name="connsiteY12" fmla="*/ 1059565 h 6047220"/>
                <a:gd name="connsiteX13" fmla="*/ 42434 w 4686211"/>
                <a:gd name="connsiteY13" fmla="*/ 0 h 6047220"/>
                <a:gd name="connsiteX14" fmla="*/ 0 w 4686211"/>
                <a:gd name="connsiteY14" fmla="*/ 0 h 6047220"/>
                <a:gd name="connsiteX15" fmla="*/ 700105 w 4686211"/>
                <a:gd name="connsiteY15" fmla="*/ 1097882 h 6047220"/>
                <a:gd name="connsiteX16" fmla="*/ 1324946 w 4686211"/>
                <a:gd name="connsiteY16" fmla="*/ 1218617 h 6047220"/>
                <a:gd name="connsiteX17" fmla="*/ 1878248 w 4686211"/>
                <a:gd name="connsiteY17" fmla="*/ 1325044 h 6047220"/>
                <a:gd name="connsiteX18" fmla="*/ 2388431 w 4686211"/>
                <a:gd name="connsiteY18" fmla="*/ 2771606 h 6047220"/>
                <a:gd name="connsiteX19" fmla="*/ 1859530 w 4686211"/>
                <a:gd name="connsiteY19" fmla="*/ 3290217 h 6047220"/>
                <a:gd name="connsiteX20" fmla="*/ 1153938 w 4686211"/>
                <a:gd name="connsiteY20" fmla="*/ 3981011 h 6047220"/>
                <a:gd name="connsiteX21" fmla="*/ 1832776 w 4686211"/>
                <a:gd name="connsiteY21" fmla="*/ 5905514 h 6047220"/>
                <a:gd name="connsiteX22" fmla="*/ 2453306 w 4686211"/>
                <a:gd name="connsiteY22" fmla="*/ 6047221 h 6047220"/>
                <a:gd name="connsiteX23" fmla="*/ 2935363 w 4686211"/>
                <a:gd name="connsiteY23" fmla="*/ 5964118 h 6047220"/>
                <a:gd name="connsiteX24" fmla="*/ 3757182 w 4686211"/>
                <a:gd name="connsiteY24" fmla="*/ 5226774 h 6047220"/>
                <a:gd name="connsiteX25" fmla="*/ 3897026 w 4686211"/>
                <a:gd name="connsiteY25" fmla="*/ 4494820 h 6047220"/>
                <a:gd name="connsiteX26" fmla="*/ 3982775 w 4686211"/>
                <a:gd name="connsiteY26" fmla="*/ 4050100 h 6047220"/>
                <a:gd name="connsiteX27" fmla="*/ 4480610 w 4686211"/>
                <a:gd name="connsiteY27" fmla="*/ 3603519 h 6047220"/>
                <a:gd name="connsiteX28" fmla="*/ 4686212 w 4686211"/>
                <a:gd name="connsiteY28" fmla="*/ 3557558 h 6047220"/>
                <a:gd name="connsiteX29" fmla="*/ 4686212 w 4686211"/>
                <a:gd name="connsiteY29" fmla="*/ 3514830 h 6047220"/>
                <a:gd name="connsiteX30" fmla="*/ 4466498 w 4686211"/>
                <a:gd name="connsiteY30" fmla="*/ 3563536 h 6047220"/>
                <a:gd name="connsiteX31" fmla="*/ 3944556 w 4686211"/>
                <a:gd name="connsiteY31" fmla="*/ 4031775 h 604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6211" h="6047220">
                  <a:moveTo>
                    <a:pt x="3944556" y="4031677"/>
                  </a:moveTo>
                  <a:cubicBezTo>
                    <a:pt x="3873212" y="4180733"/>
                    <a:pt x="3842147" y="4342039"/>
                    <a:pt x="3854789" y="4498054"/>
                  </a:cubicBezTo>
                  <a:cubicBezTo>
                    <a:pt x="3873604" y="4737759"/>
                    <a:pt x="3826663" y="4983345"/>
                    <a:pt x="3718962" y="5208350"/>
                  </a:cubicBezTo>
                  <a:cubicBezTo>
                    <a:pt x="3557754" y="5545270"/>
                    <a:pt x="3274439" y="5799382"/>
                    <a:pt x="2921251" y="5924036"/>
                  </a:cubicBezTo>
                  <a:cubicBezTo>
                    <a:pt x="2568062" y="6048593"/>
                    <a:pt x="2188023" y="6028405"/>
                    <a:pt x="1851102" y="5867197"/>
                  </a:cubicBezTo>
                  <a:cubicBezTo>
                    <a:pt x="1514182" y="5705989"/>
                    <a:pt x="1260070" y="5422674"/>
                    <a:pt x="1135416" y="5069485"/>
                  </a:cubicBezTo>
                  <a:cubicBezTo>
                    <a:pt x="1010859" y="4716297"/>
                    <a:pt x="1031047" y="4336258"/>
                    <a:pt x="1192255" y="3999337"/>
                  </a:cubicBezTo>
                  <a:cubicBezTo>
                    <a:pt x="1334256" y="3702596"/>
                    <a:pt x="1577489" y="3464459"/>
                    <a:pt x="1877072" y="3328828"/>
                  </a:cubicBezTo>
                  <a:cubicBezTo>
                    <a:pt x="2117464" y="3219559"/>
                    <a:pt x="2312677" y="3028167"/>
                    <a:pt x="2426748" y="2789834"/>
                  </a:cubicBezTo>
                  <a:cubicBezTo>
                    <a:pt x="2694971" y="2229280"/>
                    <a:pt x="2457128" y="1554949"/>
                    <a:pt x="1896574" y="1286726"/>
                  </a:cubicBezTo>
                  <a:cubicBezTo>
                    <a:pt x="1739775" y="1211659"/>
                    <a:pt x="1571805" y="1172851"/>
                    <a:pt x="1405991" y="1172851"/>
                  </a:cubicBezTo>
                  <a:cubicBezTo>
                    <a:pt x="1377767" y="1172851"/>
                    <a:pt x="1349642" y="1173929"/>
                    <a:pt x="1321614" y="1176281"/>
                  </a:cubicBezTo>
                  <a:cubicBezTo>
                    <a:pt x="1119246" y="1191961"/>
                    <a:pt x="910704" y="1151586"/>
                    <a:pt x="718430" y="1059565"/>
                  </a:cubicBezTo>
                  <a:cubicBezTo>
                    <a:pt x="296839" y="857883"/>
                    <a:pt x="48216" y="438545"/>
                    <a:pt x="42434" y="0"/>
                  </a:cubicBezTo>
                  <a:lnTo>
                    <a:pt x="0" y="0"/>
                  </a:lnTo>
                  <a:cubicBezTo>
                    <a:pt x="5782" y="454323"/>
                    <a:pt x="263323" y="888850"/>
                    <a:pt x="700105" y="1097882"/>
                  </a:cubicBezTo>
                  <a:cubicBezTo>
                    <a:pt x="899140" y="1193137"/>
                    <a:pt x="1115130" y="1234885"/>
                    <a:pt x="1324946" y="1218617"/>
                  </a:cubicBezTo>
                  <a:cubicBezTo>
                    <a:pt x="1510164" y="1203721"/>
                    <a:pt x="1701458" y="1240471"/>
                    <a:pt x="1878248" y="1325044"/>
                  </a:cubicBezTo>
                  <a:cubicBezTo>
                    <a:pt x="2417732" y="1583173"/>
                    <a:pt x="2646560" y="2232122"/>
                    <a:pt x="2388431" y="2771606"/>
                  </a:cubicBezTo>
                  <a:cubicBezTo>
                    <a:pt x="2278672" y="3000924"/>
                    <a:pt x="2090808" y="3185162"/>
                    <a:pt x="1859530" y="3290217"/>
                  </a:cubicBezTo>
                  <a:cubicBezTo>
                    <a:pt x="1550833" y="3429963"/>
                    <a:pt x="1300250" y="3675254"/>
                    <a:pt x="1153938" y="3981011"/>
                  </a:cubicBezTo>
                  <a:cubicBezTo>
                    <a:pt x="810549" y="4698756"/>
                    <a:pt x="1115032" y="5562028"/>
                    <a:pt x="1832776" y="5905514"/>
                  </a:cubicBezTo>
                  <a:cubicBezTo>
                    <a:pt x="2029754" y="5999789"/>
                    <a:pt x="2240942" y="6047221"/>
                    <a:pt x="2453306" y="6047221"/>
                  </a:cubicBezTo>
                  <a:cubicBezTo>
                    <a:pt x="2615298" y="6047221"/>
                    <a:pt x="2777878" y="6019585"/>
                    <a:pt x="2935363" y="5964118"/>
                  </a:cubicBezTo>
                  <a:cubicBezTo>
                    <a:pt x="3299233" y="5835739"/>
                    <a:pt x="3591171" y="5573886"/>
                    <a:pt x="3757182" y="5226774"/>
                  </a:cubicBezTo>
                  <a:cubicBezTo>
                    <a:pt x="3868117" y="4995006"/>
                    <a:pt x="3916430" y="4741875"/>
                    <a:pt x="3897026" y="4494820"/>
                  </a:cubicBezTo>
                  <a:cubicBezTo>
                    <a:pt x="3884972" y="4346253"/>
                    <a:pt x="3914666" y="4192493"/>
                    <a:pt x="3982775" y="4050100"/>
                  </a:cubicBezTo>
                  <a:cubicBezTo>
                    <a:pt x="4083420" y="3839893"/>
                    <a:pt x="4260211" y="3681233"/>
                    <a:pt x="4480610" y="3603519"/>
                  </a:cubicBezTo>
                  <a:cubicBezTo>
                    <a:pt x="4548033" y="3579705"/>
                    <a:pt x="4616926" y="3564516"/>
                    <a:pt x="4686212" y="3557558"/>
                  </a:cubicBezTo>
                  <a:lnTo>
                    <a:pt x="4686212" y="3514830"/>
                  </a:lnTo>
                  <a:cubicBezTo>
                    <a:pt x="4612223" y="3521886"/>
                    <a:pt x="4538527" y="3538056"/>
                    <a:pt x="4466498" y="3563536"/>
                  </a:cubicBezTo>
                  <a:cubicBezTo>
                    <a:pt x="4235417" y="3645071"/>
                    <a:pt x="4050003" y="3811375"/>
                    <a:pt x="3944556" y="4031775"/>
                  </a:cubicBezTo>
                  <a:close/>
                </a:path>
              </a:pathLst>
            </a:custGeom>
            <a:solidFill>
              <a:srgbClr val="84B135"/>
            </a:solidFill>
            <a:ln w="979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4569273-B3E6-B164-95CE-F65EB3E4CD4D}"/>
                </a:ext>
              </a:extLst>
            </p:cNvPr>
            <p:cNvSpPr/>
            <p:nvPr/>
          </p:nvSpPr>
          <p:spPr>
            <a:xfrm>
              <a:off x="7400145" y="0"/>
              <a:ext cx="4794696" cy="6152569"/>
            </a:xfrm>
            <a:custGeom>
              <a:avLst/>
              <a:gdLst>
                <a:gd name="connsiteX0" fmla="*/ 4148100 w 4794696"/>
                <a:gd name="connsiteY0" fmla="*/ 4077148 h 6152569"/>
                <a:gd name="connsiteX1" fmla="*/ 4068329 w 4794696"/>
                <a:gd name="connsiteY1" fmla="*/ 4489822 h 6152569"/>
                <a:gd name="connsiteX2" fmla="*/ 3922506 w 4794696"/>
                <a:gd name="connsiteY2" fmla="*/ 5253821 h 6152569"/>
                <a:gd name="connsiteX3" fmla="*/ 3064819 w 4794696"/>
                <a:gd name="connsiteY3" fmla="*/ 6023309 h 6152569"/>
                <a:gd name="connsiteX4" fmla="*/ 1914116 w 4794696"/>
                <a:gd name="connsiteY4" fmla="*/ 5962256 h 6152569"/>
                <a:gd name="connsiteX5" fmla="*/ 1144628 w 4794696"/>
                <a:gd name="connsiteY5" fmla="*/ 5104569 h 6152569"/>
                <a:gd name="connsiteX6" fmla="*/ 1205681 w 4794696"/>
                <a:gd name="connsiteY6" fmla="*/ 3953865 h 6152569"/>
                <a:gd name="connsiteX7" fmla="*/ 1942241 w 4794696"/>
                <a:gd name="connsiteY7" fmla="*/ 3232887 h 6152569"/>
                <a:gd name="connsiteX8" fmla="*/ 2440174 w 4794696"/>
                <a:gd name="connsiteY8" fmla="*/ 2744460 h 6152569"/>
                <a:gd name="connsiteX9" fmla="*/ 2481628 w 4794696"/>
                <a:gd name="connsiteY9" fmla="*/ 1963801 h 6152569"/>
                <a:gd name="connsiteX10" fmla="*/ 1959587 w 4794696"/>
                <a:gd name="connsiteY10" fmla="*/ 1381883 h 6152569"/>
                <a:gd name="connsiteX11" fmla="*/ 1517808 w 4794696"/>
                <a:gd name="connsiteY11" fmla="*/ 1281336 h 6152569"/>
                <a:gd name="connsiteX12" fmla="*/ 1438527 w 4794696"/>
                <a:gd name="connsiteY12" fmla="*/ 1284472 h 6152569"/>
                <a:gd name="connsiteX13" fmla="*/ 778308 w 4794696"/>
                <a:gd name="connsiteY13" fmla="*/ 1161190 h 6152569"/>
                <a:gd name="connsiteX14" fmla="*/ 42434 w 4794696"/>
                <a:gd name="connsiteY14" fmla="*/ 0 h 6152569"/>
                <a:gd name="connsiteX15" fmla="*/ 0 w 4794696"/>
                <a:gd name="connsiteY15" fmla="*/ 0 h 6152569"/>
                <a:gd name="connsiteX16" fmla="*/ 760080 w 4794696"/>
                <a:gd name="connsiteY16" fmla="*/ 1199311 h 6152569"/>
                <a:gd name="connsiteX17" fmla="*/ 1441957 w 4794696"/>
                <a:gd name="connsiteY17" fmla="*/ 1326612 h 6152569"/>
                <a:gd name="connsiteX18" fmla="*/ 1941261 w 4794696"/>
                <a:gd name="connsiteY18" fmla="*/ 1420005 h 6152569"/>
                <a:gd name="connsiteX19" fmla="*/ 2441644 w 4794696"/>
                <a:gd name="connsiteY19" fmla="*/ 1977815 h 6152569"/>
                <a:gd name="connsiteX20" fmla="*/ 2401954 w 4794696"/>
                <a:gd name="connsiteY20" fmla="*/ 2726135 h 6152569"/>
                <a:gd name="connsiteX21" fmla="*/ 1924797 w 4794696"/>
                <a:gd name="connsiteY21" fmla="*/ 3194276 h 6152569"/>
                <a:gd name="connsiteX22" fmla="*/ 1167462 w 4794696"/>
                <a:gd name="connsiteY22" fmla="*/ 3935638 h 6152569"/>
                <a:gd name="connsiteX23" fmla="*/ 1104644 w 4794696"/>
                <a:gd name="connsiteY23" fmla="*/ 5118681 h 6152569"/>
                <a:gd name="connsiteX24" fmla="*/ 1895790 w 4794696"/>
                <a:gd name="connsiteY24" fmla="*/ 6000573 h 6152569"/>
                <a:gd name="connsiteX25" fmla="*/ 2561595 w 4794696"/>
                <a:gd name="connsiteY25" fmla="*/ 6152570 h 6152569"/>
                <a:gd name="connsiteX26" fmla="*/ 3078833 w 4794696"/>
                <a:gd name="connsiteY26" fmla="*/ 6063390 h 6152569"/>
                <a:gd name="connsiteX27" fmla="*/ 3960726 w 4794696"/>
                <a:gd name="connsiteY27" fmla="*/ 5272245 h 6152569"/>
                <a:gd name="connsiteX28" fmla="*/ 4110566 w 4794696"/>
                <a:gd name="connsiteY28" fmla="*/ 4486588 h 6152569"/>
                <a:gd name="connsiteX29" fmla="*/ 4186319 w 4794696"/>
                <a:gd name="connsiteY29" fmla="*/ 4095572 h 6152569"/>
                <a:gd name="connsiteX30" fmla="*/ 4794697 w 4794696"/>
                <a:gd name="connsiteY30" fmla="*/ 3663788 h 6152569"/>
                <a:gd name="connsiteX31" fmla="*/ 4794697 w 4794696"/>
                <a:gd name="connsiteY31" fmla="*/ 3621061 h 6152569"/>
                <a:gd name="connsiteX32" fmla="*/ 4148001 w 4794696"/>
                <a:gd name="connsiteY32" fmla="*/ 4077246 h 615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94696" h="6152569">
                  <a:moveTo>
                    <a:pt x="4148100" y="4077148"/>
                  </a:moveTo>
                  <a:cubicBezTo>
                    <a:pt x="4084890" y="4209251"/>
                    <a:pt x="4057352" y="4351937"/>
                    <a:pt x="4068329" y="4489822"/>
                  </a:cubicBezTo>
                  <a:cubicBezTo>
                    <a:pt x="4088516" y="4748147"/>
                    <a:pt x="4038047" y="5012352"/>
                    <a:pt x="3922506" y="5253821"/>
                  </a:cubicBezTo>
                  <a:cubicBezTo>
                    <a:pt x="3749146" y="5616026"/>
                    <a:pt x="3444565" y="5889345"/>
                    <a:pt x="3064819" y="6023309"/>
                  </a:cubicBezTo>
                  <a:cubicBezTo>
                    <a:pt x="2685073" y="6157274"/>
                    <a:pt x="2276418" y="6135616"/>
                    <a:pt x="1914116" y="5962256"/>
                  </a:cubicBezTo>
                  <a:cubicBezTo>
                    <a:pt x="1551813" y="5788896"/>
                    <a:pt x="1278592" y="5484315"/>
                    <a:pt x="1144628" y="5104569"/>
                  </a:cubicBezTo>
                  <a:cubicBezTo>
                    <a:pt x="1010663" y="4724823"/>
                    <a:pt x="1032321" y="4316168"/>
                    <a:pt x="1205681" y="3953865"/>
                  </a:cubicBezTo>
                  <a:cubicBezTo>
                    <a:pt x="1358657" y="3634193"/>
                    <a:pt x="1620217" y="3378220"/>
                    <a:pt x="1942241" y="3232887"/>
                  </a:cubicBezTo>
                  <a:cubicBezTo>
                    <a:pt x="2159799" y="3134398"/>
                    <a:pt x="2336589" y="2960940"/>
                    <a:pt x="2440174" y="2744460"/>
                  </a:cubicBezTo>
                  <a:cubicBezTo>
                    <a:pt x="2557773" y="2498679"/>
                    <a:pt x="2572472" y="2221440"/>
                    <a:pt x="2481628" y="1963801"/>
                  </a:cubicBezTo>
                  <a:cubicBezTo>
                    <a:pt x="2390782" y="1706162"/>
                    <a:pt x="2205369" y="1499482"/>
                    <a:pt x="1959587" y="1381883"/>
                  </a:cubicBezTo>
                  <a:cubicBezTo>
                    <a:pt x="1821115" y="1315636"/>
                    <a:pt x="1669902" y="1281336"/>
                    <a:pt x="1517808" y="1281336"/>
                  </a:cubicBezTo>
                  <a:cubicBezTo>
                    <a:pt x="1491446" y="1281336"/>
                    <a:pt x="1464986" y="1282414"/>
                    <a:pt x="1438527" y="1284472"/>
                  </a:cubicBezTo>
                  <a:cubicBezTo>
                    <a:pt x="1212541" y="1302308"/>
                    <a:pt x="984204" y="1259678"/>
                    <a:pt x="778308" y="1161190"/>
                  </a:cubicBezTo>
                  <a:cubicBezTo>
                    <a:pt x="317027" y="940300"/>
                    <a:pt x="45864" y="480097"/>
                    <a:pt x="42434" y="0"/>
                  </a:cubicBezTo>
                  <a:lnTo>
                    <a:pt x="0" y="0"/>
                  </a:lnTo>
                  <a:cubicBezTo>
                    <a:pt x="3528" y="495875"/>
                    <a:pt x="283511" y="971268"/>
                    <a:pt x="760080" y="1199311"/>
                  </a:cubicBezTo>
                  <a:cubicBezTo>
                    <a:pt x="972640" y="1301034"/>
                    <a:pt x="1208523" y="1345036"/>
                    <a:pt x="1441957" y="1326612"/>
                  </a:cubicBezTo>
                  <a:cubicBezTo>
                    <a:pt x="1612867" y="1313186"/>
                    <a:pt x="1785541" y="1345427"/>
                    <a:pt x="1941261" y="1420005"/>
                  </a:cubicBezTo>
                  <a:cubicBezTo>
                    <a:pt x="2176851" y="1532703"/>
                    <a:pt x="2354523" y="1730857"/>
                    <a:pt x="2441644" y="1977815"/>
                  </a:cubicBezTo>
                  <a:cubicBezTo>
                    <a:pt x="2528765" y="2224772"/>
                    <a:pt x="2514653" y="2490545"/>
                    <a:pt x="2401954" y="2726135"/>
                  </a:cubicBezTo>
                  <a:cubicBezTo>
                    <a:pt x="2301211" y="2936636"/>
                    <a:pt x="2136181" y="3098531"/>
                    <a:pt x="1924797" y="3194276"/>
                  </a:cubicBezTo>
                  <a:cubicBezTo>
                    <a:pt x="1593659" y="3343724"/>
                    <a:pt x="1324750" y="3606949"/>
                    <a:pt x="1167462" y="3935638"/>
                  </a:cubicBezTo>
                  <a:cubicBezTo>
                    <a:pt x="989201" y="4308132"/>
                    <a:pt x="966956" y="4728253"/>
                    <a:pt x="1104644" y="5118681"/>
                  </a:cubicBezTo>
                  <a:cubicBezTo>
                    <a:pt x="1242333" y="5509109"/>
                    <a:pt x="1523296" y="5822313"/>
                    <a:pt x="1895790" y="6000573"/>
                  </a:cubicBezTo>
                  <a:cubicBezTo>
                    <a:pt x="2107076" y="6101708"/>
                    <a:pt x="2333747" y="6152570"/>
                    <a:pt x="2561595" y="6152570"/>
                  </a:cubicBezTo>
                  <a:cubicBezTo>
                    <a:pt x="2735347" y="6152570"/>
                    <a:pt x="2909883" y="6122974"/>
                    <a:pt x="3078833" y="6063390"/>
                  </a:cubicBezTo>
                  <a:cubicBezTo>
                    <a:pt x="3469261" y="5925702"/>
                    <a:pt x="3782466" y="5644739"/>
                    <a:pt x="3960726" y="5272245"/>
                  </a:cubicBezTo>
                  <a:cubicBezTo>
                    <a:pt x="4079500" y="5024014"/>
                    <a:pt x="4131244" y="4752361"/>
                    <a:pt x="4110566" y="4486588"/>
                  </a:cubicBezTo>
                  <a:cubicBezTo>
                    <a:pt x="4100178" y="4356151"/>
                    <a:pt x="4126344" y="4220913"/>
                    <a:pt x="4186319" y="4095572"/>
                  </a:cubicBezTo>
                  <a:cubicBezTo>
                    <a:pt x="4304898" y="3847733"/>
                    <a:pt x="4539900" y="3692502"/>
                    <a:pt x="4794697" y="3663788"/>
                  </a:cubicBezTo>
                  <a:lnTo>
                    <a:pt x="4794697" y="3621061"/>
                  </a:lnTo>
                  <a:cubicBezTo>
                    <a:pt x="4524024" y="3650069"/>
                    <a:pt x="4273930" y="3814217"/>
                    <a:pt x="4148001" y="4077246"/>
                  </a:cubicBezTo>
                  <a:close/>
                </a:path>
              </a:pathLst>
            </a:custGeom>
            <a:solidFill>
              <a:srgbClr val="84B135"/>
            </a:solidFill>
            <a:ln w="979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908A189-C8B1-F29F-6D30-9644DAC540A3}"/>
                </a:ext>
              </a:extLst>
            </p:cNvPr>
            <p:cNvSpPr/>
            <p:nvPr/>
          </p:nvSpPr>
          <p:spPr>
            <a:xfrm>
              <a:off x="7294796" y="0"/>
              <a:ext cx="4900143" cy="6257918"/>
            </a:xfrm>
            <a:custGeom>
              <a:avLst/>
              <a:gdLst>
                <a:gd name="connsiteX0" fmla="*/ 4348410 w 4900143"/>
                <a:gd name="connsiteY0" fmla="*/ 4122620 h 6257918"/>
                <a:gd name="connsiteX1" fmla="*/ 4278634 w 4900143"/>
                <a:gd name="connsiteY1" fmla="*/ 4482178 h 6257918"/>
                <a:gd name="connsiteX2" fmla="*/ 4122816 w 4900143"/>
                <a:gd name="connsiteY2" fmla="*/ 5299293 h 6257918"/>
                <a:gd name="connsiteX3" fmla="*/ 3205154 w 4900143"/>
                <a:gd name="connsiteY3" fmla="*/ 6122582 h 6257918"/>
                <a:gd name="connsiteX4" fmla="*/ 1973993 w 4900143"/>
                <a:gd name="connsiteY4" fmla="*/ 6057217 h 6257918"/>
                <a:gd name="connsiteX5" fmla="*/ 1216069 w 4900143"/>
                <a:gd name="connsiteY5" fmla="*/ 3908394 h 6257918"/>
                <a:gd name="connsiteX6" fmla="*/ 2003001 w 4900143"/>
                <a:gd name="connsiteY6" fmla="*/ 3137534 h 6257918"/>
                <a:gd name="connsiteX7" fmla="*/ 2450562 w 4900143"/>
                <a:gd name="connsiteY7" fmla="*/ 2698989 h 6257918"/>
                <a:gd name="connsiteX8" fmla="*/ 2487703 w 4900143"/>
                <a:gd name="connsiteY8" fmla="*/ 1998787 h 6257918"/>
                <a:gd name="connsiteX9" fmla="*/ 2019464 w 4900143"/>
                <a:gd name="connsiteY9" fmla="*/ 1476844 h 6257918"/>
                <a:gd name="connsiteX10" fmla="*/ 1623647 w 4900143"/>
                <a:gd name="connsiteY10" fmla="*/ 1386587 h 6257918"/>
                <a:gd name="connsiteX11" fmla="*/ 1551323 w 4900143"/>
                <a:gd name="connsiteY11" fmla="*/ 1389527 h 6257918"/>
                <a:gd name="connsiteX12" fmla="*/ 838283 w 4900143"/>
                <a:gd name="connsiteY12" fmla="*/ 1256150 h 6257918"/>
                <a:gd name="connsiteX13" fmla="*/ 42434 w 4900143"/>
                <a:gd name="connsiteY13" fmla="*/ 0 h 6257918"/>
                <a:gd name="connsiteX14" fmla="*/ 0 w 4900143"/>
                <a:gd name="connsiteY14" fmla="*/ 0 h 6257918"/>
                <a:gd name="connsiteX15" fmla="*/ 819957 w 4900143"/>
                <a:gd name="connsiteY15" fmla="*/ 1294370 h 6257918"/>
                <a:gd name="connsiteX16" fmla="*/ 1554753 w 4900143"/>
                <a:gd name="connsiteY16" fmla="*/ 1431765 h 6257918"/>
                <a:gd name="connsiteX17" fmla="*/ 2001237 w 4900143"/>
                <a:gd name="connsiteY17" fmla="*/ 1515064 h 6257918"/>
                <a:gd name="connsiteX18" fmla="*/ 2412342 w 4900143"/>
                <a:gd name="connsiteY18" fmla="*/ 2680663 h 6257918"/>
                <a:gd name="connsiteX19" fmla="*/ 1985557 w 4900143"/>
                <a:gd name="connsiteY19" fmla="*/ 3098923 h 6257918"/>
                <a:gd name="connsiteX20" fmla="*/ 1177849 w 4900143"/>
                <a:gd name="connsiteY20" fmla="*/ 3890166 h 6257918"/>
                <a:gd name="connsiteX21" fmla="*/ 1955765 w 4900143"/>
                <a:gd name="connsiteY21" fmla="*/ 6095534 h 6257918"/>
                <a:gd name="connsiteX22" fmla="*/ 2666846 w 4900143"/>
                <a:gd name="connsiteY22" fmla="*/ 6257919 h 6257918"/>
                <a:gd name="connsiteX23" fmla="*/ 3219266 w 4900143"/>
                <a:gd name="connsiteY23" fmla="*/ 6162663 h 6257918"/>
                <a:gd name="connsiteX24" fmla="*/ 4161134 w 4900143"/>
                <a:gd name="connsiteY24" fmla="*/ 5317717 h 6257918"/>
                <a:gd name="connsiteX25" fmla="*/ 4320970 w 4900143"/>
                <a:gd name="connsiteY25" fmla="*/ 4478944 h 6257918"/>
                <a:gd name="connsiteX26" fmla="*/ 4386727 w 4900143"/>
                <a:gd name="connsiteY26" fmla="*/ 4141043 h 6257918"/>
                <a:gd name="connsiteX27" fmla="*/ 4900144 w 4900143"/>
                <a:gd name="connsiteY27" fmla="*/ 3769823 h 6257918"/>
                <a:gd name="connsiteX28" fmla="*/ 4900144 w 4900143"/>
                <a:gd name="connsiteY28" fmla="*/ 3727096 h 6257918"/>
                <a:gd name="connsiteX29" fmla="*/ 4348508 w 4900143"/>
                <a:gd name="connsiteY29" fmla="*/ 4122718 h 625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00143" h="6257918">
                  <a:moveTo>
                    <a:pt x="4348410" y="4122620"/>
                  </a:moveTo>
                  <a:cubicBezTo>
                    <a:pt x="4293334" y="4237768"/>
                    <a:pt x="4269227" y="4362129"/>
                    <a:pt x="4278634" y="4482178"/>
                  </a:cubicBezTo>
                  <a:cubicBezTo>
                    <a:pt x="4299998" y="4759123"/>
                    <a:pt x="4246099" y="5041654"/>
                    <a:pt x="4122816" y="5299293"/>
                  </a:cubicBezTo>
                  <a:cubicBezTo>
                    <a:pt x="3937402" y="5686879"/>
                    <a:pt x="3611457" y="5979210"/>
                    <a:pt x="3205154" y="6122582"/>
                  </a:cubicBezTo>
                  <a:cubicBezTo>
                    <a:pt x="2798850" y="6265857"/>
                    <a:pt x="2361579" y="6242729"/>
                    <a:pt x="1973993" y="6057217"/>
                  </a:cubicBezTo>
                  <a:cubicBezTo>
                    <a:pt x="1172557" y="5673747"/>
                    <a:pt x="832599" y="4709829"/>
                    <a:pt x="1216069" y="3908394"/>
                  </a:cubicBezTo>
                  <a:cubicBezTo>
                    <a:pt x="1379433" y="3566868"/>
                    <a:pt x="1658926" y="3293157"/>
                    <a:pt x="2003001" y="3137534"/>
                  </a:cubicBezTo>
                  <a:cubicBezTo>
                    <a:pt x="2198508" y="3049237"/>
                    <a:pt x="2357463" y="2893517"/>
                    <a:pt x="2450562" y="2698989"/>
                  </a:cubicBezTo>
                  <a:cubicBezTo>
                    <a:pt x="2556009" y="2478491"/>
                    <a:pt x="2569239" y="2229868"/>
                    <a:pt x="2487703" y="1998787"/>
                  </a:cubicBezTo>
                  <a:cubicBezTo>
                    <a:pt x="2406168" y="1767705"/>
                    <a:pt x="2239864" y="1582291"/>
                    <a:pt x="2019464" y="1476844"/>
                  </a:cubicBezTo>
                  <a:cubicBezTo>
                    <a:pt x="1895104" y="1417359"/>
                    <a:pt x="1759571" y="1386587"/>
                    <a:pt x="1623647" y="1386587"/>
                  </a:cubicBezTo>
                  <a:cubicBezTo>
                    <a:pt x="1599539" y="1386587"/>
                    <a:pt x="1575431" y="1387567"/>
                    <a:pt x="1551323" y="1389527"/>
                  </a:cubicBezTo>
                  <a:cubicBezTo>
                    <a:pt x="1307502" y="1408833"/>
                    <a:pt x="1060937" y="1362773"/>
                    <a:pt x="838283" y="1256150"/>
                  </a:cubicBezTo>
                  <a:cubicBezTo>
                    <a:pt x="339174" y="1017229"/>
                    <a:pt x="45962" y="519394"/>
                    <a:pt x="42434" y="0"/>
                  </a:cubicBezTo>
                  <a:lnTo>
                    <a:pt x="0" y="0"/>
                  </a:lnTo>
                  <a:cubicBezTo>
                    <a:pt x="3528" y="535172"/>
                    <a:pt x="305659" y="1048197"/>
                    <a:pt x="819957" y="1294370"/>
                  </a:cubicBezTo>
                  <a:cubicBezTo>
                    <a:pt x="1049373" y="1404129"/>
                    <a:pt x="1303386" y="1451658"/>
                    <a:pt x="1554753" y="1431765"/>
                  </a:cubicBezTo>
                  <a:cubicBezTo>
                    <a:pt x="1707142" y="1419417"/>
                    <a:pt x="1861490" y="1448228"/>
                    <a:pt x="2001237" y="1515064"/>
                  </a:cubicBezTo>
                  <a:cubicBezTo>
                    <a:pt x="2435960" y="1723115"/>
                    <a:pt x="2620394" y="2245940"/>
                    <a:pt x="2412342" y="2680663"/>
                  </a:cubicBezTo>
                  <a:cubicBezTo>
                    <a:pt x="2323555" y="2866175"/>
                    <a:pt x="2172049" y="3014742"/>
                    <a:pt x="1985557" y="3098923"/>
                  </a:cubicBezTo>
                  <a:cubicBezTo>
                    <a:pt x="1632369" y="3258661"/>
                    <a:pt x="1345526" y="3539624"/>
                    <a:pt x="1177849" y="3890166"/>
                  </a:cubicBezTo>
                  <a:cubicBezTo>
                    <a:pt x="784286" y="4712672"/>
                    <a:pt x="1133260" y="5701971"/>
                    <a:pt x="1955765" y="6095534"/>
                  </a:cubicBezTo>
                  <a:cubicBezTo>
                    <a:pt x="2181457" y="6203529"/>
                    <a:pt x="2423514" y="6257919"/>
                    <a:pt x="2666846" y="6257919"/>
                  </a:cubicBezTo>
                  <a:cubicBezTo>
                    <a:pt x="2852456" y="6257919"/>
                    <a:pt x="3038849" y="6226265"/>
                    <a:pt x="3219266" y="6162663"/>
                  </a:cubicBezTo>
                  <a:cubicBezTo>
                    <a:pt x="3636251" y="6015568"/>
                    <a:pt x="3970721" y="5715494"/>
                    <a:pt x="4161134" y="5317717"/>
                  </a:cubicBezTo>
                  <a:cubicBezTo>
                    <a:pt x="4287650" y="5053316"/>
                    <a:pt x="4342922" y="4763337"/>
                    <a:pt x="4320970" y="4478944"/>
                  </a:cubicBezTo>
                  <a:cubicBezTo>
                    <a:pt x="4312052" y="4366343"/>
                    <a:pt x="4334788" y="4249430"/>
                    <a:pt x="4386727" y="4141043"/>
                  </a:cubicBezTo>
                  <a:cubicBezTo>
                    <a:pt x="4487274" y="3930934"/>
                    <a:pt x="4684742" y="3798047"/>
                    <a:pt x="4900144" y="3769823"/>
                  </a:cubicBezTo>
                  <a:lnTo>
                    <a:pt x="4900144" y="3727096"/>
                  </a:lnTo>
                  <a:cubicBezTo>
                    <a:pt x="4668866" y="3755516"/>
                    <a:pt x="4456306" y="3897418"/>
                    <a:pt x="4348508" y="4122718"/>
                  </a:cubicBezTo>
                  <a:close/>
                </a:path>
              </a:pathLst>
            </a:custGeom>
            <a:solidFill>
              <a:srgbClr val="84B135"/>
            </a:solidFill>
            <a:ln w="979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CC2D191-9CEE-4237-AEFB-39C43C74B15B}"/>
                </a:ext>
              </a:extLst>
            </p:cNvPr>
            <p:cNvSpPr/>
            <p:nvPr/>
          </p:nvSpPr>
          <p:spPr>
            <a:xfrm>
              <a:off x="7189153" y="0"/>
              <a:ext cx="5005884" cy="6362777"/>
            </a:xfrm>
            <a:custGeom>
              <a:avLst/>
              <a:gdLst>
                <a:gd name="connsiteX0" fmla="*/ 4549013 w 5005884"/>
                <a:gd name="connsiteY0" fmla="*/ 4168091 h 6362777"/>
                <a:gd name="connsiteX1" fmla="*/ 4489136 w 5005884"/>
                <a:gd name="connsiteY1" fmla="*/ 4472770 h 6362777"/>
                <a:gd name="connsiteX2" fmla="*/ 4323420 w 5005884"/>
                <a:gd name="connsiteY2" fmla="*/ 5344765 h 6362777"/>
                <a:gd name="connsiteX3" fmla="*/ 2034164 w 5005884"/>
                <a:gd name="connsiteY3" fmla="*/ 6152276 h 6362777"/>
                <a:gd name="connsiteX4" fmla="*/ 1157074 w 5005884"/>
                <a:gd name="connsiteY4" fmla="*/ 5174639 h 6362777"/>
                <a:gd name="connsiteX5" fmla="*/ 1226653 w 5005884"/>
                <a:gd name="connsiteY5" fmla="*/ 3863020 h 6362777"/>
                <a:gd name="connsiteX6" fmla="*/ 2063760 w 5005884"/>
                <a:gd name="connsiteY6" fmla="*/ 3042377 h 6362777"/>
                <a:gd name="connsiteX7" fmla="*/ 2461244 w 5005884"/>
                <a:gd name="connsiteY7" fmla="*/ 2653615 h 6362777"/>
                <a:gd name="connsiteX8" fmla="*/ 2079734 w 5005884"/>
                <a:gd name="connsiteY8" fmla="*/ 1571903 h 6362777"/>
                <a:gd name="connsiteX9" fmla="*/ 1728506 w 5005884"/>
                <a:gd name="connsiteY9" fmla="*/ 1492034 h 6362777"/>
                <a:gd name="connsiteX10" fmla="*/ 1665982 w 5005884"/>
                <a:gd name="connsiteY10" fmla="*/ 1494484 h 6362777"/>
                <a:gd name="connsiteX11" fmla="*/ 898552 w 5005884"/>
                <a:gd name="connsiteY11" fmla="*/ 1351210 h 6362777"/>
                <a:gd name="connsiteX12" fmla="*/ 129065 w 5005884"/>
                <a:gd name="connsiteY12" fmla="*/ 493523 h 6362777"/>
                <a:gd name="connsiteX13" fmla="*/ 42434 w 5005884"/>
                <a:gd name="connsiteY13" fmla="*/ 0 h 6362777"/>
                <a:gd name="connsiteX14" fmla="*/ 0 w 5005884"/>
                <a:gd name="connsiteY14" fmla="*/ 0 h 6362777"/>
                <a:gd name="connsiteX15" fmla="*/ 89081 w 5005884"/>
                <a:gd name="connsiteY15" fmla="*/ 507439 h 6362777"/>
                <a:gd name="connsiteX16" fmla="*/ 880227 w 5005884"/>
                <a:gd name="connsiteY16" fmla="*/ 1389331 h 6362777"/>
                <a:gd name="connsiteX17" fmla="*/ 1669314 w 5005884"/>
                <a:gd name="connsiteY17" fmla="*/ 1536624 h 6362777"/>
                <a:gd name="connsiteX18" fmla="*/ 2061506 w 5005884"/>
                <a:gd name="connsiteY18" fmla="*/ 1610025 h 6362777"/>
                <a:gd name="connsiteX19" fmla="*/ 2423122 w 5005884"/>
                <a:gd name="connsiteY19" fmla="*/ 2635192 h 6362777"/>
                <a:gd name="connsiteX20" fmla="*/ 2046414 w 5005884"/>
                <a:gd name="connsiteY20" fmla="*/ 3003668 h 6362777"/>
                <a:gd name="connsiteX21" fmla="*/ 1188629 w 5005884"/>
                <a:gd name="connsiteY21" fmla="*/ 3844695 h 6362777"/>
                <a:gd name="connsiteX22" fmla="*/ 1117286 w 5005884"/>
                <a:gd name="connsiteY22" fmla="*/ 5188750 h 6362777"/>
                <a:gd name="connsiteX23" fmla="*/ 2016034 w 5005884"/>
                <a:gd name="connsiteY23" fmla="*/ 6190594 h 6362777"/>
                <a:gd name="connsiteX24" fmla="*/ 2772488 w 5005884"/>
                <a:gd name="connsiteY24" fmla="*/ 6362778 h 6362777"/>
                <a:gd name="connsiteX25" fmla="*/ 4361835 w 5005884"/>
                <a:gd name="connsiteY25" fmla="*/ 5363189 h 6362777"/>
                <a:gd name="connsiteX26" fmla="*/ 4531570 w 5005884"/>
                <a:gd name="connsiteY26" fmla="*/ 4469634 h 6362777"/>
                <a:gd name="connsiteX27" fmla="*/ 4587429 w 5005884"/>
                <a:gd name="connsiteY27" fmla="*/ 4186515 h 6362777"/>
                <a:gd name="connsiteX28" fmla="*/ 5005884 w 5005884"/>
                <a:gd name="connsiteY28" fmla="*/ 3876054 h 6362777"/>
                <a:gd name="connsiteX29" fmla="*/ 5005884 w 5005884"/>
                <a:gd name="connsiteY29" fmla="*/ 3833131 h 6362777"/>
                <a:gd name="connsiteX30" fmla="*/ 4549209 w 5005884"/>
                <a:gd name="connsiteY30" fmla="*/ 4168091 h 63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05884" h="6362777">
                  <a:moveTo>
                    <a:pt x="4549013" y="4168091"/>
                  </a:moveTo>
                  <a:cubicBezTo>
                    <a:pt x="4502072" y="4266188"/>
                    <a:pt x="4481394" y="4371537"/>
                    <a:pt x="4489136" y="4472770"/>
                  </a:cubicBezTo>
                  <a:cubicBezTo>
                    <a:pt x="4512166" y="4768531"/>
                    <a:pt x="4454934" y="5069975"/>
                    <a:pt x="4323420" y="5344765"/>
                  </a:cubicBezTo>
                  <a:cubicBezTo>
                    <a:pt x="3914862" y="6198531"/>
                    <a:pt x="2887931" y="6560735"/>
                    <a:pt x="2034164" y="6152276"/>
                  </a:cubicBezTo>
                  <a:cubicBezTo>
                    <a:pt x="1621295" y="5954710"/>
                    <a:pt x="1309756" y="5607500"/>
                    <a:pt x="1157074" y="5174639"/>
                  </a:cubicBezTo>
                  <a:cubicBezTo>
                    <a:pt x="1004391" y="4741777"/>
                    <a:pt x="1029087" y="4275988"/>
                    <a:pt x="1226653" y="3863020"/>
                  </a:cubicBezTo>
                  <a:cubicBezTo>
                    <a:pt x="1400209" y="3500424"/>
                    <a:pt x="1697440" y="3208878"/>
                    <a:pt x="2063760" y="3042377"/>
                  </a:cubicBezTo>
                  <a:cubicBezTo>
                    <a:pt x="2237708" y="2963782"/>
                    <a:pt x="2378925" y="2825702"/>
                    <a:pt x="2461244" y="2653615"/>
                  </a:cubicBezTo>
                  <a:cubicBezTo>
                    <a:pt x="2654302" y="2250154"/>
                    <a:pt x="2483098" y="1764961"/>
                    <a:pt x="2079734" y="1571903"/>
                  </a:cubicBezTo>
                  <a:cubicBezTo>
                    <a:pt x="1969681" y="1519278"/>
                    <a:pt x="1849436" y="1492034"/>
                    <a:pt x="1728506" y="1492034"/>
                  </a:cubicBezTo>
                  <a:cubicBezTo>
                    <a:pt x="1707632" y="1492034"/>
                    <a:pt x="1686758" y="1492818"/>
                    <a:pt x="1665982" y="1494484"/>
                  </a:cubicBezTo>
                  <a:cubicBezTo>
                    <a:pt x="1403051" y="1515162"/>
                    <a:pt x="1137670" y="1465672"/>
                    <a:pt x="898552" y="1351210"/>
                  </a:cubicBezTo>
                  <a:cubicBezTo>
                    <a:pt x="536348" y="1177849"/>
                    <a:pt x="263029" y="873269"/>
                    <a:pt x="129065" y="493523"/>
                  </a:cubicBezTo>
                  <a:cubicBezTo>
                    <a:pt x="72225" y="332216"/>
                    <a:pt x="43512" y="165814"/>
                    <a:pt x="42434" y="0"/>
                  </a:cubicBezTo>
                  <a:lnTo>
                    <a:pt x="0" y="0"/>
                  </a:lnTo>
                  <a:cubicBezTo>
                    <a:pt x="1078" y="170518"/>
                    <a:pt x="30576" y="341722"/>
                    <a:pt x="89081" y="507439"/>
                  </a:cubicBezTo>
                  <a:cubicBezTo>
                    <a:pt x="226770" y="897866"/>
                    <a:pt x="507733" y="1211071"/>
                    <a:pt x="880227" y="1389331"/>
                  </a:cubicBezTo>
                  <a:cubicBezTo>
                    <a:pt x="1126106" y="1506930"/>
                    <a:pt x="1398935" y="1557987"/>
                    <a:pt x="1669314" y="1536624"/>
                  </a:cubicBezTo>
                  <a:cubicBezTo>
                    <a:pt x="1803573" y="1526138"/>
                    <a:pt x="1939203" y="1551519"/>
                    <a:pt x="2061506" y="1610025"/>
                  </a:cubicBezTo>
                  <a:cubicBezTo>
                    <a:pt x="2443800" y="1792989"/>
                    <a:pt x="2606086" y="2252898"/>
                    <a:pt x="2423122" y="2635192"/>
                  </a:cubicBezTo>
                  <a:cubicBezTo>
                    <a:pt x="2345115" y="2798262"/>
                    <a:pt x="2211346" y="2929091"/>
                    <a:pt x="2046414" y="3003668"/>
                  </a:cubicBezTo>
                  <a:cubicBezTo>
                    <a:pt x="1671078" y="3174382"/>
                    <a:pt x="1366399" y="3473083"/>
                    <a:pt x="1188629" y="3844695"/>
                  </a:cubicBezTo>
                  <a:cubicBezTo>
                    <a:pt x="986163" y="4267854"/>
                    <a:pt x="960782" y="4745109"/>
                    <a:pt x="1117286" y="5188750"/>
                  </a:cubicBezTo>
                  <a:cubicBezTo>
                    <a:pt x="1273692" y="5632293"/>
                    <a:pt x="1592973" y="5988127"/>
                    <a:pt x="2016034" y="6190594"/>
                  </a:cubicBezTo>
                  <a:cubicBezTo>
                    <a:pt x="2260248" y="6307506"/>
                    <a:pt x="2518279" y="6362778"/>
                    <a:pt x="2772488" y="6362778"/>
                  </a:cubicBezTo>
                  <a:cubicBezTo>
                    <a:pt x="3428983" y="6362778"/>
                    <a:pt x="4060096" y="5993811"/>
                    <a:pt x="4361835" y="5363189"/>
                  </a:cubicBezTo>
                  <a:cubicBezTo>
                    <a:pt x="4496486" y="5081735"/>
                    <a:pt x="4555187" y="4772745"/>
                    <a:pt x="4531570" y="4469634"/>
                  </a:cubicBezTo>
                  <a:cubicBezTo>
                    <a:pt x="4524416" y="4375849"/>
                    <a:pt x="4543721" y="4277948"/>
                    <a:pt x="4587429" y="4186515"/>
                  </a:cubicBezTo>
                  <a:cubicBezTo>
                    <a:pt x="4669944" y="4014135"/>
                    <a:pt x="4829878" y="3903494"/>
                    <a:pt x="5005884" y="3876054"/>
                  </a:cubicBezTo>
                  <a:lnTo>
                    <a:pt x="5005884" y="3833131"/>
                  </a:lnTo>
                  <a:cubicBezTo>
                    <a:pt x="4814100" y="3860864"/>
                    <a:pt x="4638976" y="3980521"/>
                    <a:pt x="4549209" y="4168091"/>
                  </a:cubicBezTo>
                  <a:close/>
                </a:path>
              </a:pathLst>
            </a:custGeom>
            <a:solidFill>
              <a:srgbClr val="84B135"/>
            </a:solidFill>
            <a:ln w="979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0C917C2-B3A9-5D42-7EC2-D1041FCA47AA}"/>
                </a:ext>
              </a:extLst>
            </p:cNvPr>
            <p:cNvSpPr/>
            <p:nvPr/>
          </p:nvSpPr>
          <p:spPr>
            <a:xfrm>
              <a:off x="7084196" y="0"/>
              <a:ext cx="5110742" cy="6467930"/>
            </a:xfrm>
            <a:custGeom>
              <a:avLst/>
              <a:gdLst>
                <a:gd name="connsiteX0" fmla="*/ 4749029 w 5110742"/>
                <a:gd name="connsiteY0" fmla="*/ 4213563 h 6467930"/>
                <a:gd name="connsiteX1" fmla="*/ 4699246 w 5110742"/>
                <a:gd name="connsiteY1" fmla="*/ 4466106 h 6467930"/>
                <a:gd name="connsiteX2" fmla="*/ 4523436 w 5110742"/>
                <a:gd name="connsiteY2" fmla="*/ 5390138 h 6467930"/>
                <a:gd name="connsiteX3" fmla="*/ 2093748 w 5110742"/>
                <a:gd name="connsiteY3" fmla="*/ 6247139 h 6467930"/>
                <a:gd name="connsiteX4" fmla="*/ 1236747 w 5110742"/>
                <a:gd name="connsiteY4" fmla="*/ 3817451 h 6467930"/>
                <a:gd name="connsiteX5" fmla="*/ 2126479 w 5110742"/>
                <a:gd name="connsiteY5" fmla="*/ 2945848 h 6467930"/>
                <a:gd name="connsiteX6" fmla="*/ 2471239 w 5110742"/>
                <a:gd name="connsiteY6" fmla="*/ 2608046 h 6467930"/>
                <a:gd name="connsiteX7" fmla="*/ 2499855 w 5110742"/>
                <a:gd name="connsiteY7" fmla="*/ 2068758 h 6467930"/>
                <a:gd name="connsiteX8" fmla="*/ 2139219 w 5110742"/>
                <a:gd name="connsiteY8" fmla="*/ 1666766 h 6467930"/>
                <a:gd name="connsiteX9" fmla="*/ 1833266 w 5110742"/>
                <a:gd name="connsiteY9" fmla="*/ 1597187 h 6467930"/>
                <a:gd name="connsiteX10" fmla="*/ 1780053 w 5110742"/>
                <a:gd name="connsiteY10" fmla="*/ 1599245 h 6467930"/>
                <a:gd name="connsiteX11" fmla="*/ 958038 w 5110742"/>
                <a:gd name="connsiteY11" fmla="*/ 1446072 h 6467930"/>
                <a:gd name="connsiteX12" fmla="*/ 42434 w 5110742"/>
                <a:gd name="connsiteY12" fmla="*/ 0 h 6467930"/>
                <a:gd name="connsiteX13" fmla="*/ 0 w 5110742"/>
                <a:gd name="connsiteY13" fmla="*/ 0 h 6467930"/>
                <a:gd name="connsiteX14" fmla="*/ 939614 w 5110742"/>
                <a:gd name="connsiteY14" fmla="*/ 1484292 h 6467930"/>
                <a:gd name="connsiteX15" fmla="*/ 1783287 w 5110742"/>
                <a:gd name="connsiteY15" fmla="*/ 1641482 h 6467930"/>
                <a:gd name="connsiteX16" fmla="*/ 2120893 w 5110742"/>
                <a:gd name="connsiteY16" fmla="*/ 1704986 h 6467930"/>
                <a:gd name="connsiteX17" fmla="*/ 2459872 w 5110742"/>
                <a:gd name="connsiteY17" fmla="*/ 2082772 h 6467930"/>
                <a:gd name="connsiteX18" fmla="*/ 2433020 w 5110742"/>
                <a:gd name="connsiteY18" fmla="*/ 2589622 h 6467930"/>
                <a:gd name="connsiteX19" fmla="*/ 2109133 w 5110742"/>
                <a:gd name="connsiteY19" fmla="*/ 2907139 h 6467930"/>
                <a:gd name="connsiteX20" fmla="*/ 1198527 w 5110742"/>
                <a:gd name="connsiteY20" fmla="*/ 3799125 h 6467930"/>
                <a:gd name="connsiteX21" fmla="*/ 2075520 w 5110742"/>
                <a:gd name="connsiteY21" fmla="*/ 6285456 h 6467930"/>
                <a:gd name="connsiteX22" fmla="*/ 2877249 w 5110742"/>
                <a:gd name="connsiteY22" fmla="*/ 6467930 h 6467930"/>
                <a:gd name="connsiteX23" fmla="*/ 4561753 w 5110742"/>
                <a:gd name="connsiteY23" fmla="*/ 5408464 h 6467930"/>
                <a:gd name="connsiteX24" fmla="*/ 4741581 w 5110742"/>
                <a:gd name="connsiteY24" fmla="*/ 4462774 h 6467930"/>
                <a:gd name="connsiteX25" fmla="*/ 4787347 w 5110742"/>
                <a:gd name="connsiteY25" fmla="*/ 4231791 h 6467930"/>
                <a:gd name="connsiteX26" fmla="*/ 5110743 w 5110742"/>
                <a:gd name="connsiteY26" fmla="*/ 3982775 h 6467930"/>
                <a:gd name="connsiteX27" fmla="*/ 5110743 w 5110742"/>
                <a:gd name="connsiteY27" fmla="*/ 3939753 h 6467930"/>
                <a:gd name="connsiteX28" fmla="*/ 4749127 w 5110742"/>
                <a:gd name="connsiteY28" fmla="*/ 4213465 h 64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10742" h="6467930">
                  <a:moveTo>
                    <a:pt x="4749029" y="4213563"/>
                  </a:moveTo>
                  <a:cubicBezTo>
                    <a:pt x="4710026" y="4295098"/>
                    <a:pt x="4692778" y="4382513"/>
                    <a:pt x="4699246" y="4466106"/>
                  </a:cubicBezTo>
                  <a:cubicBezTo>
                    <a:pt x="4723353" y="4779997"/>
                    <a:pt x="4662496" y="5099571"/>
                    <a:pt x="4523436" y="5390138"/>
                  </a:cubicBezTo>
                  <a:cubicBezTo>
                    <a:pt x="4089790" y="6296334"/>
                    <a:pt x="2999846" y="6680784"/>
                    <a:pt x="2093748" y="6247139"/>
                  </a:cubicBezTo>
                  <a:cubicBezTo>
                    <a:pt x="1187551" y="5813493"/>
                    <a:pt x="803101" y="4723549"/>
                    <a:pt x="1236747" y="3817451"/>
                  </a:cubicBezTo>
                  <a:cubicBezTo>
                    <a:pt x="1421671" y="3431041"/>
                    <a:pt x="1737619" y="3121462"/>
                    <a:pt x="2126479" y="2945848"/>
                  </a:cubicBezTo>
                  <a:cubicBezTo>
                    <a:pt x="2278966" y="2877445"/>
                    <a:pt x="2398230" y="2760630"/>
                    <a:pt x="2471239" y="2608046"/>
                  </a:cubicBezTo>
                  <a:cubicBezTo>
                    <a:pt x="2552481" y="2438214"/>
                    <a:pt x="2562673" y="2246724"/>
                    <a:pt x="2499855" y="2068758"/>
                  </a:cubicBezTo>
                  <a:cubicBezTo>
                    <a:pt x="2437038" y="1890792"/>
                    <a:pt x="2308953" y="1748007"/>
                    <a:pt x="2139219" y="1666766"/>
                  </a:cubicBezTo>
                  <a:cubicBezTo>
                    <a:pt x="2043376" y="1620903"/>
                    <a:pt x="1938615" y="1597187"/>
                    <a:pt x="1833266" y="1597187"/>
                  </a:cubicBezTo>
                  <a:cubicBezTo>
                    <a:pt x="1815529" y="1597187"/>
                    <a:pt x="1797791" y="1597873"/>
                    <a:pt x="1780053" y="1599245"/>
                  </a:cubicBezTo>
                  <a:cubicBezTo>
                    <a:pt x="1498306" y="1621589"/>
                    <a:pt x="1214109" y="1568669"/>
                    <a:pt x="958038" y="1446072"/>
                  </a:cubicBezTo>
                  <a:cubicBezTo>
                    <a:pt x="383470" y="1171185"/>
                    <a:pt x="46158" y="597892"/>
                    <a:pt x="42434" y="0"/>
                  </a:cubicBezTo>
                  <a:lnTo>
                    <a:pt x="0" y="0"/>
                  </a:lnTo>
                  <a:cubicBezTo>
                    <a:pt x="3724" y="613669"/>
                    <a:pt x="349954" y="1202153"/>
                    <a:pt x="939614" y="1484292"/>
                  </a:cubicBezTo>
                  <a:cubicBezTo>
                    <a:pt x="1202447" y="1610025"/>
                    <a:pt x="1494190" y="1664414"/>
                    <a:pt x="1783287" y="1641482"/>
                  </a:cubicBezTo>
                  <a:cubicBezTo>
                    <a:pt x="1898926" y="1632662"/>
                    <a:pt x="2015642" y="1654614"/>
                    <a:pt x="2120893" y="1704986"/>
                  </a:cubicBezTo>
                  <a:cubicBezTo>
                    <a:pt x="2280436" y="1781327"/>
                    <a:pt x="2400876" y="1915487"/>
                    <a:pt x="2459872" y="2082772"/>
                  </a:cubicBezTo>
                  <a:cubicBezTo>
                    <a:pt x="2518867" y="2250056"/>
                    <a:pt x="2509361" y="2430080"/>
                    <a:pt x="2433020" y="2589622"/>
                  </a:cubicBezTo>
                  <a:cubicBezTo>
                    <a:pt x="2364421" y="2732995"/>
                    <a:pt x="2252408" y="2842851"/>
                    <a:pt x="2109133" y="2907139"/>
                  </a:cubicBezTo>
                  <a:cubicBezTo>
                    <a:pt x="1711160" y="3086869"/>
                    <a:pt x="1387763" y="3403699"/>
                    <a:pt x="1198527" y="3799125"/>
                  </a:cubicBezTo>
                  <a:cubicBezTo>
                    <a:pt x="754788" y="4726391"/>
                    <a:pt x="1148254" y="5841717"/>
                    <a:pt x="2075520" y="6285456"/>
                  </a:cubicBezTo>
                  <a:cubicBezTo>
                    <a:pt x="2334433" y="6409327"/>
                    <a:pt x="2607752" y="6467930"/>
                    <a:pt x="2877249" y="6467930"/>
                  </a:cubicBezTo>
                  <a:cubicBezTo>
                    <a:pt x="3573042" y="6467930"/>
                    <a:pt x="4241983" y="6076914"/>
                    <a:pt x="4561753" y="5408464"/>
                  </a:cubicBezTo>
                  <a:cubicBezTo>
                    <a:pt x="4704048" y="5111135"/>
                    <a:pt x="4766179" y="4784113"/>
                    <a:pt x="4741581" y="4462774"/>
                  </a:cubicBezTo>
                  <a:cubicBezTo>
                    <a:pt x="4735701" y="4386531"/>
                    <a:pt x="4751479" y="4306564"/>
                    <a:pt x="4787347" y="4231791"/>
                  </a:cubicBezTo>
                  <a:cubicBezTo>
                    <a:pt x="4851732" y="4097238"/>
                    <a:pt x="4974427" y="4009039"/>
                    <a:pt x="5110743" y="3982775"/>
                  </a:cubicBezTo>
                  <a:lnTo>
                    <a:pt x="5110743" y="3939753"/>
                  </a:lnTo>
                  <a:cubicBezTo>
                    <a:pt x="4958453" y="3966507"/>
                    <a:pt x="4820764" y="4063722"/>
                    <a:pt x="4749127" y="4213465"/>
                  </a:cubicBezTo>
                  <a:close/>
                </a:path>
              </a:pathLst>
            </a:custGeom>
            <a:solidFill>
              <a:srgbClr val="84B135"/>
            </a:solidFill>
            <a:ln w="979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DCE3D1F-9334-0099-5D21-09828C6EE511}"/>
                </a:ext>
              </a:extLst>
            </p:cNvPr>
            <p:cNvSpPr/>
            <p:nvPr/>
          </p:nvSpPr>
          <p:spPr>
            <a:xfrm>
              <a:off x="6978456" y="0"/>
              <a:ext cx="5216483" cy="6573180"/>
            </a:xfrm>
            <a:custGeom>
              <a:avLst/>
              <a:gdLst>
                <a:gd name="connsiteX0" fmla="*/ 4949731 w 5216483"/>
                <a:gd name="connsiteY0" fmla="*/ 4258936 h 6573180"/>
                <a:gd name="connsiteX1" fmla="*/ 4909943 w 5216483"/>
                <a:gd name="connsiteY1" fmla="*/ 4458560 h 6573180"/>
                <a:gd name="connsiteX2" fmla="*/ 4724137 w 5216483"/>
                <a:gd name="connsiteY2" fmla="*/ 5435609 h 6573180"/>
                <a:gd name="connsiteX3" fmla="*/ 2153919 w 5216483"/>
                <a:gd name="connsiteY3" fmla="*/ 6342198 h 6573180"/>
                <a:gd name="connsiteX4" fmla="*/ 1247331 w 5216483"/>
                <a:gd name="connsiteY4" fmla="*/ 3771979 h 6573180"/>
                <a:gd name="connsiteX5" fmla="*/ 2188415 w 5216483"/>
                <a:gd name="connsiteY5" fmla="*/ 2850005 h 6573180"/>
                <a:gd name="connsiteX6" fmla="*/ 2481823 w 5216483"/>
                <a:gd name="connsiteY6" fmla="*/ 2562477 h 6573180"/>
                <a:gd name="connsiteX7" fmla="*/ 2506225 w 5216483"/>
                <a:gd name="connsiteY7" fmla="*/ 2103645 h 6573180"/>
                <a:gd name="connsiteX8" fmla="*/ 2199390 w 5216483"/>
                <a:gd name="connsiteY8" fmla="*/ 1761629 h 6573180"/>
                <a:gd name="connsiteX9" fmla="*/ 1939595 w 5216483"/>
                <a:gd name="connsiteY9" fmla="*/ 1702242 h 6573180"/>
                <a:gd name="connsiteX10" fmla="*/ 1893438 w 5216483"/>
                <a:gd name="connsiteY10" fmla="*/ 1704104 h 6573180"/>
                <a:gd name="connsiteX11" fmla="*/ 1018111 w 5216483"/>
                <a:gd name="connsiteY11" fmla="*/ 1540935 h 6573180"/>
                <a:gd name="connsiteX12" fmla="*/ 42924 w 5216483"/>
                <a:gd name="connsiteY12" fmla="*/ 0 h 6573180"/>
                <a:gd name="connsiteX13" fmla="*/ 0 w 5216483"/>
                <a:gd name="connsiteY13" fmla="*/ 0 h 6573180"/>
                <a:gd name="connsiteX14" fmla="*/ 101233 w 5216483"/>
                <a:gd name="connsiteY14" fmla="*/ 577508 h 6573180"/>
                <a:gd name="connsiteX15" fmla="*/ 999981 w 5216483"/>
                <a:gd name="connsiteY15" fmla="*/ 1579351 h 6573180"/>
                <a:gd name="connsiteX16" fmla="*/ 1896966 w 5216483"/>
                <a:gd name="connsiteY16" fmla="*/ 1746537 h 6573180"/>
                <a:gd name="connsiteX17" fmla="*/ 2181163 w 5216483"/>
                <a:gd name="connsiteY17" fmla="*/ 1800045 h 6573180"/>
                <a:gd name="connsiteX18" fmla="*/ 2466340 w 5216483"/>
                <a:gd name="connsiteY18" fmla="*/ 2117855 h 6573180"/>
                <a:gd name="connsiteX19" fmla="*/ 2443702 w 5216483"/>
                <a:gd name="connsiteY19" fmla="*/ 2544249 h 6573180"/>
                <a:gd name="connsiteX20" fmla="*/ 2170971 w 5216483"/>
                <a:gd name="connsiteY20" fmla="*/ 2811394 h 6573180"/>
                <a:gd name="connsiteX21" fmla="*/ 1209111 w 5216483"/>
                <a:gd name="connsiteY21" fmla="*/ 3753654 h 6573180"/>
                <a:gd name="connsiteX22" fmla="*/ 1129242 w 5216483"/>
                <a:gd name="connsiteY22" fmla="*/ 5258623 h 6573180"/>
                <a:gd name="connsiteX23" fmla="*/ 2135691 w 5216483"/>
                <a:gd name="connsiteY23" fmla="*/ 6380417 h 6573180"/>
                <a:gd name="connsiteX24" fmla="*/ 2982696 w 5216483"/>
                <a:gd name="connsiteY24" fmla="*/ 6573181 h 6573180"/>
                <a:gd name="connsiteX25" fmla="*/ 4762455 w 5216483"/>
                <a:gd name="connsiteY25" fmla="*/ 5453936 h 6573180"/>
                <a:gd name="connsiteX26" fmla="*/ 4952279 w 5216483"/>
                <a:gd name="connsiteY26" fmla="*/ 4455130 h 6573180"/>
                <a:gd name="connsiteX27" fmla="*/ 4988049 w 5216483"/>
                <a:gd name="connsiteY27" fmla="*/ 4277262 h 6573180"/>
                <a:gd name="connsiteX28" fmla="*/ 5185908 w 5216483"/>
                <a:gd name="connsiteY28" fmla="*/ 4099786 h 6573180"/>
                <a:gd name="connsiteX29" fmla="*/ 5216484 w 5216483"/>
                <a:gd name="connsiteY29" fmla="*/ 4090574 h 6573180"/>
                <a:gd name="connsiteX30" fmla="*/ 5216484 w 5216483"/>
                <a:gd name="connsiteY30" fmla="*/ 4047062 h 6573180"/>
                <a:gd name="connsiteX31" fmla="*/ 4949829 w 5216483"/>
                <a:gd name="connsiteY31" fmla="*/ 4258936 h 657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16483" h="6573180">
                  <a:moveTo>
                    <a:pt x="4949731" y="4258936"/>
                  </a:moveTo>
                  <a:cubicBezTo>
                    <a:pt x="4917685" y="4325870"/>
                    <a:pt x="4904358" y="4393097"/>
                    <a:pt x="4909943" y="4458560"/>
                  </a:cubicBezTo>
                  <a:cubicBezTo>
                    <a:pt x="4935815" y="4789699"/>
                    <a:pt x="4871528" y="5127599"/>
                    <a:pt x="4724137" y="5435609"/>
                  </a:cubicBezTo>
                  <a:cubicBezTo>
                    <a:pt x="4265503" y="6394137"/>
                    <a:pt x="3112447" y="6800833"/>
                    <a:pt x="2153919" y="6342198"/>
                  </a:cubicBezTo>
                  <a:cubicBezTo>
                    <a:pt x="1195391" y="5883563"/>
                    <a:pt x="788696" y="4730507"/>
                    <a:pt x="1247331" y="3771979"/>
                  </a:cubicBezTo>
                  <a:cubicBezTo>
                    <a:pt x="1442447" y="3364304"/>
                    <a:pt x="1776623" y="3036889"/>
                    <a:pt x="2188415" y="2850005"/>
                  </a:cubicBezTo>
                  <a:cubicBezTo>
                    <a:pt x="2316793" y="2791794"/>
                    <a:pt x="2420966" y="2689679"/>
                    <a:pt x="2481823" y="2562477"/>
                  </a:cubicBezTo>
                  <a:cubicBezTo>
                    <a:pt x="2550913" y="2418026"/>
                    <a:pt x="2559635" y="2255054"/>
                    <a:pt x="2506225" y="2103645"/>
                  </a:cubicBezTo>
                  <a:cubicBezTo>
                    <a:pt x="2452816" y="1952237"/>
                    <a:pt x="2343841" y="1830816"/>
                    <a:pt x="2199390" y="1761629"/>
                  </a:cubicBezTo>
                  <a:cubicBezTo>
                    <a:pt x="2117659" y="1722528"/>
                    <a:pt x="2028676" y="1702242"/>
                    <a:pt x="1939595" y="1702242"/>
                  </a:cubicBezTo>
                  <a:cubicBezTo>
                    <a:pt x="1924209" y="1702242"/>
                    <a:pt x="1908824" y="1702830"/>
                    <a:pt x="1893438" y="1704104"/>
                  </a:cubicBezTo>
                  <a:cubicBezTo>
                    <a:pt x="1593953" y="1728015"/>
                    <a:pt x="1291332" y="1671666"/>
                    <a:pt x="1018111" y="1540935"/>
                  </a:cubicBezTo>
                  <a:cubicBezTo>
                    <a:pt x="406010" y="1248115"/>
                    <a:pt x="46648" y="637091"/>
                    <a:pt x="42924" y="0"/>
                  </a:cubicBezTo>
                  <a:lnTo>
                    <a:pt x="0" y="0"/>
                  </a:lnTo>
                  <a:cubicBezTo>
                    <a:pt x="1176" y="194136"/>
                    <a:pt x="34692" y="388860"/>
                    <a:pt x="101233" y="577508"/>
                  </a:cubicBezTo>
                  <a:cubicBezTo>
                    <a:pt x="257639" y="1021051"/>
                    <a:pt x="576920" y="1376885"/>
                    <a:pt x="999981" y="1579351"/>
                  </a:cubicBezTo>
                  <a:cubicBezTo>
                    <a:pt x="1279866" y="1713316"/>
                    <a:pt x="1590033" y="1771135"/>
                    <a:pt x="1896966" y="1746537"/>
                  </a:cubicBezTo>
                  <a:cubicBezTo>
                    <a:pt x="1993789" y="1738893"/>
                    <a:pt x="2092082" y="1757415"/>
                    <a:pt x="2181163" y="1800045"/>
                  </a:cubicBezTo>
                  <a:cubicBezTo>
                    <a:pt x="2315421" y="1864234"/>
                    <a:pt x="2416654" y="1977129"/>
                    <a:pt x="2466340" y="2117855"/>
                  </a:cubicBezTo>
                  <a:cubicBezTo>
                    <a:pt x="2516025" y="2258582"/>
                    <a:pt x="2507989" y="2409990"/>
                    <a:pt x="2443702" y="2544249"/>
                  </a:cubicBezTo>
                  <a:cubicBezTo>
                    <a:pt x="2387156" y="2662435"/>
                    <a:pt x="2290334" y="2757396"/>
                    <a:pt x="2170971" y="2811394"/>
                  </a:cubicBezTo>
                  <a:cubicBezTo>
                    <a:pt x="1750065" y="3002394"/>
                    <a:pt x="1408539" y="3336962"/>
                    <a:pt x="1209111" y="3753654"/>
                  </a:cubicBezTo>
                  <a:cubicBezTo>
                    <a:pt x="982439" y="4227479"/>
                    <a:pt x="954020" y="4761965"/>
                    <a:pt x="1129242" y="5258623"/>
                  </a:cubicBezTo>
                  <a:cubicBezTo>
                    <a:pt x="1304464" y="5755282"/>
                    <a:pt x="1661866" y="6153746"/>
                    <a:pt x="2135691" y="6380417"/>
                  </a:cubicBezTo>
                  <a:cubicBezTo>
                    <a:pt x="2409206" y="6511246"/>
                    <a:pt x="2698009" y="6573181"/>
                    <a:pt x="2982696" y="6573181"/>
                  </a:cubicBezTo>
                  <a:cubicBezTo>
                    <a:pt x="3717786" y="6573181"/>
                    <a:pt x="4424555" y="6160018"/>
                    <a:pt x="4762455" y="5453936"/>
                  </a:cubicBezTo>
                  <a:cubicBezTo>
                    <a:pt x="4913079" y="5139162"/>
                    <a:pt x="4978739" y="4793912"/>
                    <a:pt x="4952279" y="4455130"/>
                  </a:cubicBezTo>
                  <a:cubicBezTo>
                    <a:pt x="4947281" y="4397115"/>
                    <a:pt x="4959335" y="4337335"/>
                    <a:pt x="4988049" y="4277262"/>
                  </a:cubicBezTo>
                  <a:cubicBezTo>
                    <a:pt x="5028032" y="4193669"/>
                    <a:pt x="5098297" y="4130656"/>
                    <a:pt x="5185908" y="4099786"/>
                  </a:cubicBezTo>
                  <a:cubicBezTo>
                    <a:pt x="5196003" y="4096258"/>
                    <a:pt x="5206194" y="4093220"/>
                    <a:pt x="5216484" y="4090574"/>
                  </a:cubicBezTo>
                  <a:lnTo>
                    <a:pt x="5216484" y="4047062"/>
                  </a:lnTo>
                  <a:cubicBezTo>
                    <a:pt x="5103883" y="4072346"/>
                    <a:pt x="5003434" y="4147021"/>
                    <a:pt x="4949829" y="4258936"/>
                  </a:cubicBezTo>
                  <a:close/>
                </a:path>
              </a:pathLst>
            </a:custGeom>
            <a:solidFill>
              <a:srgbClr val="84B135"/>
            </a:solidFill>
            <a:ln w="9794" cap="flat">
              <a:noFill/>
              <a:prstDash val="solid"/>
              <a:miter/>
            </a:ln>
          </p:spPr>
          <p:txBody>
            <a:bodyPr rtlCol="0" anchor="ctr"/>
            <a:lstStyle/>
            <a:p>
              <a:endParaRPr lang="en-US"/>
            </a:p>
          </p:txBody>
        </p:sp>
      </p:grpSp>
      <p:sp>
        <p:nvSpPr>
          <p:cNvPr id="30" name="Oval 29">
            <a:extLst>
              <a:ext uri="{FF2B5EF4-FFF2-40B4-BE49-F238E27FC236}">
                <a16:creationId xmlns:a16="http://schemas.microsoft.com/office/drawing/2014/main" id="{04B83BEE-27BC-6720-2749-0052E51F94FF}"/>
              </a:ext>
            </a:extLst>
          </p:cNvPr>
          <p:cNvSpPr/>
          <p:nvPr userDrawn="1"/>
        </p:nvSpPr>
        <p:spPr>
          <a:xfrm>
            <a:off x="8427869" y="1823822"/>
            <a:ext cx="955184" cy="955184"/>
          </a:xfrm>
          <a:prstGeom prst="ellipse">
            <a:avLst/>
          </a:prstGeom>
          <a:solidFill>
            <a:srgbClr val="2B621D"/>
          </a:solidFill>
          <a:ln w="41275">
            <a:solidFill>
              <a:srgbClr val="84B1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31" name="Oval 30">
            <a:extLst>
              <a:ext uri="{FF2B5EF4-FFF2-40B4-BE49-F238E27FC236}">
                <a16:creationId xmlns:a16="http://schemas.microsoft.com/office/drawing/2014/main" id="{4889F944-B36F-5F4F-1E2F-0B85A93EBE08}"/>
              </a:ext>
            </a:extLst>
          </p:cNvPr>
          <p:cNvSpPr/>
          <p:nvPr userDrawn="1"/>
        </p:nvSpPr>
        <p:spPr>
          <a:xfrm>
            <a:off x="8972203" y="3615690"/>
            <a:ext cx="1975704" cy="1975702"/>
          </a:xfrm>
          <a:prstGeom prst="ellipse">
            <a:avLst/>
          </a:prstGeom>
          <a:solidFill>
            <a:schemeClr val="accent3"/>
          </a:solidFill>
          <a:ln w="44450">
            <a:solidFill>
              <a:srgbClr val="84B1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49B85AFD-D7F6-B16C-BF3B-7E64FFCF4D96}"/>
              </a:ext>
            </a:extLst>
          </p:cNvPr>
          <p:cNvGrpSpPr/>
          <p:nvPr userDrawn="1"/>
        </p:nvGrpSpPr>
        <p:grpSpPr>
          <a:xfrm>
            <a:off x="8637522" y="2093956"/>
            <a:ext cx="564386" cy="379330"/>
            <a:chOff x="8605421" y="2055812"/>
            <a:chExt cx="645111" cy="433585"/>
          </a:xfrm>
        </p:grpSpPr>
        <p:sp>
          <p:nvSpPr>
            <p:cNvPr id="33" name="Freeform: Shape 32">
              <a:extLst>
                <a:ext uri="{FF2B5EF4-FFF2-40B4-BE49-F238E27FC236}">
                  <a16:creationId xmlns:a16="http://schemas.microsoft.com/office/drawing/2014/main" id="{B0986B97-7B6D-9091-5B1A-B29E2325D1BA}"/>
                </a:ext>
              </a:extLst>
            </p:cNvPr>
            <p:cNvSpPr/>
            <p:nvPr/>
          </p:nvSpPr>
          <p:spPr>
            <a:xfrm>
              <a:off x="8605421" y="2055812"/>
              <a:ext cx="645111" cy="343080"/>
            </a:xfrm>
            <a:custGeom>
              <a:avLst/>
              <a:gdLst>
                <a:gd name="connsiteX0" fmla="*/ 858532 w 1372384"/>
                <a:gd name="connsiteY0" fmla="*/ 729853 h 729853"/>
                <a:gd name="connsiteX1" fmla="*/ 1173692 w 1372384"/>
                <a:gd name="connsiteY1" fmla="*/ 729853 h 729853"/>
                <a:gd name="connsiteX2" fmla="*/ 1372024 w 1372384"/>
                <a:gd name="connsiteY2" fmla="*/ 550472 h 729853"/>
                <a:gd name="connsiteX3" fmla="*/ 1181235 w 1372384"/>
                <a:gd name="connsiteY3" fmla="*/ 347356 h 729853"/>
                <a:gd name="connsiteX4" fmla="*/ 1180039 w 1372384"/>
                <a:gd name="connsiteY4" fmla="*/ 347356 h 729853"/>
                <a:gd name="connsiteX5" fmla="*/ 970025 w 1372384"/>
                <a:gd name="connsiteY5" fmla="*/ 144057 h 729853"/>
                <a:gd name="connsiteX6" fmla="*/ 960734 w 1372384"/>
                <a:gd name="connsiteY6" fmla="*/ 143597 h 729853"/>
                <a:gd name="connsiteX7" fmla="*/ 953742 w 1372384"/>
                <a:gd name="connsiteY7" fmla="*/ 143229 h 729853"/>
                <a:gd name="connsiteX8" fmla="*/ 952822 w 1372384"/>
                <a:gd name="connsiteY8" fmla="*/ 143229 h 729853"/>
                <a:gd name="connsiteX9" fmla="*/ 951718 w 1372384"/>
                <a:gd name="connsiteY9" fmla="*/ 143229 h 729853"/>
                <a:gd name="connsiteX10" fmla="*/ 883369 w 1372384"/>
                <a:gd name="connsiteY10" fmla="*/ 153808 h 729853"/>
                <a:gd name="connsiteX11" fmla="*/ 882358 w 1372384"/>
                <a:gd name="connsiteY11" fmla="*/ 153440 h 729853"/>
                <a:gd name="connsiteX12" fmla="*/ 586700 w 1372384"/>
                <a:gd name="connsiteY12" fmla="*/ 0 h 729853"/>
                <a:gd name="connsiteX13" fmla="*/ 585872 w 1372384"/>
                <a:gd name="connsiteY13" fmla="*/ 0 h 729853"/>
                <a:gd name="connsiteX14" fmla="*/ 584676 w 1372384"/>
                <a:gd name="connsiteY14" fmla="*/ 0 h 729853"/>
                <a:gd name="connsiteX15" fmla="*/ 570601 w 1372384"/>
                <a:gd name="connsiteY15" fmla="*/ 736 h 729853"/>
                <a:gd name="connsiteX16" fmla="*/ 553951 w 1372384"/>
                <a:gd name="connsiteY16" fmla="*/ 1564 h 729853"/>
                <a:gd name="connsiteX17" fmla="*/ 525894 w 1372384"/>
                <a:gd name="connsiteY17" fmla="*/ 5243 h 729853"/>
                <a:gd name="connsiteX18" fmla="*/ 523962 w 1372384"/>
                <a:gd name="connsiteY18" fmla="*/ 5519 h 729853"/>
                <a:gd name="connsiteX19" fmla="*/ 223520 w 1372384"/>
                <a:gd name="connsiteY19" fmla="*/ 346437 h 729853"/>
                <a:gd name="connsiteX20" fmla="*/ 222509 w 1372384"/>
                <a:gd name="connsiteY20" fmla="*/ 347356 h 729853"/>
                <a:gd name="connsiteX21" fmla="*/ 198683 w 1372384"/>
                <a:gd name="connsiteY21" fmla="*/ 347356 h 729853"/>
                <a:gd name="connsiteX22" fmla="*/ 351 w 1372384"/>
                <a:gd name="connsiteY22" fmla="*/ 526738 h 729853"/>
                <a:gd name="connsiteX23" fmla="*/ 191232 w 1372384"/>
                <a:gd name="connsiteY23" fmla="*/ 729761 h 729853"/>
                <a:gd name="connsiteX24" fmla="*/ 272735 w 1372384"/>
                <a:gd name="connsiteY24" fmla="*/ 729761 h 7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2384" h="729853">
                  <a:moveTo>
                    <a:pt x="858532" y="729853"/>
                  </a:moveTo>
                  <a:lnTo>
                    <a:pt x="1173692" y="729853"/>
                  </a:lnTo>
                  <a:cubicBezTo>
                    <a:pt x="1276078" y="729853"/>
                    <a:pt x="1365860" y="652673"/>
                    <a:pt x="1372024" y="550472"/>
                  </a:cubicBezTo>
                  <a:cubicBezTo>
                    <a:pt x="1378739" y="439531"/>
                    <a:pt x="1290704" y="347356"/>
                    <a:pt x="1181235" y="347356"/>
                  </a:cubicBezTo>
                  <a:lnTo>
                    <a:pt x="1180039" y="347356"/>
                  </a:lnTo>
                  <a:cubicBezTo>
                    <a:pt x="1168908" y="238072"/>
                    <a:pt x="1080321" y="151784"/>
                    <a:pt x="970025" y="144057"/>
                  </a:cubicBezTo>
                  <a:cubicBezTo>
                    <a:pt x="966989" y="143781"/>
                    <a:pt x="963861" y="143781"/>
                    <a:pt x="960734" y="143597"/>
                  </a:cubicBezTo>
                  <a:cubicBezTo>
                    <a:pt x="958434" y="143597"/>
                    <a:pt x="956134" y="143229"/>
                    <a:pt x="953742" y="143229"/>
                  </a:cubicBezTo>
                  <a:cubicBezTo>
                    <a:pt x="953466" y="143229"/>
                    <a:pt x="953098" y="143229"/>
                    <a:pt x="952822" y="143229"/>
                  </a:cubicBezTo>
                  <a:cubicBezTo>
                    <a:pt x="952454" y="143229"/>
                    <a:pt x="952086" y="143229"/>
                    <a:pt x="951718" y="143229"/>
                  </a:cubicBezTo>
                  <a:cubicBezTo>
                    <a:pt x="927893" y="143229"/>
                    <a:pt x="904987" y="147001"/>
                    <a:pt x="883369" y="153808"/>
                  </a:cubicBezTo>
                  <a:cubicBezTo>
                    <a:pt x="883001" y="153900"/>
                    <a:pt x="882541" y="153808"/>
                    <a:pt x="882358" y="153440"/>
                  </a:cubicBezTo>
                  <a:cubicBezTo>
                    <a:pt x="816860" y="60622"/>
                    <a:pt x="708955" y="0"/>
                    <a:pt x="586700" y="0"/>
                  </a:cubicBezTo>
                  <a:cubicBezTo>
                    <a:pt x="586424" y="0"/>
                    <a:pt x="586148" y="0"/>
                    <a:pt x="585872" y="0"/>
                  </a:cubicBezTo>
                  <a:cubicBezTo>
                    <a:pt x="585504" y="0"/>
                    <a:pt x="585044" y="0"/>
                    <a:pt x="584676" y="0"/>
                  </a:cubicBezTo>
                  <a:cubicBezTo>
                    <a:pt x="579892" y="0"/>
                    <a:pt x="575293" y="460"/>
                    <a:pt x="570601" y="736"/>
                  </a:cubicBezTo>
                  <a:cubicBezTo>
                    <a:pt x="564990" y="920"/>
                    <a:pt x="559470" y="1012"/>
                    <a:pt x="553951" y="1564"/>
                  </a:cubicBezTo>
                  <a:cubicBezTo>
                    <a:pt x="544476" y="2392"/>
                    <a:pt x="535185" y="3680"/>
                    <a:pt x="525894" y="5243"/>
                  </a:cubicBezTo>
                  <a:cubicBezTo>
                    <a:pt x="525250" y="5335"/>
                    <a:pt x="524606" y="5427"/>
                    <a:pt x="523962" y="5519"/>
                  </a:cubicBezTo>
                  <a:cubicBezTo>
                    <a:pt x="358103" y="33669"/>
                    <a:pt x="230604" y="174322"/>
                    <a:pt x="223520" y="346437"/>
                  </a:cubicBezTo>
                  <a:cubicBezTo>
                    <a:pt x="223520" y="346989"/>
                    <a:pt x="223060" y="347356"/>
                    <a:pt x="222509" y="347356"/>
                  </a:cubicBezTo>
                  <a:lnTo>
                    <a:pt x="198683" y="347356"/>
                  </a:lnTo>
                  <a:cubicBezTo>
                    <a:pt x="96297" y="347356"/>
                    <a:pt x="6514" y="424537"/>
                    <a:pt x="351" y="526738"/>
                  </a:cubicBezTo>
                  <a:cubicBezTo>
                    <a:pt x="-6272" y="637679"/>
                    <a:pt x="81671" y="729761"/>
                    <a:pt x="191232" y="729761"/>
                  </a:cubicBezTo>
                  <a:lnTo>
                    <a:pt x="272735" y="729761"/>
                  </a:lnTo>
                </a:path>
              </a:pathLst>
            </a:custGeom>
            <a:noFill/>
            <a:ln w="31750" cap="rnd">
              <a:solidFill>
                <a:srgbClr val="FFB71B"/>
              </a:solidFill>
              <a:prstDash val="solid"/>
              <a:round/>
            </a:ln>
          </p:spPr>
          <p:txBody>
            <a:bodyPr rtlCol="0" anchor="ctr"/>
            <a:lstStyle/>
            <a:p>
              <a:endParaRPr lang="en-US"/>
            </a:p>
          </p:txBody>
        </p:sp>
        <p:sp>
          <p:nvSpPr>
            <p:cNvPr id="34" name="Freeform: Shape 33">
              <a:extLst>
                <a:ext uri="{FF2B5EF4-FFF2-40B4-BE49-F238E27FC236}">
                  <a16:creationId xmlns:a16="http://schemas.microsoft.com/office/drawing/2014/main" id="{0754A020-45B5-8DC5-E86D-1F6612D29E77}"/>
                </a:ext>
              </a:extLst>
            </p:cNvPr>
            <p:cNvSpPr/>
            <p:nvPr/>
          </p:nvSpPr>
          <p:spPr>
            <a:xfrm>
              <a:off x="8842680" y="2272583"/>
              <a:ext cx="137249" cy="137249"/>
            </a:xfrm>
            <a:custGeom>
              <a:avLst/>
              <a:gdLst>
                <a:gd name="connsiteX0" fmla="*/ 147829 w 291978"/>
                <a:gd name="connsiteY0" fmla="*/ 272568 h 291978"/>
                <a:gd name="connsiteX1" fmla="*/ 167239 w 291978"/>
                <a:gd name="connsiteY1" fmla="*/ 291978 h 291978"/>
                <a:gd name="connsiteX2" fmla="*/ 269901 w 291978"/>
                <a:gd name="connsiteY2" fmla="*/ 291978 h 291978"/>
                <a:gd name="connsiteX3" fmla="*/ 291978 w 291978"/>
                <a:gd name="connsiteY3" fmla="*/ 269900 h 291978"/>
                <a:gd name="connsiteX4" fmla="*/ 291978 w 291978"/>
                <a:gd name="connsiteY4" fmla="*/ 22998 h 291978"/>
                <a:gd name="connsiteX5" fmla="*/ 268981 w 291978"/>
                <a:gd name="connsiteY5" fmla="*/ 0 h 291978"/>
                <a:gd name="connsiteX6" fmla="*/ 22078 w 291978"/>
                <a:gd name="connsiteY6" fmla="*/ 0 h 291978"/>
                <a:gd name="connsiteX7" fmla="*/ 0 w 291978"/>
                <a:gd name="connsiteY7" fmla="*/ 22078 h 291978"/>
                <a:gd name="connsiteX8" fmla="*/ 0 w 291978"/>
                <a:gd name="connsiteY8" fmla="*/ 121612 h 291978"/>
                <a:gd name="connsiteX9" fmla="*/ 22446 w 291978"/>
                <a:gd name="connsiteY9" fmla="*/ 144057 h 291978"/>
                <a:gd name="connsiteX10" fmla="*/ 137894 w 291978"/>
                <a:gd name="connsiteY10" fmla="*/ 144057 h 291978"/>
                <a:gd name="connsiteX11" fmla="*/ 147829 w 291978"/>
                <a:gd name="connsiteY11" fmla="*/ 153992 h 291978"/>
                <a:gd name="connsiteX12" fmla="*/ 147829 w 291978"/>
                <a:gd name="connsiteY12" fmla="*/ 272660 h 29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978" h="291978">
                  <a:moveTo>
                    <a:pt x="147829" y="272568"/>
                  </a:moveTo>
                  <a:cubicBezTo>
                    <a:pt x="147829" y="283239"/>
                    <a:pt x="156476" y="291978"/>
                    <a:pt x="167239" y="291978"/>
                  </a:cubicBezTo>
                  <a:lnTo>
                    <a:pt x="269901" y="291978"/>
                  </a:lnTo>
                  <a:cubicBezTo>
                    <a:pt x="282135" y="291978"/>
                    <a:pt x="291978" y="282043"/>
                    <a:pt x="291978" y="269900"/>
                  </a:cubicBezTo>
                  <a:lnTo>
                    <a:pt x="291978" y="22998"/>
                  </a:lnTo>
                  <a:cubicBezTo>
                    <a:pt x="291978" y="10303"/>
                    <a:pt x="281583" y="0"/>
                    <a:pt x="268981" y="0"/>
                  </a:cubicBezTo>
                  <a:lnTo>
                    <a:pt x="22078" y="0"/>
                  </a:lnTo>
                  <a:cubicBezTo>
                    <a:pt x="9935" y="0"/>
                    <a:pt x="0" y="9935"/>
                    <a:pt x="0" y="22078"/>
                  </a:cubicBezTo>
                  <a:lnTo>
                    <a:pt x="0" y="121612"/>
                  </a:lnTo>
                  <a:cubicBezTo>
                    <a:pt x="0" y="133938"/>
                    <a:pt x="10119" y="144057"/>
                    <a:pt x="22446" y="144057"/>
                  </a:cubicBezTo>
                  <a:lnTo>
                    <a:pt x="137894" y="144057"/>
                  </a:lnTo>
                  <a:cubicBezTo>
                    <a:pt x="143413" y="144057"/>
                    <a:pt x="147829" y="148473"/>
                    <a:pt x="147829" y="153992"/>
                  </a:cubicBezTo>
                  <a:lnTo>
                    <a:pt x="147829" y="272660"/>
                  </a:lnTo>
                  <a:close/>
                </a:path>
              </a:pathLst>
            </a:custGeom>
            <a:solidFill>
              <a:srgbClr val="84B135"/>
            </a:solidFill>
            <a:ln w="9151"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7D8AE80-346F-628C-BC2E-F2AF1B9921DD}"/>
                </a:ext>
              </a:extLst>
            </p:cNvPr>
            <p:cNvSpPr/>
            <p:nvPr/>
          </p:nvSpPr>
          <p:spPr>
            <a:xfrm>
              <a:off x="8923023" y="2192153"/>
              <a:ext cx="137292" cy="137293"/>
            </a:xfrm>
            <a:custGeom>
              <a:avLst/>
              <a:gdLst>
                <a:gd name="connsiteX0" fmla="*/ 147921 w 292070"/>
                <a:gd name="connsiteY0" fmla="*/ 268613 h 292070"/>
                <a:gd name="connsiteX1" fmla="*/ 171379 w 292070"/>
                <a:gd name="connsiteY1" fmla="*/ 292070 h 292070"/>
                <a:gd name="connsiteX2" fmla="*/ 268613 w 292070"/>
                <a:gd name="connsiteY2" fmla="*/ 292070 h 292070"/>
                <a:gd name="connsiteX3" fmla="*/ 292070 w 292070"/>
                <a:gd name="connsiteY3" fmla="*/ 268613 h 292070"/>
                <a:gd name="connsiteX4" fmla="*/ 292070 w 292070"/>
                <a:gd name="connsiteY4" fmla="*/ 24469 h 292070"/>
                <a:gd name="connsiteX5" fmla="*/ 267601 w 292070"/>
                <a:gd name="connsiteY5" fmla="*/ 0 h 292070"/>
                <a:gd name="connsiteX6" fmla="*/ 23550 w 292070"/>
                <a:gd name="connsiteY6" fmla="*/ 0 h 292070"/>
                <a:gd name="connsiteX7" fmla="*/ 0 w 292070"/>
                <a:gd name="connsiteY7" fmla="*/ 23550 h 292070"/>
                <a:gd name="connsiteX8" fmla="*/ 0 w 292070"/>
                <a:gd name="connsiteY8" fmla="*/ 120140 h 292070"/>
                <a:gd name="connsiteX9" fmla="*/ 23918 w 292070"/>
                <a:gd name="connsiteY9" fmla="*/ 144057 h 292070"/>
                <a:gd name="connsiteX10" fmla="*/ 136514 w 292070"/>
                <a:gd name="connsiteY10" fmla="*/ 144057 h 292070"/>
                <a:gd name="connsiteX11" fmla="*/ 147921 w 292070"/>
                <a:gd name="connsiteY11" fmla="*/ 155464 h 292070"/>
                <a:gd name="connsiteX12" fmla="*/ 147921 w 292070"/>
                <a:gd name="connsiteY12" fmla="*/ 268613 h 29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070" h="292070">
                  <a:moveTo>
                    <a:pt x="147921" y="268613"/>
                  </a:moveTo>
                  <a:cubicBezTo>
                    <a:pt x="147921" y="281583"/>
                    <a:pt x="158408" y="292070"/>
                    <a:pt x="171379" y="292070"/>
                  </a:cubicBezTo>
                  <a:lnTo>
                    <a:pt x="268613" y="292070"/>
                  </a:lnTo>
                  <a:cubicBezTo>
                    <a:pt x="281583" y="292070"/>
                    <a:pt x="292070" y="281583"/>
                    <a:pt x="292070" y="268613"/>
                  </a:cubicBezTo>
                  <a:lnTo>
                    <a:pt x="292070" y="24469"/>
                  </a:lnTo>
                  <a:cubicBezTo>
                    <a:pt x="292070" y="10947"/>
                    <a:pt x="281123" y="0"/>
                    <a:pt x="267601" y="0"/>
                  </a:cubicBezTo>
                  <a:lnTo>
                    <a:pt x="23550" y="0"/>
                  </a:lnTo>
                  <a:cubicBezTo>
                    <a:pt x="10579" y="0"/>
                    <a:pt x="0" y="10579"/>
                    <a:pt x="0" y="23550"/>
                  </a:cubicBezTo>
                  <a:lnTo>
                    <a:pt x="0" y="120140"/>
                  </a:lnTo>
                  <a:cubicBezTo>
                    <a:pt x="0" y="133294"/>
                    <a:pt x="10763" y="144057"/>
                    <a:pt x="23918" y="144057"/>
                  </a:cubicBezTo>
                  <a:lnTo>
                    <a:pt x="136514" y="144057"/>
                  </a:lnTo>
                  <a:cubicBezTo>
                    <a:pt x="142770" y="144057"/>
                    <a:pt x="147921" y="149117"/>
                    <a:pt x="147921" y="155464"/>
                  </a:cubicBezTo>
                  <a:lnTo>
                    <a:pt x="147921" y="268613"/>
                  </a:lnTo>
                  <a:close/>
                </a:path>
              </a:pathLst>
            </a:custGeom>
            <a:solidFill>
              <a:srgbClr val="E36B00"/>
            </a:solidFill>
            <a:ln w="915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8FB14472-2F36-5E8A-2200-7C83764052D7}"/>
                </a:ext>
              </a:extLst>
            </p:cNvPr>
            <p:cNvSpPr/>
            <p:nvPr/>
          </p:nvSpPr>
          <p:spPr>
            <a:xfrm>
              <a:off x="8763634" y="2352018"/>
              <a:ext cx="137379" cy="137379"/>
            </a:xfrm>
            <a:custGeom>
              <a:avLst/>
              <a:gdLst>
                <a:gd name="connsiteX0" fmla="*/ 123359 w 292254"/>
                <a:gd name="connsiteY0" fmla="*/ 292254 h 292254"/>
                <a:gd name="connsiteX1" fmla="*/ 24562 w 292254"/>
                <a:gd name="connsiteY1" fmla="*/ 292254 h 292254"/>
                <a:gd name="connsiteX2" fmla="*/ 0 w 292254"/>
                <a:gd name="connsiteY2" fmla="*/ 267693 h 292254"/>
                <a:gd name="connsiteX3" fmla="*/ 0 w 292254"/>
                <a:gd name="connsiteY3" fmla="*/ 24561 h 292254"/>
                <a:gd name="connsiteX4" fmla="*/ 24562 w 292254"/>
                <a:gd name="connsiteY4" fmla="*/ 0 h 292254"/>
                <a:gd name="connsiteX5" fmla="*/ 267693 w 292254"/>
                <a:gd name="connsiteY5" fmla="*/ 0 h 292254"/>
                <a:gd name="connsiteX6" fmla="*/ 292254 w 292254"/>
                <a:gd name="connsiteY6" fmla="*/ 24561 h 292254"/>
                <a:gd name="connsiteX7" fmla="*/ 292254 w 292254"/>
                <a:gd name="connsiteY7" fmla="*/ 267693 h 292254"/>
                <a:gd name="connsiteX8" fmla="*/ 267693 w 292254"/>
                <a:gd name="connsiteY8" fmla="*/ 292254 h 292254"/>
                <a:gd name="connsiteX9" fmla="*/ 116920 w 292254"/>
                <a:gd name="connsiteY9" fmla="*/ 292254 h 29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254" h="292254">
                  <a:moveTo>
                    <a:pt x="123359" y="292254"/>
                  </a:moveTo>
                  <a:lnTo>
                    <a:pt x="24562" y="292254"/>
                  </a:lnTo>
                  <a:cubicBezTo>
                    <a:pt x="11039" y="292254"/>
                    <a:pt x="0" y="281307"/>
                    <a:pt x="0" y="267693"/>
                  </a:cubicBezTo>
                  <a:lnTo>
                    <a:pt x="0" y="24561"/>
                  </a:lnTo>
                  <a:cubicBezTo>
                    <a:pt x="0" y="11039"/>
                    <a:pt x="10947" y="0"/>
                    <a:pt x="24562" y="0"/>
                  </a:cubicBezTo>
                  <a:lnTo>
                    <a:pt x="267693" y="0"/>
                  </a:lnTo>
                  <a:cubicBezTo>
                    <a:pt x="281215" y="0"/>
                    <a:pt x="292254" y="10947"/>
                    <a:pt x="292254" y="24561"/>
                  </a:cubicBezTo>
                  <a:lnTo>
                    <a:pt x="292254" y="267693"/>
                  </a:lnTo>
                  <a:cubicBezTo>
                    <a:pt x="292254" y="281215"/>
                    <a:pt x="281307" y="292254"/>
                    <a:pt x="267693" y="292254"/>
                  </a:cubicBezTo>
                  <a:lnTo>
                    <a:pt x="116920" y="292254"/>
                  </a:lnTo>
                </a:path>
              </a:pathLst>
            </a:custGeom>
            <a:solidFill>
              <a:srgbClr val="0096A4"/>
            </a:solidFill>
            <a:ln w="9151" cap="flat">
              <a:noFill/>
              <a:prstDash val="solid"/>
              <a:miter/>
            </a:ln>
          </p:spPr>
          <p:txBody>
            <a:bodyPr rtlCol="0" anchor="ctr"/>
            <a:lstStyle/>
            <a:p>
              <a:endParaRPr lang="en-US"/>
            </a:p>
          </p:txBody>
        </p:sp>
      </p:grpSp>
      <p:grpSp>
        <p:nvGrpSpPr>
          <p:cNvPr id="37" name="Group 36">
            <a:extLst>
              <a:ext uri="{FF2B5EF4-FFF2-40B4-BE49-F238E27FC236}">
                <a16:creationId xmlns:a16="http://schemas.microsoft.com/office/drawing/2014/main" id="{E6B36B13-69CE-EA73-0370-27F883441049}"/>
              </a:ext>
            </a:extLst>
          </p:cNvPr>
          <p:cNvGrpSpPr/>
          <p:nvPr userDrawn="1"/>
        </p:nvGrpSpPr>
        <p:grpSpPr>
          <a:xfrm>
            <a:off x="9310777" y="4122420"/>
            <a:ext cx="1266380" cy="1146464"/>
            <a:chOff x="9280516" y="4028030"/>
            <a:chExt cx="1397226" cy="1264920"/>
          </a:xfrm>
        </p:grpSpPr>
        <p:pic>
          <p:nvPicPr>
            <p:cNvPr id="38" name="Graphic 37">
              <a:extLst>
                <a:ext uri="{FF2B5EF4-FFF2-40B4-BE49-F238E27FC236}">
                  <a16:creationId xmlns:a16="http://schemas.microsoft.com/office/drawing/2014/main" id="{AFEF40F4-A304-36DA-B93C-428CF77B71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37642" y="4048563"/>
              <a:ext cx="1322735" cy="1212505"/>
            </a:xfrm>
            <a:prstGeom prst="rect">
              <a:avLst/>
            </a:prstGeom>
          </p:spPr>
        </p:pic>
        <p:pic>
          <p:nvPicPr>
            <p:cNvPr id="39" name="Graphic 38">
              <a:extLst>
                <a:ext uri="{FF2B5EF4-FFF2-40B4-BE49-F238E27FC236}">
                  <a16:creationId xmlns:a16="http://schemas.microsoft.com/office/drawing/2014/main" id="{FEF20728-22A2-C087-7EBE-403C424E0F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3671" y="4028030"/>
              <a:ext cx="1364071" cy="1171169"/>
            </a:xfrm>
            <a:prstGeom prst="rect">
              <a:avLst/>
            </a:prstGeom>
          </p:spPr>
        </p:pic>
        <p:pic>
          <p:nvPicPr>
            <p:cNvPr id="40" name="Graphic 39">
              <a:extLst>
                <a:ext uri="{FF2B5EF4-FFF2-40B4-BE49-F238E27FC236}">
                  <a16:creationId xmlns:a16="http://schemas.microsoft.com/office/drawing/2014/main" id="{4174C504-9AB7-4ECE-8CDB-7A21F8ADBF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80516" y="4094224"/>
              <a:ext cx="1364071" cy="1198726"/>
            </a:xfrm>
            <a:prstGeom prst="rect">
              <a:avLst/>
            </a:prstGeom>
          </p:spPr>
        </p:pic>
        <p:pic>
          <p:nvPicPr>
            <p:cNvPr id="41" name="Graphic 40">
              <a:extLst>
                <a:ext uri="{FF2B5EF4-FFF2-40B4-BE49-F238E27FC236}">
                  <a16:creationId xmlns:a16="http://schemas.microsoft.com/office/drawing/2014/main" id="{9B4E82BA-D345-21BF-2C2E-1C7F1F24C61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99086" y="4248403"/>
              <a:ext cx="523583" cy="482246"/>
            </a:xfrm>
            <a:prstGeom prst="rect">
              <a:avLst/>
            </a:prstGeom>
          </p:spPr>
        </p:pic>
      </p:grpSp>
      <p:pic>
        <p:nvPicPr>
          <p:cNvPr id="42" name="Graphic 41">
            <a:extLst>
              <a:ext uri="{FF2B5EF4-FFF2-40B4-BE49-F238E27FC236}">
                <a16:creationId xmlns:a16="http://schemas.microsoft.com/office/drawing/2014/main" id="{9B154B94-1DDA-67E9-8D3B-F9D74EB3C77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9667948" y="-68696"/>
            <a:ext cx="2419350" cy="1590675"/>
          </a:xfrm>
          <a:prstGeom prst="rect">
            <a:avLst/>
          </a:prstGeom>
        </p:spPr>
      </p:pic>
      <p:pic>
        <p:nvPicPr>
          <p:cNvPr id="43" name="Graphic 42">
            <a:extLst>
              <a:ext uri="{FF2B5EF4-FFF2-40B4-BE49-F238E27FC236}">
                <a16:creationId xmlns:a16="http://schemas.microsoft.com/office/drawing/2014/main" id="{6465DA25-1EB7-239B-B164-7C1E02CFECBB}"/>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8275291" y="-11169"/>
            <a:ext cx="867399" cy="475670"/>
          </a:xfrm>
          <a:prstGeom prst="rect">
            <a:avLst/>
          </a:prstGeom>
        </p:spPr>
      </p:pic>
      <p:pic>
        <p:nvPicPr>
          <p:cNvPr id="11" name="Graphic 847">
            <a:extLst>
              <a:ext uri="{FF2B5EF4-FFF2-40B4-BE49-F238E27FC236}">
                <a16:creationId xmlns:a16="http://schemas.microsoft.com/office/drawing/2014/main" id="{9FB77BD5-E8BA-30B9-1A1B-54AA1AE1D0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23805" y="4360914"/>
            <a:ext cx="4897747" cy="621717"/>
          </a:xfrm>
          <a:prstGeom prst="rect">
            <a:avLst/>
          </a:prstGeom>
        </p:spPr>
      </p:pic>
    </p:spTree>
    <p:extLst>
      <p:ext uri="{BB962C8B-B14F-4D97-AF65-F5344CB8AC3E}">
        <p14:creationId xmlns:p14="http://schemas.microsoft.com/office/powerpoint/2010/main" val="30799328"/>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5_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8D39115-6FB0-4960-858F-5EB2E7DEBB50}"/>
              </a:ext>
            </a:extLst>
          </p:cNvPr>
          <p:cNvPicPr>
            <a:picLocks noChangeAspect="1"/>
          </p:cNvPicPr>
          <p:nvPr userDrawn="1"/>
        </p:nvPicPr>
        <p:blipFill>
          <a:blip r:embed="rId2"/>
          <a:srcRect/>
          <a:stretch/>
        </p:blipFill>
        <p:spPr>
          <a:xfrm>
            <a:off x="0" y="3"/>
            <a:ext cx="12192000" cy="6880593"/>
          </a:xfrm>
          <a:prstGeom prst="rect">
            <a:avLst/>
          </a:prstGeom>
        </p:spPr>
      </p:pic>
      <p:sp>
        <p:nvSpPr>
          <p:cNvPr id="11" name="Text Placeholder 10">
            <a:extLst>
              <a:ext uri="{FF2B5EF4-FFF2-40B4-BE49-F238E27FC236}">
                <a16:creationId xmlns:a16="http://schemas.microsoft.com/office/drawing/2014/main" id="{BBA234D9-1F89-4689-89BA-C77F9BF705F2}"/>
              </a:ext>
            </a:extLst>
          </p:cNvPr>
          <p:cNvSpPr>
            <a:spLocks noGrp="1"/>
          </p:cNvSpPr>
          <p:nvPr>
            <p:ph type="body" sz="quarter" idx="10"/>
          </p:nvPr>
        </p:nvSpPr>
        <p:spPr>
          <a:xfrm>
            <a:off x="2245977" y="4153859"/>
            <a:ext cx="5540491" cy="308546"/>
          </a:xfrm>
        </p:spPr>
        <p:txBody>
          <a:bodyPr wrap="square">
            <a:spAutoFit/>
          </a:bodyPr>
          <a:lstStyle>
            <a:lvl1pPr marL="0" indent="0">
              <a:buNone/>
              <a:defRPr sz="2000">
                <a:solidFill>
                  <a:srgbClr val="FEFEFE"/>
                </a:solidFill>
                <a:effectLst/>
                <a:latin typeface="+mn-lt"/>
                <a:ea typeface="Lato Light" panose="020F0502020204030203" pitchFamily="34" charset="0"/>
                <a:cs typeface="Lato Light" panose="020F0502020204030203" pitchFamily="34" charset="0"/>
              </a:defRPr>
            </a:lvl1pPr>
            <a:lvl2pPr marL="457189" indent="0">
              <a:buNone/>
              <a:defRPr/>
            </a:lvl2pPr>
          </a:lstStyle>
          <a:p>
            <a:pPr lvl="0"/>
            <a:r>
              <a:rPr lang="en-US"/>
              <a:t>Click to edit Master text styles</a:t>
            </a:r>
          </a:p>
        </p:txBody>
      </p:sp>
      <p:sp>
        <p:nvSpPr>
          <p:cNvPr id="2" name="Title 1">
            <a:extLst>
              <a:ext uri="{FF2B5EF4-FFF2-40B4-BE49-F238E27FC236}">
                <a16:creationId xmlns:a16="http://schemas.microsoft.com/office/drawing/2014/main" id="{1CA21FE1-8935-4EE6-BE25-A18F50F53F5C}"/>
              </a:ext>
            </a:extLst>
          </p:cNvPr>
          <p:cNvSpPr>
            <a:spLocks noGrp="1"/>
          </p:cNvSpPr>
          <p:nvPr>
            <p:ph type="ctrTitle"/>
          </p:nvPr>
        </p:nvSpPr>
        <p:spPr>
          <a:xfrm>
            <a:off x="2230887" y="1700046"/>
            <a:ext cx="7714391" cy="1688111"/>
          </a:xfrm>
        </p:spPr>
        <p:txBody>
          <a:bodyPr anchor="b">
            <a:normAutofit/>
          </a:bodyPr>
          <a:lstStyle>
            <a:lvl1pPr algn="l">
              <a:defRPr sz="4800">
                <a:solidFill>
                  <a:srgbClr val="FEFEFE"/>
                </a:solidFill>
                <a:effectLst/>
                <a:latin typeface="+mj-lt"/>
                <a:ea typeface="Lato Light" panose="020F0502020204030203" pitchFamily="34" charset="0"/>
                <a:cs typeface="Lato Light" panose="020F050202020403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99A4ED0-232F-4702-AAF8-13039CDCED5B}"/>
              </a:ext>
            </a:extLst>
          </p:cNvPr>
          <p:cNvSpPr>
            <a:spLocks noGrp="1"/>
          </p:cNvSpPr>
          <p:nvPr>
            <p:ph type="subTitle" idx="1" hasCustomPrompt="1"/>
          </p:nvPr>
        </p:nvSpPr>
        <p:spPr>
          <a:xfrm>
            <a:off x="2267079" y="3578954"/>
            <a:ext cx="5589727" cy="431978"/>
          </a:xfrm>
        </p:spPr>
        <p:txBody>
          <a:bodyPr wrap="square" anchor="b" anchorCtr="0">
            <a:spAutoFit/>
          </a:bodyPr>
          <a:lstStyle>
            <a:lvl1pPr marL="0" indent="0" algn="l">
              <a:buNone/>
              <a:defRPr sz="2800" b="0">
                <a:solidFill>
                  <a:srgbClr val="FEFEFE"/>
                </a:solidFill>
                <a:effectLst/>
                <a:latin typeface="+mj-lt"/>
                <a:ea typeface="Lato Light" panose="020F0502020204030203" pitchFamily="34" charset="0"/>
                <a:cs typeface="Lato Light" panose="020F0502020204030203"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er’s name</a:t>
            </a:r>
          </a:p>
        </p:txBody>
      </p:sp>
      <p:pic>
        <p:nvPicPr>
          <p:cNvPr id="9" name="Graphic 8">
            <a:extLst>
              <a:ext uri="{FF2B5EF4-FFF2-40B4-BE49-F238E27FC236}">
                <a16:creationId xmlns:a16="http://schemas.microsoft.com/office/drawing/2014/main" id="{01D7FF2F-F819-4746-91B0-82781872755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758755" y="4905633"/>
            <a:ext cx="2292824" cy="359117"/>
          </a:xfrm>
          <a:prstGeom prst="rect">
            <a:avLst/>
          </a:prstGeom>
        </p:spPr>
      </p:pic>
    </p:spTree>
    <p:extLst>
      <p:ext uri="{BB962C8B-B14F-4D97-AF65-F5344CB8AC3E}">
        <p14:creationId xmlns:p14="http://schemas.microsoft.com/office/powerpoint/2010/main" val="387391848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12830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ayout -25-">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C6C3D0CD-41B0-F140-AD4F-9D9CD6264579}"/>
              </a:ext>
            </a:extLst>
          </p:cNvPr>
          <p:cNvSpPr>
            <a:spLocks noGrp="1"/>
          </p:cNvSpPr>
          <p:nvPr>
            <p:ph type="body" sz="quarter" idx="13" hasCustomPrompt="1"/>
          </p:nvPr>
        </p:nvSpPr>
        <p:spPr>
          <a:xfrm>
            <a:off x="658812" y="477078"/>
            <a:ext cx="10874376" cy="1229110"/>
          </a:xfrm>
          <a:prstGeom prst="rect">
            <a:avLst/>
          </a:prstGeom>
        </p:spPr>
        <p:txBody>
          <a:bodyPr anchor="ctr"/>
          <a:lstStyle>
            <a:lvl1pPr marL="0" indent="0" algn="ctr">
              <a:buNone/>
              <a:defRPr sz="4000">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179000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Layout -7-">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E1E5BCB8-8232-8E48-BBD4-D6C8B5D7C6E6}"/>
              </a:ext>
            </a:extLst>
          </p:cNvPr>
          <p:cNvSpPr>
            <a:spLocks noGrp="1"/>
          </p:cNvSpPr>
          <p:nvPr>
            <p:ph type="pic" sz="quarter" idx="12" hasCustomPrompt="1"/>
          </p:nvPr>
        </p:nvSpPr>
        <p:spPr>
          <a:xfrm>
            <a:off x="6569765" y="1706188"/>
            <a:ext cx="4490545" cy="4273828"/>
          </a:xfrm>
          <a:prstGeom prst="ellipse">
            <a:avLst/>
          </a:prstGeom>
          <a:solidFill>
            <a:schemeClr val="bg2">
              <a:lumMod val="75000"/>
            </a:schemeClr>
          </a:solidFill>
        </p:spPr>
        <p:txBody>
          <a:bodyPr wrap="square" anchor="ctr">
            <a:noAutofit/>
          </a:bodyPr>
          <a:lstStyle>
            <a:lvl1pPr marL="0" indent="0" algn="ctr">
              <a:buNone/>
              <a:defRPr lang="en-US" sz="1600"/>
            </a:lvl1pPr>
          </a:lstStyle>
          <a:p>
            <a:r>
              <a:rPr lang="en-US"/>
              <a:t>Add your image here [Drag and Drop]</a:t>
            </a:r>
          </a:p>
        </p:txBody>
      </p:sp>
      <p:sp>
        <p:nvSpPr>
          <p:cNvPr id="19" name="Text Placeholder 2">
            <a:extLst>
              <a:ext uri="{FF2B5EF4-FFF2-40B4-BE49-F238E27FC236}">
                <a16:creationId xmlns:a16="http://schemas.microsoft.com/office/drawing/2014/main" id="{6E31C78E-3EB2-4742-9806-494374078788}"/>
              </a:ext>
            </a:extLst>
          </p:cNvPr>
          <p:cNvSpPr>
            <a:spLocks noGrp="1"/>
          </p:cNvSpPr>
          <p:nvPr>
            <p:ph type="body" sz="quarter" idx="13" hasCustomPrompt="1"/>
          </p:nvPr>
        </p:nvSpPr>
        <p:spPr>
          <a:xfrm>
            <a:off x="658812" y="477078"/>
            <a:ext cx="10874376" cy="1229110"/>
          </a:xfrm>
          <a:prstGeom prst="rect">
            <a:avLst/>
          </a:prstGeom>
        </p:spPr>
        <p:txBody>
          <a:bodyPr anchor="ctr"/>
          <a:lstStyle>
            <a:lvl1pPr marL="0" indent="0" algn="ctr">
              <a:buNone/>
              <a:defRPr sz="4000">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2">
            <a:extLst>
              <a:ext uri="{FF2B5EF4-FFF2-40B4-BE49-F238E27FC236}">
                <a16:creationId xmlns:a16="http://schemas.microsoft.com/office/drawing/2014/main" id="{9E5D7083-C07D-E541-8311-1C3DCFDAE3CA}"/>
              </a:ext>
            </a:extLst>
          </p:cNvPr>
          <p:cNvSpPr>
            <a:spLocks noGrp="1"/>
          </p:cNvSpPr>
          <p:nvPr>
            <p:ph type="body" sz="quarter" idx="15" hasCustomPrompt="1"/>
          </p:nvPr>
        </p:nvSpPr>
        <p:spPr>
          <a:xfrm>
            <a:off x="658813" y="2088333"/>
            <a:ext cx="5437188" cy="3908206"/>
          </a:xfrm>
          <a:prstGeom prst="rect">
            <a:avLst/>
          </a:prstGeom>
        </p:spPr>
        <p:txBody>
          <a:bodyPr anchor="ctr"/>
          <a:lstStyle>
            <a:lvl1pPr marL="285750" indent="-285750" algn="l">
              <a:spcBef>
                <a:spcPts val="0"/>
              </a:spcBef>
              <a:spcAft>
                <a:spcPts val="300"/>
              </a:spcAft>
              <a:buFont typeface="Arial" panose="020B0604020202020204" pitchFamily="34" charset="0"/>
              <a:buChar char="•"/>
              <a:defRPr sz="2400">
                <a:solidFill>
                  <a:schemeClr val="tx1"/>
                </a:solidFill>
                <a:latin typeface="IBM Plex Sans" panose="020B050305020300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bulleted items here</a:t>
            </a:r>
          </a:p>
        </p:txBody>
      </p:sp>
    </p:spTree>
    <p:extLst>
      <p:ext uri="{BB962C8B-B14F-4D97-AF65-F5344CB8AC3E}">
        <p14:creationId xmlns:p14="http://schemas.microsoft.com/office/powerpoint/2010/main" val="1650158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6562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Agenda">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0D7B54-5582-F93F-2155-09872FD6CF66}"/>
              </a:ext>
            </a:extLst>
          </p:cNvPr>
          <p:cNvSpPr/>
          <p:nvPr userDrawn="1"/>
        </p:nvSpPr>
        <p:spPr>
          <a:xfrm>
            <a:off x="1" y="-9235"/>
            <a:ext cx="12193588" cy="6873372"/>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4" name="Text Placeholder 2">
            <a:extLst>
              <a:ext uri="{FF2B5EF4-FFF2-40B4-BE49-F238E27FC236}">
                <a16:creationId xmlns:a16="http://schemas.microsoft.com/office/drawing/2014/main" id="{FB38E3C2-1007-2B39-F846-F020B150907A}"/>
              </a:ext>
            </a:extLst>
          </p:cNvPr>
          <p:cNvSpPr>
            <a:spLocks noGrp="1"/>
          </p:cNvSpPr>
          <p:nvPr>
            <p:ph type="body" sz="quarter" idx="10"/>
          </p:nvPr>
        </p:nvSpPr>
        <p:spPr>
          <a:xfrm>
            <a:off x="1046536" y="1949450"/>
            <a:ext cx="5710433" cy="4175125"/>
          </a:xfrm>
        </p:spPr>
        <p:txBody>
          <a:bodyPr anchor="t" anchorCtr="0"/>
          <a:lstStyle>
            <a:lvl1pPr marL="0" indent="0">
              <a:lnSpc>
                <a:spcPct val="100000"/>
              </a:lnSpc>
              <a:buNone/>
              <a:defRPr sz="2000" b="0">
                <a:solidFill>
                  <a:srgbClr val="FFFFFE"/>
                </a:solidFill>
                <a:latin typeface="+mn-lt"/>
                <a:ea typeface="Lato Light" panose="020F0502020204030203" pitchFamily="34" charset="0"/>
                <a:cs typeface="Lato Light" panose="020F0502020204030203" pitchFamily="34" charset="0"/>
              </a:defRPr>
            </a:lvl1pPr>
            <a:lvl2pPr marL="685800" indent="-339725">
              <a:defRPr sz="2000">
                <a:solidFill>
                  <a:srgbClr val="FFFF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a:p>
            <a:pPr lvl="1"/>
            <a:r>
              <a:rPr lang="en-US"/>
              <a:t>Second level</a:t>
            </a:r>
          </a:p>
        </p:txBody>
      </p:sp>
      <p:pic>
        <p:nvPicPr>
          <p:cNvPr id="7" name="Picture 6" descr="A green and yellow circles&#10;&#10;Description automatically generated">
            <a:extLst>
              <a:ext uri="{FF2B5EF4-FFF2-40B4-BE49-F238E27FC236}">
                <a16:creationId xmlns:a16="http://schemas.microsoft.com/office/drawing/2014/main" id="{4E8F1CE9-61A9-32A4-6663-EA522861CF65}"/>
              </a:ext>
            </a:extLst>
          </p:cNvPr>
          <p:cNvPicPr>
            <a:picLocks noChangeAspect="1"/>
          </p:cNvPicPr>
          <p:nvPr userDrawn="1"/>
        </p:nvPicPr>
        <p:blipFill rotWithShape="1">
          <a:blip r:embed="rId2"/>
          <a:srcRect t="2" r="14874" b="22875"/>
          <a:stretch/>
        </p:blipFill>
        <p:spPr>
          <a:xfrm>
            <a:off x="6619875" y="1809687"/>
            <a:ext cx="5572125" cy="5048313"/>
          </a:xfrm>
          <a:prstGeom prst="rect">
            <a:avLst/>
          </a:prstGeom>
        </p:spPr>
      </p:pic>
      <p:sp>
        <p:nvSpPr>
          <p:cNvPr id="3" name="TextBox 2">
            <a:extLst>
              <a:ext uri="{FF2B5EF4-FFF2-40B4-BE49-F238E27FC236}">
                <a16:creationId xmlns:a16="http://schemas.microsoft.com/office/drawing/2014/main" id="{F001B985-D7C8-4178-9DD4-FF26F1638283}"/>
              </a:ext>
            </a:extLst>
          </p:cNvPr>
          <p:cNvSpPr txBox="1"/>
          <p:nvPr userDrawn="1"/>
        </p:nvSpPr>
        <p:spPr>
          <a:xfrm>
            <a:off x="1057523" y="842838"/>
            <a:ext cx="3172570" cy="615553"/>
          </a:xfrm>
          <a:prstGeom prst="rect">
            <a:avLst/>
          </a:prstGeom>
          <a:noFill/>
        </p:spPr>
        <p:txBody>
          <a:bodyPr wrap="square" lIns="0" tIns="0" rIns="0" bIns="0" rtlCol="0">
            <a:spAutoFit/>
          </a:bodyPr>
          <a:lstStyle/>
          <a:p>
            <a:pPr>
              <a:spcBef>
                <a:spcPts val="600"/>
              </a:spcBef>
            </a:pPr>
            <a:r>
              <a:rPr lang="en-US" sz="4000">
                <a:latin typeface="+mj-lt"/>
              </a:rPr>
              <a:t>Agenda</a:t>
            </a:r>
          </a:p>
        </p:txBody>
      </p:sp>
    </p:spTree>
    <p:extLst>
      <p:ext uri="{BB962C8B-B14F-4D97-AF65-F5344CB8AC3E}">
        <p14:creationId xmlns:p14="http://schemas.microsoft.com/office/powerpoint/2010/main" val="118947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4444" y="1787499"/>
            <a:ext cx="4790375" cy="4180641"/>
          </a:xfrm>
        </p:spPr>
        <p:txBody>
          <a:bodyPr lIns="91440" tIns="45720" bIns="27432"/>
          <a:lstStyle>
            <a:lvl1pPr marL="171450" indent="-171450">
              <a:buFont typeface="Arial" panose="020B0604020202020204" pitchFamily="34" charset="0"/>
              <a:buChar char="•"/>
              <a:defRPr sz="1600"/>
            </a:lvl1pPr>
            <a:lvl2pPr marL="398463" indent="-166688">
              <a:buFont typeface="Lato" panose="020F0502020204030203" pitchFamily="34" charset="0"/>
              <a:buChar char="–"/>
              <a:defRPr sz="1200"/>
            </a:lvl2pPr>
            <a:lvl3pPr marL="687388" indent="-117475">
              <a:defRPr sz="1100"/>
            </a:lvl3pPr>
            <a:lvl4pPr marL="914400" indent="-107950">
              <a:tabLst/>
              <a:defRPr sz="1000"/>
            </a:lvl4pPr>
            <a:lvl5pPr marL="1203325" indent="-11747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4"/>
          </p:nvPr>
        </p:nvSpPr>
        <p:spPr>
          <a:xfrm>
            <a:off x="604444" y="1397219"/>
            <a:ext cx="4803775" cy="320675"/>
          </a:xfrm>
        </p:spPr>
        <p:txBody>
          <a:bodyPr lIns="91440" tIns="27432" bIns="27432"/>
          <a:lstStyle>
            <a:lvl1pPr marL="0" indent="0">
              <a:buNone/>
              <a:defRPr sz="1800" b="1">
                <a:solidFill>
                  <a:schemeClr val="accent2"/>
                </a:solidFill>
              </a:defRPr>
            </a:lvl1pPr>
            <a:lvl2pPr marL="230712" indent="0">
              <a:buNone/>
              <a:defRPr/>
            </a:lvl2pPr>
          </a:lstStyle>
          <a:p>
            <a:pPr lvl="0"/>
            <a:r>
              <a:rPr lang="en-US"/>
              <a:t>Click to edit Master text styles</a:t>
            </a:r>
          </a:p>
        </p:txBody>
      </p:sp>
      <p:sp>
        <p:nvSpPr>
          <p:cNvPr id="5" name="Text Placeholder 8"/>
          <p:cNvSpPr>
            <a:spLocks noGrp="1"/>
          </p:cNvSpPr>
          <p:nvPr>
            <p:ph type="body" sz="quarter" idx="15"/>
          </p:nvPr>
        </p:nvSpPr>
        <p:spPr>
          <a:xfrm>
            <a:off x="6858001" y="1397219"/>
            <a:ext cx="4817252" cy="320675"/>
          </a:xfrm>
        </p:spPr>
        <p:txBody>
          <a:bodyPr lIns="91440" tIns="27432" bIns="27432"/>
          <a:lstStyle>
            <a:lvl1pPr marL="0" indent="0">
              <a:buNone/>
              <a:defRPr sz="1800" b="1">
                <a:solidFill>
                  <a:schemeClr val="accent2"/>
                </a:solidFill>
              </a:defRPr>
            </a:lvl1pPr>
            <a:lvl2pPr marL="230712" indent="0">
              <a:buNone/>
              <a:defRPr/>
            </a:lvl2pPr>
          </a:lstStyle>
          <a:p>
            <a:pPr lvl="0"/>
            <a:r>
              <a:rPr lang="en-US"/>
              <a:t>Click to edit Master text styles</a:t>
            </a:r>
          </a:p>
        </p:txBody>
      </p:sp>
    </p:spTree>
    <p:extLst>
      <p:ext uri="{BB962C8B-B14F-4D97-AF65-F5344CB8AC3E}">
        <p14:creationId xmlns:p14="http://schemas.microsoft.com/office/powerpoint/2010/main" val="2435788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63036" y="1694688"/>
            <a:ext cx="11068061" cy="4437888"/>
          </a:xfrm>
        </p:spPr>
        <p:txBody>
          <a:bodyPr/>
          <a:lstStyle>
            <a:lvl1pPr>
              <a:defRPr>
                <a:solidFill>
                  <a:srgbClr val="404040"/>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6315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_Title ">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6299E1-1B00-2A3E-9814-4A04D8679C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 y="0"/>
            <a:ext cx="12191996" cy="4633357"/>
          </a:xfrm>
          <a:prstGeom prst="rect">
            <a:avLst/>
          </a:prstGeom>
          <a:solidFill>
            <a:srgbClr val="7CA631"/>
          </a:solidFill>
        </p:spPr>
      </p:pic>
      <p:grpSp>
        <p:nvGrpSpPr>
          <p:cNvPr id="6" name="Group 5">
            <a:extLst>
              <a:ext uri="{FF2B5EF4-FFF2-40B4-BE49-F238E27FC236}">
                <a16:creationId xmlns:a16="http://schemas.microsoft.com/office/drawing/2014/main" id="{5EAFD841-E67C-5077-84F2-4E22C5983925}"/>
              </a:ext>
            </a:extLst>
          </p:cNvPr>
          <p:cNvGrpSpPr/>
          <p:nvPr/>
        </p:nvGrpSpPr>
        <p:grpSpPr>
          <a:xfrm>
            <a:off x="0" y="3687743"/>
            <a:ext cx="12192000" cy="3170257"/>
            <a:chOff x="0" y="3687743"/>
            <a:chExt cx="12192000" cy="3170257"/>
          </a:xfrm>
        </p:grpSpPr>
        <p:sp>
          <p:nvSpPr>
            <p:cNvPr id="7" name="Rectangle 6">
              <a:extLst>
                <a:ext uri="{FF2B5EF4-FFF2-40B4-BE49-F238E27FC236}">
                  <a16:creationId xmlns:a16="http://schemas.microsoft.com/office/drawing/2014/main" id="{938CCF11-66BA-335F-E9D5-64438092A35C}"/>
                </a:ext>
              </a:extLst>
            </p:cNvPr>
            <p:cNvSpPr/>
            <p:nvPr/>
          </p:nvSpPr>
          <p:spPr>
            <a:xfrm>
              <a:off x="0" y="3687743"/>
              <a:ext cx="12192000" cy="3170257"/>
            </a:xfrm>
            <a:prstGeom prst="rect">
              <a:avLst/>
            </a:pr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24AAC23-D44C-7F13-D817-73DBE64A1E53}"/>
                </a:ext>
              </a:extLst>
            </p:cNvPr>
            <p:cNvSpPr/>
            <p:nvPr/>
          </p:nvSpPr>
          <p:spPr>
            <a:xfrm>
              <a:off x="0" y="3798276"/>
              <a:ext cx="12191999" cy="30597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 Placeholder 10">
            <a:extLst>
              <a:ext uri="{FF2B5EF4-FFF2-40B4-BE49-F238E27FC236}">
                <a16:creationId xmlns:a16="http://schemas.microsoft.com/office/drawing/2014/main" id="{F8DBC7A8-B51E-6DF3-122F-E73DEA396586}"/>
              </a:ext>
            </a:extLst>
          </p:cNvPr>
          <p:cNvSpPr>
            <a:spLocks noGrp="1"/>
          </p:cNvSpPr>
          <p:nvPr>
            <p:ph type="body" sz="quarter" idx="11" hasCustomPrompt="1"/>
          </p:nvPr>
        </p:nvSpPr>
        <p:spPr>
          <a:xfrm>
            <a:off x="819151" y="5861096"/>
            <a:ext cx="7666824" cy="307777"/>
          </a:xfrm>
        </p:spPr>
        <p:txBody>
          <a:bodyPr wrap="square">
            <a:spAutoFit/>
          </a:bodyPr>
          <a:lstStyle>
            <a:lvl1pPr marL="0" indent="0">
              <a:lnSpc>
                <a:spcPct val="100000"/>
              </a:lnSpc>
              <a:spcBef>
                <a:spcPts val="0"/>
              </a:spcBef>
              <a:buNone/>
              <a:defRPr sz="2000" b="0" i="0">
                <a:solidFill>
                  <a:srgbClr val="FEFEFE"/>
                </a:solidFill>
                <a:effectLst/>
                <a:latin typeface="+mn-lt"/>
                <a:ea typeface="Lato Light" panose="020F0502020204030203" pitchFamily="34" charset="0"/>
                <a:cs typeface="Lato Light" panose="020F0502020204030203" pitchFamily="34" charset="0"/>
              </a:defRPr>
            </a:lvl1pPr>
            <a:lvl2pPr marL="457189" indent="0">
              <a:buNone/>
              <a:defRPr/>
            </a:lvl2pPr>
          </a:lstStyle>
          <a:p>
            <a:pPr lvl="0"/>
            <a:r>
              <a:rPr lang="en-US"/>
              <a:t>Click to add text</a:t>
            </a:r>
          </a:p>
        </p:txBody>
      </p:sp>
      <p:sp>
        <p:nvSpPr>
          <p:cNvPr id="12" name="Title 1">
            <a:extLst>
              <a:ext uri="{FF2B5EF4-FFF2-40B4-BE49-F238E27FC236}">
                <a16:creationId xmlns:a16="http://schemas.microsoft.com/office/drawing/2014/main" id="{31278397-87D2-C707-B634-11FBEC1018F0}"/>
              </a:ext>
            </a:extLst>
          </p:cNvPr>
          <p:cNvSpPr>
            <a:spLocks noGrp="1"/>
          </p:cNvSpPr>
          <p:nvPr>
            <p:ph type="ctrTitle" hasCustomPrompt="1"/>
          </p:nvPr>
        </p:nvSpPr>
        <p:spPr>
          <a:xfrm>
            <a:off x="819150" y="3848431"/>
            <a:ext cx="10554921" cy="1054495"/>
          </a:xfrm>
        </p:spPr>
        <p:txBody>
          <a:bodyPr anchor="b" anchorCtr="0">
            <a:normAutofit/>
          </a:bodyPr>
          <a:lstStyle>
            <a:lvl1pPr algn="l">
              <a:lnSpc>
                <a:spcPct val="100000"/>
              </a:lnSpc>
              <a:defRPr sz="4000" cap="all" baseline="0">
                <a:solidFill>
                  <a:srgbClr val="FEFEFE"/>
                </a:solidFill>
                <a:effectLst/>
                <a:latin typeface="+mj-lt"/>
                <a:ea typeface="Lato Light" panose="020F0502020204030203" pitchFamily="34" charset="0"/>
                <a:cs typeface="Lato Light" panose="020F0502020204030203" pitchFamily="34" charset="0"/>
              </a:defRPr>
            </a:lvl1pPr>
          </a:lstStyle>
          <a:p>
            <a:r>
              <a:rPr lang="en-US"/>
              <a:t>title – resize it if needed</a:t>
            </a:r>
          </a:p>
        </p:txBody>
      </p:sp>
      <p:sp>
        <p:nvSpPr>
          <p:cNvPr id="16" name="Text Placeholder 2">
            <a:extLst>
              <a:ext uri="{FF2B5EF4-FFF2-40B4-BE49-F238E27FC236}">
                <a16:creationId xmlns:a16="http://schemas.microsoft.com/office/drawing/2014/main" id="{8B44B7DE-9E1E-C80D-6096-EB8F3721BD68}"/>
              </a:ext>
            </a:extLst>
          </p:cNvPr>
          <p:cNvSpPr>
            <a:spLocks noGrp="1"/>
          </p:cNvSpPr>
          <p:nvPr>
            <p:ph type="body" sz="quarter" idx="12"/>
          </p:nvPr>
        </p:nvSpPr>
        <p:spPr>
          <a:xfrm>
            <a:off x="819150" y="5132866"/>
            <a:ext cx="10554921" cy="430887"/>
          </a:xfrm>
        </p:spPr>
        <p:txBody>
          <a:bodyPr wrap="square">
            <a:spAutoFit/>
          </a:bodyPr>
          <a:lstStyle>
            <a:lvl1pPr marL="0" indent="0">
              <a:lnSpc>
                <a:spcPct val="100000"/>
              </a:lnSpc>
              <a:spcBef>
                <a:spcPts val="0"/>
              </a:spcBef>
              <a:buNone/>
              <a:defRPr sz="2800">
                <a:solidFill>
                  <a:schemeClr val="bg1"/>
                </a:solidFill>
              </a:defRPr>
            </a:lvl1pPr>
          </a:lstStyle>
          <a:p>
            <a:pPr lvl="0"/>
            <a:r>
              <a:rPr lang="en-US"/>
              <a:t>Click to edit Master text styles</a:t>
            </a:r>
          </a:p>
        </p:txBody>
      </p:sp>
      <p:pic>
        <p:nvPicPr>
          <p:cNvPr id="9" name="Graphic 8">
            <a:extLst>
              <a:ext uri="{FF2B5EF4-FFF2-40B4-BE49-F238E27FC236}">
                <a16:creationId xmlns:a16="http://schemas.microsoft.com/office/drawing/2014/main" id="{1F09B1A8-7F14-0040-D0AE-A079EB723A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2362" y="6145077"/>
            <a:ext cx="2684478" cy="420460"/>
          </a:xfrm>
          <a:prstGeom prst="rect">
            <a:avLst/>
          </a:prstGeom>
          <a:effectLst/>
        </p:spPr>
      </p:pic>
    </p:spTree>
    <p:extLst>
      <p:ext uri="{BB962C8B-B14F-4D97-AF65-F5344CB8AC3E}">
        <p14:creationId xmlns:p14="http://schemas.microsoft.com/office/powerpoint/2010/main" val="36135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ck">
    <p:bg>
      <p:bgPr>
        <a:solidFill>
          <a:srgbClr val="060606"/>
        </a:solidFill>
        <a:effectLst/>
      </p:bgPr>
    </p:bg>
    <p:spTree>
      <p:nvGrpSpPr>
        <p:cNvPr id="1" name=""/>
        <p:cNvGrpSpPr/>
        <p:nvPr/>
      </p:nvGrpSpPr>
      <p:grpSpPr>
        <a:xfrm>
          <a:off x="0" y="0"/>
          <a:ext cx="0" cy="0"/>
          <a:chOff x="0" y="0"/>
          <a:chExt cx="0" cy="0"/>
        </a:xfrm>
      </p:grpSpPr>
      <p:sp>
        <p:nvSpPr>
          <p:cNvPr id="3" name="MSIPCMContentMarking" descr="{&quot;HashCode&quot;:-290306243,&quot;Placement&quot;:&quot;Footer&quot;,&quot;Top&quot;:523.380066,&quot;Left&quot;:442.3952,&quot;SlideWidth&quot;:960,&quot;SlideHeight&quot;:540}">
            <a:extLst>
              <a:ext uri="{FF2B5EF4-FFF2-40B4-BE49-F238E27FC236}">
                <a16:creationId xmlns:a16="http://schemas.microsoft.com/office/drawing/2014/main" id="{FD5B9DD4-77B8-2A5F-DA4A-0BD3EE9C5491}"/>
              </a:ext>
            </a:extLst>
          </p:cNvPr>
          <p:cNvSpPr txBox="1"/>
          <p:nvPr userDrawn="1"/>
        </p:nvSpPr>
        <p:spPr>
          <a:xfrm>
            <a:off x="5618419" y="6698602"/>
            <a:ext cx="955162" cy="107722"/>
          </a:xfrm>
          <a:prstGeom prst="rect">
            <a:avLst/>
          </a:prstGeom>
          <a:noFill/>
        </p:spPr>
        <p:txBody>
          <a:bodyPr vert="horz" wrap="square" lIns="0" tIns="0" rIns="0" bIns="0" rtlCol="0" anchor="ctr" anchorCtr="1">
            <a:spAutoFit/>
          </a:bodyPr>
          <a:lstStyle/>
          <a:p>
            <a:pPr algn="ctr">
              <a:spcBef>
                <a:spcPts val="0"/>
              </a:spcBef>
              <a:spcAft>
                <a:spcPts val="0"/>
              </a:spcAft>
            </a:pPr>
            <a:r>
              <a:rPr lang="en-US" sz="700">
                <a:solidFill>
                  <a:schemeClr val="tx1"/>
                </a:solidFill>
                <a:latin typeface="Calibri" panose="020F0502020204030204" pitchFamily="34" charset="0"/>
              </a:rPr>
              <a:t>Juniper Confidential</a:t>
            </a:r>
          </a:p>
        </p:txBody>
      </p:sp>
    </p:spTree>
    <p:extLst>
      <p:ext uri="{BB962C8B-B14F-4D97-AF65-F5344CB8AC3E}">
        <p14:creationId xmlns:p14="http://schemas.microsoft.com/office/powerpoint/2010/main" val="2345332772"/>
      </p:ext>
    </p:extLst>
  </p:cSld>
  <p:clrMapOvr>
    <a:overrideClrMapping bg1="dk1" tx1="lt1" bg2="dk2" tx2="lt2" accent1="accent1" accent2="accent2" accent3="accent3" accent4="accent4" accent5="accent5" accent6="accent6" hlink="hlink" folHlink="folHlink"/>
  </p:clrMapOvr>
  <p:transition spd="med">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6194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12 Column Grid 1 1">
  <p:cSld name="12 Column Grid 1 1">
    <p:bg>
      <p:bgPr>
        <a:solidFill>
          <a:schemeClr val="dk1"/>
        </a:solidFill>
        <a:effectLst/>
      </p:bgPr>
    </p:bg>
    <p:spTree>
      <p:nvGrpSpPr>
        <p:cNvPr id="1" name="Shape 56"/>
        <p:cNvGrpSpPr/>
        <p:nvPr/>
      </p:nvGrpSpPr>
      <p:grpSpPr>
        <a:xfrm>
          <a:off x="0" y="0"/>
          <a:ext cx="0" cy="0"/>
          <a:chOff x="0" y="0"/>
          <a:chExt cx="0" cy="0"/>
        </a:xfrm>
      </p:grpSpPr>
    </p:spTree>
    <p:extLst>
      <p:ext uri="{BB962C8B-B14F-4D97-AF65-F5344CB8AC3E}">
        <p14:creationId xmlns:p14="http://schemas.microsoft.com/office/powerpoint/2010/main" val="2561875343"/>
      </p:ext>
    </p:extLst>
  </p:cSld>
  <p:clrMapOvr>
    <a:masterClrMapping/>
  </p:clrMapOvr>
  <p:extLst>
    <p:ext uri="{DCECCB84-F9BA-43D5-87BE-67443E8EF086}">
      <p15:sldGuideLst xmlns:p15="http://schemas.microsoft.com/office/powerpoint/2012/main">
        <p15:guide id="1" orient="horz" pos="1620">
          <p15:clr>
            <a:srgbClr val="FA7B17"/>
          </p15:clr>
        </p15:guide>
        <p15:guide id="2" pos="2880">
          <p15:clr>
            <a:srgbClr val="FA7B17"/>
          </p15:clr>
        </p15:guide>
        <p15:guide id="3" pos="216">
          <p15:clr>
            <a:srgbClr val="FA7B17"/>
          </p15:clr>
        </p15:guide>
        <p15:guide id="4" pos="5544">
          <p15:clr>
            <a:srgbClr val="FA7B17"/>
          </p15:clr>
        </p15:guide>
        <p15:guide id="5" orient="horz" pos="3021">
          <p15:clr>
            <a:srgbClr val="FA7B17"/>
          </p15:clr>
        </p15:guide>
        <p15:guide id="6" orient="horz" pos="219">
          <p15:clr>
            <a:srgbClr val="FA7B17"/>
          </p15:clr>
        </p15:guide>
        <p15:guide id="7" pos="669">
          <p15:clr>
            <a:srgbClr val="FA7B17"/>
          </p15:clr>
        </p15:guide>
        <p15:guide id="8" pos="1121">
          <p15:clr>
            <a:srgbClr val="FA7B17"/>
          </p15:clr>
        </p15:guide>
        <p15:guide id="9" pos="571">
          <p15:clr>
            <a:srgbClr val="FA7B17"/>
          </p15:clr>
        </p15:guide>
        <p15:guide id="10" pos="1023">
          <p15:clr>
            <a:srgbClr val="FA7B17"/>
          </p15:clr>
        </p15:guide>
        <p15:guide id="11" pos="1475">
          <p15:clr>
            <a:srgbClr val="FA7B17"/>
          </p15:clr>
        </p15:guide>
        <p15:guide id="12" pos="1573">
          <p15:clr>
            <a:srgbClr val="FA7B17"/>
          </p15:clr>
        </p15:guide>
        <p15:guide id="13" pos="1927">
          <p15:clr>
            <a:srgbClr val="FA7B17"/>
          </p15:clr>
        </p15:guide>
        <p15:guide id="14" pos="2025">
          <p15:clr>
            <a:srgbClr val="FA7B17"/>
          </p15:clr>
        </p15:guide>
        <p15:guide id="15" pos="2379">
          <p15:clr>
            <a:srgbClr val="FA7B17"/>
          </p15:clr>
        </p15:guide>
        <p15:guide id="16" pos="2477">
          <p15:clr>
            <a:srgbClr val="FA7B17"/>
          </p15:clr>
        </p15:guide>
        <p15:guide id="17" pos="2831">
          <p15:clr>
            <a:srgbClr val="FA7B17"/>
          </p15:clr>
        </p15:guide>
        <p15:guide id="18" pos="2929">
          <p15:clr>
            <a:srgbClr val="FA7B17"/>
          </p15:clr>
        </p15:guide>
        <p15:guide id="19" pos="3283">
          <p15:clr>
            <a:srgbClr val="FA7B17"/>
          </p15:clr>
        </p15:guide>
        <p15:guide id="20" pos="3381">
          <p15:clr>
            <a:srgbClr val="FA7B17"/>
          </p15:clr>
        </p15:guide>
        <p15:guide id="21" pos="3735">
          <p15:clr>
            <a:srgbClr val="FA7B17"/>
          </p15:clr>
        </p15:guide>
        <p15:guide id="22" pos="3833">
          <p15:clr>
            <a:srgbClr val="FA7B17"/>
          </p15:clr>
        </p15:guide>
        <p15:guide id="23" pos="4187">
          <p15:clr>
            <a:srgbClr val="FA7B17"/>
          </p15:clr>
        </p15:guide>
        <p15:guide id="24" pos="4285">
          <p15:clr>
            <a:srgbClr val="FA7B17"/>
          </p15:clr>
        </p15:guide>
        <p15:guide id="25" pos="4639">
          <p15:clr>
            <a:srgbClr val="FA7B17"/>
          </p15:clr>
        </p15:guide>
        <p15:guide id="26" pos="4737">
          <p15:clr>
            <a:srgbClr val="FA7B17"/>
          </p15:clr>
        </p15:guide>
        <p15:guide id="27" pos="5091">
          <p15:clr>
            <a:srgbClr val="FA7B17"/>
          </p15:clr>
        </p15:guide>
        <p15:guide id="28" pos="5189">
          <p15:clr>
            <a:srgbClr val="FA7B17"/>
          </p15:clr>
        </p15:guide>
        <p15:guide id="29" orient="horz" pos="605">
          <p15:clr>
            <a:srgbClr val="FA7B17"/>
          </p15:clr>
        </p15:guide>
        <p15:guide id="30" orient="horz" pos="703">
          <p15:clr>
            <a:srgbClr val="FA7B17"/>
          </p15:clr>
        </p15:guide>
        <p15:guide id="31" orient="horz" pos="1089">
          <p15:clr>
            <a:srgbClr val="FA7B17"/>
          </p15:clr>
        </p15:guide>
        <p15:guide id="32" orient="horz" pos="1187">
          <p15:clr>
            <a:srgbClr val="FA7B17"/>
          </p15:clr>
        </p15:guide>
        <p15:guide id="33" orient="horz" pos="1571">
          <p15:clr>
            <a:srgbClr val="FA7B17"/>
          </p15:clr>
        </p15:guide>
        <p15:guide id="34" orient="horz" pos="1669">
          <p15:clr>
            <a:srgbClr val="FA7B17"/>
          </p15:clr>
        </p15:guide>
        <p15:guide id="35" orient="horz" pos="2058">
          <p15:clr>
            <a:srgbClr val="FA7B17"/>
          </p15:clr>
        </p15:guide>
        <p15:guide id="36" orient="horz" pos="2155">
          <p15:clr>
            <a:srgbClr val="FA7B17"/>
          </p15:clr>
        </p15:guide>
        <p15:guide id="37" orient="horz" pos="2542">
          <p15:clr>
            <a:srgbClr val="FA7B17"/>
          </p15:clr>
        </p15:guide>
        <p15:guide id="38" orient="horz" pos="2635">
          <p15:clr>
            <a:srgbClr val="FA7B17"/>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59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B7D569B-E1A8-533D-90F2-152BB409565B}"/>
              </a:ext>
            </a:extLst>
          </p:cNvPr>
          <p:cNvGrpSpPr/>
          <p:nvPr userDrawn="1"/>
        </p:nvGrpSpPr>
        <p:grpSpPr>
          <a:xfrm>
            <a:off x="0" y="0"/>
            <a:ext cx="12192000" cy="6858000"/>
            <a:chOff x="0" y="0"/>
            <a:chExt cx="12192000" cy="6858000"/>
          </a:xfrm>
        </p:grpSpPr>
        <p:pic>
          <p:nvPicPr>
            <p:cNvPr id="3" name="Picture 2" descr="A black and white striped background&#10;&#10;Description automatically generated">
              <a:extLst>
                <a:ext uri="{FF2B5EF4-FFF2-40B4-BE49-F238E27FC236}">
                  <a16:creationId xmlns:a16="http://schemas.microsoft.com/office/drawing/2014/main" id="{CF4C8705-A1A9-FFBD-F575-3BF73829A5EF}"/>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448CE56F-0321-A2BE-76C1-80000BEFFFED}"/>
                </a:ext>
              </a:extLst>
            </p:cNvPr>
            <p:cNvPicPr>
              <a:picLocks noChangeAspect="1"/>
            </p:cNvPicPr>
            <p:nvPr userDrawn="1"/>
          </p:nvPicPr>
          <p:blipFill rotWithShape="1">
            <a:blip r:embed="rId3"/>
            <a:srcRect l="2032" t="1" r="3263" b="22024"/>
            <a:stretch/>
          </p:blipFill>
          <p:spPr>
            <a:xfrm>
              <a:off x="2308643" y="0"/>
              <a:ext cx="7459133" cy="5902734"/>
            </a:xfrm>
            <a:prstGeom prst="rect">
              <a:avLst/>
            </a:prstGeom>
            <a:effectLst/>
          </p:spPr>
        </p:pic>
      </p:grpSp>
      <p:grpSp>
        <p:nvGrpSpPr>
          <p:cNvPr id="8" name="Group 7">
            <a:extLst>
              <a:ext uri="{FF2B5EF4-FFF2-40B4-BE49-F238E27FC236}">
                <a16:creationId xmlns:a16="http://schemas.microsoft.com/office/drawing/2014/main" id="{BFD82E9F-CD19-10FC-2426-80B2F6DC7DAC}"/>
              </a:ext>
            </a:extLst>
          </p:cNvPr>
          <p:cNvGrpSpPr/>
          <p:nvPr userDrawn="1"/>
        </p:nvGrpSpPr>
        <p:grpSpPr>
          <a:xfrm>
            <a:off x="0" y="3695694"/>
            <a:ext cx="12192000" cy="3170257"/>
            <a:chOff x="0" y="3687743"/>
            <a:chExt cx="12192000" cy="3170257"/>
          </a:xfrm>
        </p:grpSpPr>
        <p:sp>
          <p:nvSpPr>
            <p:cNvPr id="9" name="Rectangle 8">
              <a:extLst>
                <a:ext uri="{FF2B5EF4-FFF2-40B4-BE49-F238E27FC236}">
                  <a16:creationId xmlns:a16="http://schemas.microsoft.com/office/drawing/2014/main" id="{06CC478C-350D-694A-35B7-343AF57D0DA6}"/>
                </a:ext>
              </a:extLst>
            </p:cNvPr>
            <p:cNvSpPr/>
            <p:nvPr userDrawn="1"/>
          </p:nvSpPr>
          <p:spPr>
            <a:xfrm>
              <a:off x="0" y="3687743"/>
              <a:ext cx="12192000" cy="3170257"/>
            </a:xfrm>
            <a:prstGeom prst="rect">
              <a:avLst/>
            </a:prstGeom>
            <a:solidFill>
              <a:srgbClr val="7CA631">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11E5BD-E242-32FA-899C-14CE442E8886}"/>
                </a:ext>
              </a:extLst>
            </p:cNvPr>
            <p:cNvSpPr/>
            <p:nvPr userDrawn="1"/>
          </p:nvSpPr>
          <p:spPr>
            <a:xfrm>
              <a:off x="0" y="3798276"/>
              <a:ext cx="12191999" cy="3059724"/>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Title 1">
            <a:extLst>
              <a:ext uri="{FF2B5EF4-FFF2-40B4-BE49-F238E27FC236}">
                <a16:creationId xmlns:a16="http://schemas.microsoft.com/office/drawing/2014/main" id="{866031FC-F32B-A17C-186A-69D627E7D985}"/>
              </a:ext>
            </a:extLst>
          </p:cNvPr>
          <p:cNvSpPr>
            <a:spLocks noGrp="1"/>
          </p:cNvSpPr>
          <p:nvPr>
            <p:ph type="ctrTitle" hasCustomPrompt="1"/>
          </p:nvPr>
        </p:nvSpPr>
        <p:spPr>
          <a:xfrm>
            <a:off x="847724" y="3808904"/>
            <a:ext cx="10789920" cy="1223585"/>
          </a:xfrm>
        </p:spPr>
        <p:txBody>
          <a:bodyPr anchor="b" anchorCtr="0">
            <a:noAutofit/>
          </a:bodyPr>
          <a:lstStyle>
            <a:lvl1pPr algn="l">
              <a:lnSpc>
                <a:spcPct val="95000"/>
              </a:lnSpc>
              <a:defRPr sz="4800" cap="none" baseline="0">
                <a:solidFill>
                  <a:srgbClr val="FFFFFE"/>
                </a:solidFill>
              </a:defRPr>
            </a:lvl1pPr>
          </a:lstStyle>
          <a:p>
            <a:r>
              <a:rPr lang="en-US"/>
              <a:t>Click to Edit Master Title Style</a:t>
            </a:r>
          </a:p>
        </p:txBody>
      </p:sp>
      <p:sp>
        <p:nvSpPr>
          <p:cNvPr id="20" name="Subtitle 2">
            <a:extLst>
              <a:ext uri="{FF2B5EF4-FFF2-40B4-BE49-F238E27FC236}">
                <a16:creationId xmlns:a16="http://schemas.microsoft.com/office/drawing/2014/main" id="{EAFAD90D-3BB0-8175-1916-26854D70F953}"/>
              </a:ext>
            </a:extLst>
          </p:cNvPr>
          <p:cNvSpPr>
            <a:spLocks noGrp="1"/>
          </p:cNvSpPr>
          <p:nvPr>
            <p:ph type="subTitle" idx="1" hasCustomPrompt="1"/>
          </p:nvPr>
        </p:nvSpPr>
        <p:spPr>
          <a:xfrm>
            <a:off x="847724" y="5483882"/>
            <a:ext cx="5943600" cy="365760"/>
          </a:xfrm>
        </p:spPr>
        <p:txBody>
          <a:bodyPr>
            <a:noAutofit/>
          </a:bodyPr>
          <a:lstStyle>
            <a:lvl1pPr marL="0" indent="0" algn="l">
              <a:buNone/>
              <a:defRPr sz="2400" b="1">
                <a:solidFill>
                  <a:srgbClr val="FFFFF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21" name="Text Placeholder 12">
            <a:extLst>
              <a:ext uri="{FF2B5EF4-FFF2-40B4-BE49-F238E27FC236}">
                <a16:creationId xmlns:a16="http://schemas.microsoft.com/office/drawing/2014/main" id="{50BFDAFA-55E2-4309-6CFA-F6137F022B90}"/>
              </a:ext>
            </a:extLst>
          </p:cNvPr>
          <p:cNvSpPr>
            <a:spLocks noGrp="1"/>
          </p:cNvSpPr>
          <p:nvPr>
            <p:ph type="body" sz="quarter" idx="10" hasCustomPrompt="1"/>
          </p:nvPr>
        </p:nvSpPr>
        <p:spPr>
          <a:xfrm>
            <a:off x="847725" y="5882893"/>
            <a:ext cx="5943600" cy="365760"/>
          </a:xfrm>
        </p:spPr>
        <p:txBody>
          <a:bodyPr>
            <a:noAutofit/>
          </a:bodyPr>
          <a:lstStyle>
            <a:lvl1pPr marL="0" indent="0">
              <a:buNone/>
              <a:defRPr sz="2000">
                <a:solidFill>
                  <a:srgbClr val="FFFFFE"/>
                </a:solidFill>
              </a:defRPr>
            </a:lvl1pPr>
            <a:lvl2pPr marL="346075" indent="0">
              <a:buNone/>
              <a:defRPr/>
            </a:lvl2pPr>
          </a:lstStyle>
          <a:p>
            <a:pPr lvl="0"/>
            <a:r>
              <a:rPr lang="en-US"/>
              <a:t>Click to edit presenter’s position</a:t>
            </a:r>
          </a:p>
        </p:txBody>
      </p:sp>
      <p:grpSp>
        <p:nvGrpSpPr>
          <p:cNvPr id="6" name="Graphic 21">
            <a:extLst>
              <a:ext uri="{FF2B5EF4-FFF2-40B4-BE49-F238E27FC236}">
                <a16:creationId xmlns:a16="http://schemas.microsoft.com/office/drawing/2014/main" id="{2849DFB9-099E-3157-AD56-754397786AA5}"/>
              </a:ext>
            </a:extLst>
          </p:cNvPr>
          <p:cNvGrpSpPr/>
          <p:nvPr/>
        </p:nvGrpSpPr>
        <p:grpSpPr>
          <a:xfrm>
            <a:off x="10136251" y="5973203"/>
            <a:ext cx="1488924" cy="406822"/>
            <a:chOff x="9049996" y="6145201"/>
            <a:chExt cx="1271540" cy="347426"/>
          </a:xfrm>
          <a:solidFill>
            <a:srgbClr val="FFFFFE"/>
          </a:solidFill>
        </p:grpSpPr>
        <p:grpSp>
          <p:nvGrpSpPr>
            <p:cNvPr id="7" name="Graphic 21">
              <a:extLst>
                <a:ext uri="{FF2B5EF4-FFF2-40B4-BE49-F238E27FC236}">
                  <a16:creationId xmlns:a16="http://schemas.microsoft.com/office/drawing/2014/main" id="{A11A50E0-5B27-037C-5465-D08B0906B15F}"/>
                </a:ext>
              </a:extLst>
            </p:cNvPr>
            <p:cNvGrpSpPr/>
            <p:nvPr/>
          </p:nvGrpSpPr>
          <p:grpSpPr>
            <a:xfrm>
              <a:off x="9673674" y="6423132"/>
              <a:ext cx="555048" cy="69495"/>
              <a:chOff x="9673674" y="6423132"/>
              <a:chExt cx="555048" cy="69495"/>
            </a:xfrm>
            <a:solidFill>
              <a:srgbClr val="FFFFFE"/>
            </a:solidFill>
          </p:grpSpPr>
          <p:sp>
            <p:nvSpPr>
              <p:cNvPr id="12" name="Freeform: Shape 11">
                <a:extLst>
                  <a:ext uri="{FF2B5EF4-FFF2-40B4-BE49-F238E27FC236}">
                    <a16:creationId xmlns:a16="http://schemas.microsoft.com/office/drawing/2014/main" id="{0423676D-FC81-0C5B-63B0-D607E00744AB}"/>
                  </a:ext>
                </a:extLst>
              </p:cNvPr>
              <p:cNvSpPr/>
              <p:nvPr/>
            </p:nvSpPr>
            <p:spPr>
              <a:xfrm>
                <a:off x="9673674" y="6424252"/>
                <a:ext cx="54934" cy="67306"/>
              </a:xfrm>
              <a:custGeom>
                <a:avLst/>
                <a:gdLst>
                  <a:gd name="connsiteX0" fmla="*/ 0 w 54934"/>
                  <a:gd name="connsiteY0" fmla="*/ 0 h 67306"/>
                  <a:gd name="connsiteX1" fmla="*/ 7790 w 54934"/>
                  <a:gd name="connsiteY1" fmla="*/ 0 h 67306"/>
                  <a:gd name="connsiteX2" fmla="*/ 48010 w 54934"/>
                  <a:gd name="connsiteY2" fmla="*/ 55495 h 67306"/>
                  <a:gd name="connsiteX3" fmla="*/ 48010 w 54934"/>
                  <a:gd name="connsiteY3" fmla="*/ 0 h 67306"/>
                  <a:gd name="connsiteX4" fmla="*/ 54935 w 54934"/>
                  <a:gd name="connsiteY4" fmla="*/ 0 h 67306"/>
                  <a:gd name="connsiteX5" fmla="*/ 54935 w 54934"/>
                  <a:gd name="connsiteY5" fmla="*/ 67306 h 67306"/>
                  <a:gd name="connsiteX6" fmla="*/ 48418 w 54934"/>
                  <a:gd name="connsiteY6" fmla="*/ 67306 h 67306"/>
                  <a:gd name="connsiteX7" fmla="*/ 6924 w 54934"/>
                  <a:gd name="connsiteY7" fmla="*/ 10182 h 67306"/>
                  <a:gd name="connsiteX8" fmla="*/ 6924 w 54934"/>
                  <a:gd name="connsiteY8" fmla="*/ 67306 h 67306"/>
                  <a:gd name="connsiteX9" fmla="*/ 0 w 54934"/>
                  <a:gd name="connsiteY9" fmla="*/ 67306 h 67306"/>
                  <a:gd name="connsiteX10" fmla="*/ 0 w 54934"/>
                  <a:gd name="connsiteY10" fmla="*/ 0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934" h="67306">
                    <a:moveTo>
                      <a:pt x="0" y="0"/>
                    </a:moveTo>
                    <a:lnTo>
                      <a:pt x="7790" y="0"/>
                    </a:lnTo>
                    <a:lnTo>
                      <a:pt x="48010" y="55495"/>
                    </a:lnTo>
                    <a:lnTo>
                      <a:pt x="48010" y="0"/>
                    </a:lnTo>
                    <a:lnTo>
                      <a:pt x="54935" y="0"/>
                    </a:lnTo>
                    <a:lnTo>
                      <a:pt x="54935" y="67306"/>
                    </a:lnTo>
                    <a:lnTo>
                      <a:pt x="48418" y="67306"/>
                    </a:lnTo>
                    <a:lnTo>
                      <a:pt x="6924" y="10182"/>
                    </a:lnTo>
                    <a:lnTo>
                      <a:pt x="6924" y="67306"/>
                    </a:lnTo>
                    <a:lnTo>
                      <a:pt x="0" y="67306"/>
                    </a:lnTo>
                    <a:lnTo>
                      <a:pt x="0" y="0"/>
                    </a:lnTo>
                    <a:close/>
                  </a:path>
                </a:pathLst>
              </a:custGeom>
              <a:solidFill>
                <a:srgbClr val="FFFFFE"/>
              </a:solidFill>
              <a:ln w="508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4D3950E-17D8-1931-9916-3E94D79E3BD4}"/>
                  </a:ext>
                </a:extLst>
              </p:cNvPr>
              <p:cNvSpPr/>
              <p:nvPr/>
            </p:nvSpPr>
            <p:spPr>
              <a:xfrm>
                <a:off x="9745766" y="6424252"/>
                <a:ext cx="44853" cy="67306"/>
              </a:xfrm>
              <a:custGeom>
                <a:avLst/>
                <a:gdLst>
                  <a:gd name="connsiteX0" fmla="*/ 0 w 44853"/>
                  <a:gd name="connsiteY0" fmla="*/ 0 h 67306"/>
                  <a:gd name="connsiteX1" fmla="*/ 44498 w 44853"/>
                  <a:gd name="connsiteY1" fmla="*/ 0 h 67306"/>
                  <a:gd name="connsiteX2" fmla="*/ 44498 w 44853"/>
                  <a:gd name="connsiteY2" fmla="*/ 6822 h 67306"/>
                  <a:gd name="connsiteX3" fmla="*/ 7179 w 44853"/>
                  <a:gd name="connsiteY3" fmla="*/ 6822 h 67306"/>
                  <a:gd name="connsiteX4" fmla="*/ 7179 w 44853"/>
                  <a:gd name="connsiteY4" fmla="*/ 29071 h 67306"/>
                  <a:gd name="connsiteX5" fmla="*/ 43581 w 44853"/>
                  <a:gd name="connsiteY5" fmla="*/ 29071 h 67306"/>
                  <a:gd name="connsiteX6" fmla="*/ 43581 w 44853"/>
                  <a:gd name="connsiteY6" fmla="*/ 35791 h 67306"/>
                  <a:gd name="connsiteX7" fmla="*/ 7179 w 44853"/>
                  <a:gd name="connsiteY7" fmla="*/ 35791 h 67306"/>
                  <a:gd name="connsiteX8" fmla="*/ 7179 w 44853"/>
                  <a:gd name="connsiteY8" fmla="*/ 60789 h 67306"/>
                  <a:gd name="connsiteX9" fmla="*/ 44854 w 44853"/>
                  <a:gd name="connsiteY9" fmla="*/ 60789 h 67306"/>
                  <a:gd name="connsiteX10" fmla="*/ 44854 w 44853"/>
                  <a:gd name="connsiteY10" fmla="*/ 67306 h 67306"/>
                  <a:gd name="connsiteX11" fmla="*/ 0 w 44853"/>
                  <a:gd name="connsiteY11" fmla="*/ 67306 h 67306"/>
                  <a:gd name="connsiteX12" fmla="*/ 0 w 44853"/>
                  <a:gd name="connsiteY12" fmla="*/ 0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53" h="67306">
                    <a:moveTo>
                      <a:pt x="0" y="0"/>
                    </a:moveTo>
                    <a:lnTo>
                      <a:pt x="44498" y="0"/>
                    </a:lnTo>
                    <a:lnTo>
                      <a:pt x="44498" y="6822"/>
                    </a:lnTo>
                    <a:lnTo>
                      <a:pt x="7179" y="6822"/>
                    </a:lnTo>
                    <a:lnTo>
                      <a:pt x="7179" y="29071"/>
                    </a:lnTo>
                    <a:lnTo>
                      <a:pt x="43581" y="29071"/>
                    </a:lnTo>
                    <a:lnTo>
                      <a:pt x="43581" y="35791"/>
                    </a:lnTo>
                    <a:lnTo>
                      <a:pt x="7179" y="35791"/>
                    </a:lnTo>
                    <a:lnTo>
                      <a:pt x="7179" y="60789"/>
                    </a:lnTo>
                    <a:lnTo>
                      <a:pt x="44854" y="60789"/>
                    </a:lnTo>
                    <a:lnTo>
                      <a:pt x="44854" y="67306"/>
                    </a:lnTo>
                    <a:lnTo>
                      <a:pt x="0" y="67306"/>
                    </a:lnTo>
                    <a:lnTo>
                      <a:pt x="0" y="0"/>
                    </a:lnTo>
                    <a:close/>
                  </a:path>
                </a:pathLst>
              </a:custGeom>
              <a:solidFill>
                <a:srgbClr val="FFFFFE"/>
              </a:solidFill>
              <a:ln w="508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76DF1F0-D703-818D-8542-E5AE0CF3C12E}"/>
                  </a:ext>
                </a:extLst>
              </p:cNvPr>
              <p:cNvSpPr/>
              <p:nvPr/>
            </p:nvSpPr>
            <p:spPr>
              <a:xfrm>
                <a:off x="9801108" y="6424252"/>
                <a:ext cx="57683" cy="67306"/>
              </a:xfrm>
              <a:custGeom>
                <a:avLst/>
                <a:gdLst>
                  <a:gd name="connsiteX0" fmla="*/ 25253 w 57683"/>
                  <a:gd name="connsiteY0" fmla="*/ 6822 h 67306"/>
                  <a:gd name="connsiteX1" fmla="*/ 0 w 57683"/>
                  <a:gd name="connsiteY1" fmla="*/ 6822 h 67306"/>
                  <a:gd name="connsiteX2" fmla="*/ 0 w 57683"/>
                  <a:gd name="connsiteY2" fmla="*/ 0 h 67306"/>
                  <a:gd name="connsiteX3" fmla="*/ 57684 w 57683"/>
                  <a:gd name="connsiteY3" fmla="*/ 0 h 67306"/>
                  <a:gd name="connsiteX4" fmla="*/ 57684 w 57683"/>
                  <a:gd name="connsiteY4" fmla="*/ 6822 h 67306"/>
                  <a:gd name="connsiteX5" fmla="*/ 32431 w 57683"/>
                  <a:gd name="connsiteY5" fmla="*/ 6822 h 67306"/>
                  <a:gd name="connsiteX6" fmla="*/ 32431 w 57683"/>
                  <a:gd name="connsiteY6" fmla="*/ 67306 h 67306"/>
                  <a:gd name="connsiteX7" fmla="*/ 25253 w 57683"/>
                  <a:gd name="connsiteY7" fmla="*/ 67306 h 67306"/>
                  <a:gd name="connsiteX8" fmla="*/ 25253 w 57683"/>
                  <a:gd name="connsiteY8" fmla="*/ 6822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83" h="67306">
                    <a:moveTo>
                      <a:pt x="25253" y="6822"/>
                    </a:moveTo>
                    <a:lnTo>
                      <a:pt x="0" y="6822"/>
                    </a:lnTo>
                    <a:lnTo>
                      <a:pt x="0" y="0"/>
                    </a:lnTo>
                    <a:lnTo>
                      <a:pt x="57684" y="0"/>
                    </a:lnTo>
                    <a:lnTo>
                      <a:pt x="57684" y="6822"/>
                    </a:lnTo>
                    <a:lnTo>
                      <a:pt x="32431" y="6822"/>
                    </a:lnTo>
                    <a:lnTo>
                      <a:pt x="32431" y="67306"/>
                    </a:lnTo>
                    <a:lnTo>
                      <a:pt x="25253" y="67306"/>
                    </a:lnTo>
                    <a:lnTo>
                      <a:pt x="25253" y="6822"/>
                    </a:lnTo>
                    <a:close/>
                  </a:path>
                </a:pathLst>
              </a:custGeom>
              <a:solidFill>
                <a:srgbClr val="FFFFFE"/>
              </a:solidFill>
              <a:ln w="508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F2BCB6F-7646-4419-1319-3A59B8E12150}"/>
                  </a:ext>
                </a:extLst>
              </p:cNvPr>
              <p:cNvSpPr/>
              <p:nvPr/>
            </p:nvSpPr>
            <p:spPr>
              <a:xfrm>
                <a:off x="9867498" y="6424252"/>
                <a:ext cx="92049" cy="67764"/>
              </a:xfrm>
              <a:custGeom>
                <a:avLst/>
                <a:gdLst>
                  <a:gd name="connsiteX0" fmla="*/ 0 w 92049"/>
                  <a:gd name="connsiteY0" fmla="*/ 0 h 67764"/>
                  <a:gd name="connsiteX1" fmla="*/ 7382 w 92049"/>
                  <a:gd name="connsiteY1" fmla="*/ 0 h 67764"/>
                  <a:gd name="connsiteX2" fmla="*/ 25100 w 92049"/>
                  <a:gd name="connsiteY2" fmla="*/ 55647 h 67764"/>
                  <a:gd name="connsiteX3" fmla="*/ 43174 w 92049"/>
                  <a:gd name="connsiteY3" fmla="*/ 0 h 67764"/>
                  <a:gd name="connsiteX4" fmla="*/ 49334 w 92049"/>
                  <a:gd name="connsiteY4" fmla="*/ 0 h 67764"/>
                  <a:gd name="connsiteX5" fmla="*/ 67306 w 92049"/>
                  <a:gd name="connsiteY5" fmla="*/ 55647 h 67764"/>
                  <a:gd name="connsiteX6" fmla="*/ 85126 w 92049"/>
                  <a:gd name="connsiteY6" fmla="*/ 0 h 67764"/>
                  <a:gd name="connsiteX7" fmla="*/ 92050 w 92049"/>
                  <a:gd name="connsiteY7" fmla="*/ 0 h 67764"/>
                  <a:gd name="connsiteX8" fmla="*/ 70412 w 92049"/>
                  <a:gd name="connsiteY8" fmla="*/ 67764 h 67764"/>
                  <a:gd name="connsiteX9" fmla="*/ 64252 w 92049"/>
                  <a:gd name="connsiteY9" fmla="*/ 67764 h 67764"/>
                  <a:gd name="connsiteX10" fmla="*/ 46076 w 92049"/>
                  <a:gd name="connsiteY10" fmla="*/ 11710 h 67764"/>
                  <a:gd name="connsiteX11" fmla="*/ 28002 w 92049"/>
                  <a:gd name="connsiteY11" fmla="*/ 67764 h 67764"/>
                  <a:gd name="connsiteX12" fmla="*/ 21740 w 92049"/>
                  <a:gd name="connsiteY12" fmla="*/ 67764 h 67764"/>
                  <a:gd name="connsiteX13" fmla="*/ 0 w 92049"/>
                  <a:gd name="connsiteY13" fmla="*/ 0 h 6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049" h="67764">
                    <a:moveTo>
                      <a:pt x="0" y="0"/>
                    </a:moveTo>
                    <a:lnTo>
                      <a:pt x="7382" y="0"/>
                    </a:lnTo>
                    <a:lnTo>
                      <a:pt x="25100" y="55647"/>
                    </a:lnTo>
                    <a:lnTo>
                      <a:pt x="43174" y="0"/>
                    </a:lnTo>
                    <a:lnTo>
                      <a:pt x="49334" y="0"/>
                    </a:lnTo>
                    <a:lnTo>
                      <a:pt x="67306" y="55647"/>
                    </a:lnTo>
                    <a:lnTo>
                      <a:pt x="85126" y="0"/>
                    </a:lnTo>
                    <a:lnTo>
                      <a:pt x="92050" y="0"/>
                    </a:lnTo>
                    <a:lnTo>
                      <a:pt x="70412" y="67764"/>
                    </a:lnTo>
                    <a:lnTo>
                      <a:pt x="64252" y="67764"/>
                    </a:lnTo>
                    <a:lnTo>
                      <a:pt x="46076" y="11710"/>
                    </a:lnTo>
                    <a:lnTo>
                      <a:pt x="28002" y="67764"/>
                    </a:lnTo>
                    <a:lnTo>
                      <a:pt x="21740" y="67764"/>
                    </a:lnTo>
                    <a:lnTo>
                      <a:pt x="0" y="0"/>
                    </a:lnTo>
                    <a:close/>
                  </a:path>
                </a:pathLst>
              </a:custGeom>
              <a:solidFill>
                <a:srgbClr val="FFFFFE"/>
              </a:solidFill>
              <a:ln w="508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0F062EFA-4C57-70CC-E5F6-BE1A2593DA1A}"/>
                  </a:ext>
                </a:extLst>
              </p:cNvPr>
              <p:cNvSpPr/>
              <p:nvPr/>
            </p:nvSpPr>
            <p:spPr>
              <a:xfrm>
                <a:off x="9965963" y="6423183"/>
                <a:ext cx="67764" cy="69444"/>
              </a:xfrm>
              <a:custGeom>
                <a:avLst/>
                <a:gdLst>
                  <a:gd name="connsiteX0" fmla="*/ 0 w 67764"/>
                  <a:gd name="connsiteY0" fmla="*/ 34671 h 69444"/>
                  <a:gd name="connsiteX1" fmla="*/ 33806 w 67764"/>
                  <a:gd name="connsiteY1" fmla="*/ 0 h 69444"/>
                  <a:gd name="connsiteX2" fmla="*/ 67765 w 67764"/>
                  <a:gd name="connsiteY2" fmla="*/ 34671 h 69444"/>
                  <a:gd name="connsiteX3" fmla="*/ 33806 w 67764"/>
                  <a:gd name="connsiteY3" fmla="*/ 69445 h 69444"/>
                  <a:gd name="connsiteX4" fmla="*/ 0 w 67764"/>
                  <a:gd name="connsiteY4" fmla="*/ 34671 h 69444"/>
                  <a:gd name="connsiteX5" fmla="*/ 60535 w 67764"/>
                  <a:gd name="connsiteY5" fmla="*/ 34773 h 69444"/>
                  <a:gd name="connsiteX6" fmla="*/ 33755 w 67764"/>
                  <a:gd name="connsiteY6" fmla="*/ 6822 h 69444"/>
                  <a:gd name="connsiteX7" fmla="*/ 7128 w 67764"/>
                  <a:gd name="connsiteY7" fmla="*/ 34773 h 69444"/>
                  <a:gd name="connsiteX8" fmla="*/ 33755 w 67764"/>
                  <a:gd name="connsiteY8" fmla="*/ 62826 h 69444"/>
                  <a:gd name="connsiteX9" fmla="*/ 60535 w 67764"/>
                  <a:gd name="connsiteY9" fmla="*/ 34773 h 6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64" h="69444">
                    <a:moveTo>
                      <a:pt x="0" y="34671"/>
                    </a:moveTo>
                    <a:cubicBezTo>
                      <a:pt x="0" y="10692"/>
                      <a:pt x="12270" y="0"/>
                      <a:pt x="33806" y="0"/>
                    </a:cubicBezTo>
                    <a:cubicBezTo>
                      <a:pt x="55444" y="0"/>
                      <a:pt x="67765" y="10743"/>
                      <a:pt x="67765" y="34671"/>
                    </a:cubicBezTo>
                    <a:cubicBezTo>
                      <a:pt x="67765" y="58753"/>
                      <a:pt x="55393" y="69445"/>
                      <a:pt x="33806" y="69445"/>
                    </a:cubicBezTo>
                    <a:cubicBezTo>
                      <a:pt x="12219" y="69495"/>
                      <a:pt x="0" y="58753"/>
                      <a:pt x="0" y="34671"/>
                    </a:cubicBezTo>
                    <a:close/>
                    <a:moveTo>
                      <a:pt x="60535" y="34773"/>
                    </a:moveTo>
                    <a:cubicBezTo>
                      <a:pt x="60535" y="16597"/>
                      <a:pt x="52083" y="6822"/>
                      <a:pt x="33755" y="6822"/>
                    </a:cubicBezTo>
                    <a:cubicBezTo>
                      <a:pt x="15477" y="6822"/>
                      <a:pt x="7128" y="16648"/>
                      <a:pt x="7128" y="34773"/>
                    </a:cubicBezTo>
                    <a:cubicBezTo>
                      <a:pt x="7128" y="53051"/>
                      <a:pt x="15477" y="62826"/>
                      <a:pt x="33755" y="62826"/>
                    </a:cubicBezTo>
                    <a:cubicBezTo>
                      <a:pt x="52134" y="62826"/>
                      <a:pt x="60535" y="53051"/>
                      <a:pt x="60535" y="34773"/>
                    </a:cubicBezTo>
                    <a:close/>
                  </a:path>
                </a:pathLst>
              </a:custGeom>
              <a:solidFill>
                <a:srgbClr val="FFFFFE"/>
              </a:solidFill>
              <a:ln w="508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798E8AE-4EB2-5616-DDD8-9F23FFA3F918}"/>
                  </a:ext>
                </a:extLst>
              </p:cNvPr>
              <p:cNvSpPr/>
              <p:nvPr/>
            </p:nvSpPr>
            <p:spPr>
              <a:xfrm>
                <a:off x="10048339" y="6424252"/>
                <a:ext cx="51778" cy="67306"/>
              </a:xfrm>
              <a:custGeom>
                <a:avLst/>
                <a:gdLst>
                  <a:gd name="connsiteX0" fmla="*/ 27136 w 51778"/>
                  <a:gd name="connsiteY0" fmla="*/ 39864 h 67306"/>
                  <a:gd name="connsiteX1" fmla="*/ 6975 w 51778"/>
                  <a:gd name="connsiteY1" fmla="*/ 39864 h 67306"/>
                  <a:gd name="connsiteX2" fmla="*/ 6975 w 51778"/>
                  <a:gd name="connsiteY2" fmla="*/ 67306 h 67306"/>
                  <a:gd name="connsiteX3" fmla="*/ 0 w 51778"/>
                  <a:gd name="connsiteY3" fmla="*/ 67306 h 67306"/>
                  <a:gd name="connsiteX4" fmla="*/ 0 w 51778"/>
                  <a:gd name="connsiteY4" fmla="*/ 0 h 67306"/>
                  <a:gd name="connsiteX5" fmla="*/ 29071 w 51778"/>
                  <a:gd name="connsiteY5" fmla="*/ 0 h 67306"/>
                  <a:gd name="connsiteX6" fmla="*/ 51778 w 51778"/>
                  <a:gd name="connsiteY6" fmla="*/ 19601 h 67306"/>
                  <a:gd name="connsiteX7" fmla="*/ 34519 w 51778"/>
                  <a:gd name="connsiteY7" fmla="*/ 39559 h 67306"/>
                  <a:gd name="connsiteX8" fmla="*/ 50760 w 51778"/>
                  <a:gd name="connsiteY8" fmla="*/ 67255 h 67306"/>
                  <a:gd name="connsiteX9" fmla="*/ 43123 w 51778"/>
                  <a:gd name="connsiteY9" fmla="*/ 67255 h 67306"/>
                  <a:gd name="connsiteX10" fmla="*/ 27136 w 51778"/>
                  <a:gd name="connsiteY10" fmla="*/ 39864 h 67306"/>
                  <a:gd name="connsiteX11" fmla="*/ 29122 w 51778"/>
                  <a:gd name="connsiteY11" fmla="*/ 33348 h 67306"/>
                  <a:gd name="connsiteX12" fmla="*/ 44548 w 51778"/>
                  <a:gd name="connsiteY12" fmla="*/ 19805 h 67306"/>
                  <a:gd name="connsiteX13" fmla="*/ 28817 w 51778"/>
                  <a:gd name="connsiteY13" fmla="*/ 6619 h 67306"/>
                  <a:gd name="connsiteX14" fmla="*/ 6924 w 51778"/>
                  <a:gd name="connsiteY14" fmla="*/ 6619 h 67306"/>
                  <a:gd name="connsiteX15" fmla="*/ 6924 w 51778"/>
                  <a:gd name="connsiteY15" fmla="*/ 33297 h 67306"/>
                  <a:gd name="connsiteX16" fmla="*/ 29122 w 51778"/>
                  <a:gd name="connsiteY16" fmla="*/ 33297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78" h="67306">
                    <a:moveTo>
                      <a:pt x="27136" y="39864"/>
                    </a:moveTo>
                    <a:lnTo>
                      <a:pt x="6975" y="39864"/>
                    </a:lnTo>
                    <a:lnTo>
                      <a:pt x="6975" y="67306"/>
                    </a:lnTo>
                    <a:lnTo>
                      <a:pt x="0" y="67306"/>
                    </a:lnTo>
                    <a:lnTo>
                      <a:pt x="0" y="0"/>
                    </a:lnTo>
                    <a:lnTo>
                      <a:pt x="29071" y="0"/>
                    </a:lnTo>
                    <a:cubicBezTo>
                      <a:pt x="44701" y="0"/>
                      <a:pt x="51778" y="6262"/>
                      <a:pt x="51778" y="19601"/>
                    </a:cubicBezTo>
                    <a:cubicBezTo>
                      <a:pt x="51778" y="31209"/>
                      <a:pt x="46229" y="38032"/>
                      <a:pt x="34519" y="39559"/>
                    </a:cubicBezTo>
                    <a:lnTo>
                      <a:pt x="50760" y="67255"/>
                    </a:lnTo>
                    <a:lnTo>
                      <a:pt x="43123" y="67255"/>
                    </a:lnTo>
                    <a:lnTo>
                      <a:pt x="27136" y="39864"/>
                    </a:lnTo>
                    <a:close/>
                    <a:moveTo>
                      <a:pt x="29122" y="33348"/>
                    </a:moveTo>
                    <a:cubicBezTo>
                      <a:pt x="38643" y="33348"/>
                      <a:pt x="44548" y="30446"/>
                      <a:pt x="44548" y="19805"/>
                    </a:cubicBezTo>
                    <a:cubicBezTo>
                      <a:pt x="44548" y="9368"/>
                      <a:pt x="38846" y="6619"/>
                      <a:pt x="28817" y="6619"/>
                    </a:cubicBezTo>
                    <a:lnTo>
                      <a:pt x="6924" y="6619"/>
                    </a:lnTo>
                    <a:lnTo>
                      <a:pt x="6924" y="33297"/>
                    </a:lnTo>
                    <a:lnTo>
                      <a:pt x="29122" y="33297"/>
                    </a:lnTo>
                    <a:close/>
                  </a:path>
                </a:pathLst>
              </a:custGeom>
              <a:solidFill>
                <a:srgbClr val="FFFFFE"/>
              </a:solidFill>
              <a:ln w="508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7A0319F-A6A3-EB5C-F3FA-1F7CAB2A610E}"/>
                  </a:ext>
                </a:extLst>
              </p:cNvPr>
              <p:cNvSpPr/>
              <p:nvPr/>
            </p:nvSpPr>
            <p:spPr>
              <a:xfrm>
                <a:off x="10115391" y="6424252"/>
                <a:ext cx="52592" cy="67306"/>
              </a:xfrm>
              <a:custGeom>
                <a:avLst/>
                <a:gdLst>
                  <a:gd name="connsiteX0" fmla="*/ 20416 w 52592"/>
                  <a:gd name="connsiteY0" fmla="*/ 31617 h 67306"/>
                  <a:gd name="connsiteX1" fmla="*/ 6975 w 52592"/>
                  <a:gd name="connsiteY1" fmla="*/ 46330 h 67306"/>
                  <a:gd name="connsiteX2" fmla="*/ 6975 w 52592"/>
                  <a:gd name="connsiteY2" fmla="*/ 67306 h 67306"/>
                  <a:gd name="connsiteX3" fmla="*/ 0 w 52592"/>
                  <a:gd name="connsiteY3" fmla="*/ 67306 h 67306"/>
                  <a:gd name="connsiteX4" fmla="*/ 0 w 52592"/>
                  <a:gd name="connsiteY4" fmla="*/ 0 h 67306"/>
                  <a:gd name="connsiteX5" fmla="*/ 6975 w 52592"/>
                  <a:gd name="connsiteY5" fmla="*/ 0 h 67306"/>
                  <a:gd name="connsiteX6" fmla="*/ 6975 w 52592"/>
                  <a:gd name="connsiteY6" fmla="*/ 37166 h 67306"/>
                  <a:gd name="connsiteX7" fmla="*/ 41036 w 52592"/>
                  <a:gd name="connsiteY7" fmla="*/ 0 h 67306"/>
                  <a:gd name="connsiteX8" fmla="*/ 49283 w 52592"/>
                  <a:gd name="connsiteY8" fmla="*/ 0 h 67306"/>
                  <a:gd name="connsiteX9" fmla="*/ 25151 w 52592"/>
                  <a:gd name="connsiteY9" fmla="*/ 26424 h 67306"/>
                  <a:gd name="connsiteX10" fmla="*/ 52593 w 52592"/>
                  <a:gd name="connsiteY10" fmla="*/ 67306 h 67306"/>
                  <a:gd name="connsiteX11" fmla="*/ 44498 w 52592"/>
                  <a:gd name="connsiteY11" fmla="*/ 67306 h 67306"/>
                  <a:gd name="connsiteX12" fmla="*/ 20416 w 52592"/>
                  <a:gd name="connsiteY12" fmla="*/ 31617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592" h="67306">
                    <a:moveTo>
                      <a:pt x="20416" y="31617"/>
                    </a:moveTo>
                    <a:lnTo>
                      <a:pt x="6975" y="46330"/>
                    </a:lnTo>
                    <a:lnTo>
                      <a:pt x="6975" y="67306"/>
                    </a:lnTo>
                    <a:lnTo>
                      <a:pt x="0" y="67306"/>
                    </a:lnTo>
                    <a:lnTo>
                      <a:pt x="0" y="0"/>
                    </a:lnTo>
                    <a:lnTo>
                      <a:pt x="6975" y="0"/>
                    </a:lnTo>
                    <a:lnTo>
                      <a:pt x="6975" y="37166"/>
                    </a:lnTo>
                    <a:lnTo>
                      <a:pt x="41036" y="0"/>
                    </a:lnTo>
                    <a:lnTo>
                      <a:pt x="49283" y="0"/>
                    </a:lnTo>
                    <a:lnTo>
                      <a:pt x="25151" y="26424"/>
                    </a:lnTo>
                    <a:lnTo>
                      <a:pt x="52593" y="67306"/>
                    </a:lnTo>
                    <a:lnTo>
                      <a:pt x="44498" y="67306"/>
                    </a:lnTo>
                    <a:lnTo>
                      <a:pt x="20416" y="31617"/>
                    </a:lnTo>
                    <a:close/>
                  </a:path>
                </a:pathLst>
              </a:custGeom>
              <a:solidFill>
                <a:srgbClr val="FFFFFE"/>
              </a:solidFill>
              <a:ln w="508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B99ED19-5A28-FC78-20F0-3E9CE82C41FD}"/>
                  </a:ext>
                </a:extLst>
              </p:cNvPr>
              <p:cNvSpPr/>
              <p:nvPr/>
            </p:nvSpPr>
            <p:spPr>
              <a:xfrm>
                <a:off x="10173940" y="6423132"/>
                <a:ext cx="54781" cy="69292"/>
              </a:xfrm>
              <a:custGeom>
                <a:avLst/>
                <a:gdLst>
                  <a:gd name="connsiteX0" fmla="*/ 0 w 54781"/>
                  <a:gd name="connsiteY0" fmla="*/ 61604 h 69292"/>
                  <a:gd name="connsiteX1" fmla="*/ 3615 w 54781"/>
                  <a:gd name="connsiteY1" fmla="*/ 56156 h 69292"/>
                  <a:gd name="connsiteX2" fmla="*/ 27696 w 54781"/>
                  <a:gd name="connsiteY2" fmla="*/ 62979 h 69292"/>
                  <a:gd name="connsiteX3" fmla="*/ 47756 w 54781"/>
                  <a:gd name="connsiteY3" fmla="*/ 49792 h 69292"/>
                  <a:gd name="connsiteX4" fmla="*/ 27696 w 54781"/>
                  <a:gd name="connsiteY4" fmla="*/ 36708 h 69292"/>
                  <a:gd name="connsiteX5" fmla="*/ 3360 w 54781"/>
                  <a:gd name="connsiteY5" fmla="*/ 18074 h 69292"/>
                  <a:gd name="connsiteX6" fmla="*/ 27696 w 54781"/>
                  <a:gd name="connsiteY6" fmla="*/ 0 h 69292"/>
                  <a:gd name="connsiteX7" fmla="*/ 51116 w 54781"/>
                  <a:gd name="connsiteY7" fmla="*/ 6008 h 69292"/>
                  <a:gd name="connsiteX8" fmla="*/ 47298 w 54781"/>
                  <a:gd name="connsiteY8" fmla="*/ 11812 h 69292"/>
                  <a:gd name="connsiteX9" fmla="*/ 27696 w 54781"/>
                  <a:gd name="connsiteY9" fmla="*/ 6517 h 69292"/>
                  <a:gd name="connsiteX10" fmla="*/ 10437 w 54781"/>
                  <a:gd name="connsiteY10" fmla="*/ 17870 h 69292"/>
                  <a:gd name="connsiteX11" fmla="*/ 29427 w 54781"/>
                  <a:gd name="connsiteY11" fmla="*/ 30242 h 69292"/>
                  <a:gd name="connsiteX12" fmla="*/ 54782 w 54781"/>
                  <a:gd name="connsiteY12" fmla="*/ 49487 h 69292"/>
                  <a:gd name="connsiteX13" fmla="*/ 27900 w 54781"/>
                  <a:gd name="connsiteY13" fmla="*/ 69292 h 69292"/>
                  <a:gd name="connsiteX14" fmla="*/ 0 w 54781"/>
                  <a:gd name="connsiteY14" fmla="*/ 61604 h 6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781" h="69292">
                    <a:moveTo>
                      <a:pt x="0" y="61604"/>
                    </a:moveTo>
                    <a:lnTo>
                      <a:pt x="3615" y="56156"/>
                    </a:lnTo>
                    <a:cubicBezTo>
                      <a:pt x="11710" y="61248"/>
                      <a:pt x="19601" y="62979"/>
                      <a:pt x="27696" y="62979"/>
                    </a:cubicBezTo>
                    <a:cubicBezTo>
                      <a:pt x="41596" y="62979"/>
                      <a:pt x="47756" y="59058"/>
                      <a:pt x="47756" y="49792"/>
                    </a:cubicBezTo>
                    <a:cubicBezTo>
                      <a:pt x="47756" y="40272"/>
                      <a:pt x="39763" y="38897"/>
                      <a:pt x="27696" y="36708"/>
                    </a:cubicBezTo>
                    <a:cubicBezTo>
                      <a:pt x="13186" y="34162"/>
                      <a:pt x="3360" y="31718"/>
                      <a:pt x="3360" y="18074"/>
                    </a:cubicBezTo>
                    <a:cubicBezTo>
                      <a:pt x="3360" y="5091"/>
                      <a:pt x="11710" y="0"/>
                      <a:pt x="27696" y="0"/>
                    </a:cubicBezTo>
                    <a:cubicBezTo>
                      <a:pt x="38235" y="0"/>
                      <a:pt x="45770" y="2342"/>
                      <a:pt x="51116" y="6008"/>
                    </a:cubicBezTo>
                    <a:lnTo>
                      <a:pt x="47298" y="11812"/>
                    </a:lnTo>
                    <a:cubicBezTo>
                      <a:pt x="42461" y="8655"/>
                      <a:pt x="35282" y="6517"/>
                      <a:pt x="27696" y="6517"/>
                    </a:cubicBezTo>
                    <a:cubicBezTo>
                      <a:pt x="15630" y="6517"/>
                      <a:pt x="10437" y="9877"/>
                      <a:pt x="10437" y="17870"/>
                    </a:cubicBezTo>
                    <a:cubicBezTo>
                      <a:pt x="10437" y="26424"/>
                      <a:pt x="17412" y="28053"/>
                      <a:pt x="29427" y="30242"/>
                    </a:cubicBezTo>
                    <a:cubicBezTo>
                      <a:pt x="44141" y="32889"/>
                      <a:pt x="54782" y="35079"/>
                      <a:pt x="54782" y="49487"/>
                    </a:cubicBezTo>
                    <a:cubicBezTo>
                      <a:pt x="54782" y="62826"/>
                      <a:pt x="46229" y="69292"/>
                      <a:pt x="27900" y="69292"/>
                    </a:cubicBezTo>
                    <a:cubicBezTo>
                      <a:pt x="17718" y="69343"/>
                      <a:pt x="8502" y="67255"/>
                      <a:pt x="0" y="61604"/>
                    </a:cubicBezTo>
                    <a:close/>
                  </a:path>
                </a:pathLst>
              </a:custGeom>
              <a:solidFill>
                <a:srgbClr val="FFFFFE"/>
              </a:solidFill>
              <a:ln w="5088" cap="flat">
                <a:noFill/>
                <a:prstDash val="solid"/>
                <a:miter/>
              </a:ln>
            </p:spPr>
            <p:txBody>
              <a:bodyPr rtlCol="0" anchor="ctr"/>
              <a:lstStyle/>
              <a:p>
                <a:endParaRPr lang="en-US"/>
              </a:p>
            </p:txBody>
          </p:sp>
        </p:grpSp>
        <p:grpSp>
          <p:nvGrpSpPr>
            <p:cNvPr id="24" name="Graphic 21">
              <a:extLst>
                <a:ext uri="{FF2B5EF4-FFF2-40B4-BE49-F238E27FC236}">
                  <a16:creationId xmlns:a16="http://schemas.microsoft.com/office/drawing/2014/main" id="{C3FF097B-7C1F-C6E5-D122-D2979C843E4D}"/>
                </a:ext>
              </a:extLst>
            </p:cNvPr>
            <p:cNvGrpSpPr/>
            <p:nvPr/>
          </p:nvGrpSpPr>
          <p:grpSpPr>
            <a:xfrm>
              <a:off x="9049996" y="6145201"/>
              <a:ext cx="1271540" cy="302776"/>
              <a:chOff x="9049996" y="6145201"/>
              <a:chExt cx="1271540" cy="302776"/>
            </a:xfrm>
            <a:solidFill>
              <a:srgbClr val="FFFFFE"/>
            </a:solidFill>
          </p:grpSpPr>
          <p:grpSp>
            <p:nvGrpSpPr>
              <p:cNvPr id="25" name="Graphic 21">
                <a:extLst>
                  <a:ext uri="{FF2B5EF4-FFF2-40B4-BE49-F238E27FC236}">
                    <a16:creationId xmlns:a16="http://schemas.microsoft.com/office/drawing/2014/main" id="{3ADB99B8-1C4A-161B-A6A8-62642CA75F8E}"/>
                  </a:ext>
                </a:extLst>
              </p:cNvPr>
              <p:cNvGrpSpPr/>
              <p:nvPr/>
            </p:nvGrpSpPr>
            <p:grpSpPr>
              <a:xfrm>
                <a:off x="9049996" y="6145201"/>
                <a:ext cx="1271540" cy="302776"/>
                <a:chOff x="9049996" y="6145201"/>
                <a:chExt cx="1271540" cy="302776"/>
              </a:xfrm>
              <a:solidFill>
                <a:srgbClr val="FFFFFE"/>
              </a:solidFill>
            </p:grpSpPr>
            <p:sp>
              <p:nvSpPr>
                <p:cNvPr id="26" name="Freeform: Shape 25">
                  <a:extLst>
                    <a:ext uri="{FF2B5EF4-FFF2-40B4-BE49-F238E27FC236}">
                      <a16:creationId xmlns:a16="http://schemas.microsoft.com/office/drawing/2014/main" id="{F4349C70-E379-C34D-D8F6-322C6006255F}"/>
                    </a:ext>
                  </a:extLst>
                </p:cNvPr>
                <p:cNvSpPr/>
                <p:nvPr/>
              </p:nvSpPr>
              <p:spPr>
                <a:xfrm>
                  <a:off x="10200466" y="6146117"/>
                  <a:ext cx="121069" cy="249012"/>
                </a:xfrm>
                <a:custGeom>
                  <a:avLst/>
                  <a:gdLst>
                    <a:gd name="connsiteX0" fmla="*/ 98618 w 121069"/>
                    <a:gd name="connsiteY0" fmla="*/ 0 h 249012"/>
                    <a:gd name="connsiteX1" fmla="*/ 0 w 121069"/>
                    <a:gd name="connsiteY1" fmla="*/ 102181 h 249012"/>
                    <a:gd name="connsiteX2" fmla="*/ 0 w 121069"/>
                    <a:gd name="connsiteY2" fmla="*/ 249013 h 249012"/>
                    <a:gd name="connsiteX3" fmla="*/ 22300 w 121069"/>
                    <a:gd name="connsiteY3" fmla="*/ 249013 h 249012"/>
                    <a:gd name="connsiteX4" fmla="*/ 22300 w 121069"/>
                    <a:gd name="connsiteY4" fmla="*/ 102181 h 249012"/>
                    <a:gd name="connsiteX5" fmla="*/ 98618 w 121069"/>
                    <a:gd name="connsiteY5" fmla="*/ 20976 h 249012"/>
                    <a:gd name="connsiteX6" fmla="*/ 121070 w 121069"/>
                    <a:gd name="connsiteY6" fmla="*/ 22198 h 249012"/>
                    <a:gd name="connsiteX7" fmla="*/ 121070 w 121069"/>
                    <a:gd name="connsiteY7" fmla="*/ 916 h 249012"/>
                    <a:gd name="connsiteX8" fmla="*/ 98618 w 121069"/>
                    <a:gd name="connsiteY8" fmla="*/ 0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9" h="249012">
                      <a:moveTo>
                        <a:pt x="98618" y="0"/>
                      </a:moveTo>
                      <a:cubicBezTo>
                        <a:pt x="4022" y="0"/>
                        <a:pt x="0" y="42410"/>
                        <a:pt x="0" y="102181"/>
                      </a:cubicBezTo>
                      <a:lnTo>
                        <a:pt x="0" y="249013"/>
                      </a:lnTo>
                      <a:lnTo>
                        <a:pt x="22300" y="249013"/>
                      </a:lnTo>
                      <a:lnTo>
                        <a:pt x="22300" y="102181"/>
                      </a:lnTo>
                      <a:cubicBezTo>
                        <a:pt x="22300" y="57124"/>
                        <a:pt x="20518" y="20976"/>
                        <a:pt x="98618" y="20976"/>
                      </a:cubicBezTo>
                      <a:cubicBezTo>
                        <a:pt x="106967" y="20976"/>
                        <a:pt x="114400" y="21434"/>
                        <a:pt x="121070" y="22198"/>
                      </a:cubicBezTo>
                      <a:lnTo>
                        <a:pt x="121070" y="916"/>
                      </a:lnTo>
                      <a:cubicBezTo>
                        <a:pt x="114197" y="305"/>
                        <a:pt x="106713" y="0"/>
                        <a:pt x="98618" y="0"/>
                      </a:cubicBezTo>
                      <a:close/>
                    </a:path>
                  </a:pathLst>
                </a:custGeom>
                <a:solidFill>
                  <a:srgbClr val="FFFFFE"/>
                </a:solidFill>
                <a:ln w="5088"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9F15CBCD-7266-14B0-7828-75C164837321}"/>
                    </a:ext>
                  </a:extLst>
                </p:cNvPr>
                <p:cNvSpPr/>
                <p:nvPr/>
              </p:nvSpPr>
              <p:spPr>
                <a:xfrm>
                  <a:off x="9195504" y="6151005"/>
                  <a:ext cx="199475" cy="249012"/>
                </a:xfrm>
                <a:custGeom>
                  <a:avLst/>
                  <a:gdLst>
                    <a:gd name="connsiteX0" fmla="*/ 0 w 199475"/>
                    <a:gd name="connsiteY0" fmla="*/ 148613 h 249012"/>
                    <a:gd name="connsiteX1" fmla="*/ 0 w 199475"/>
                    <a:gd name="connsiteY1" fmla="*/ 0 h 249012"/>
                    <a:gd name="connsiteX2" fmla="*/ 22758 w 199475"/>
                    <a:gd name="connsiteY2" fmla="*/ 0 h 249012"/>
                    <a:gd name="connsiteX3" fmla="*/ 22758 w 199475"/>
                    <a:gd name="connsiteY3" fmla="*/ 149072 h 249012"/>
                    <a:gd name="connsiteX4" fmla="*/ 100858 w 199475"/>
                    <a:gd name="connsiteY4" fmla="*/ 228088 h 249012"/>
                    <a:gd name="connsiteX5" fmla="*/ 177176 w 199475"/>
                    <a:gd name="connsiteY5" fmla="*/ 146882 h 249012"/>
                    <a:gd name="connsiteX6" fmla="*/ 177176 w 199475"/>
                    <a:gd name="connsiteY6" fmla="*/ 0 h 249012"/>
                    <a:gd name="connsiteX7" fmla="*/ 199475 w 199475"/>
                    <a:gd name="connsiteY7" fmla="*/ 0 h 249012"/>
                    <a:gd name="connsiteX8" fmla="*/ 199475 w 199475"/>
                    <a:gd name="connsiteY8" fmla="*/ 146831 h 249012"/>
                    <a:gd name="connsiteX9" fmla="*/ 100858 w 199475"/>
                    <a:gd name="connsiteY9" fmla="*/ 249013 h 249012"/>
                    <a:gd name="connsiteX10" fmla="*/ 0 w 199475"/>
                    <a:gd name="connsiteY10" fmla="*/ 148613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75" h="249012">
                      <a:moveTo>
                        <a:pt x="0" y="148613"/>
                      </a:moveTo>
                      <a:lnTo>
                        <a:pt x="0" y="0"/>
                      </a:lnTo>
                      <a:lnTo>
                        <a:pt x="22758" y="0"/>
                      </a:lnTo>
                      <a:lnTo>
                        <a:pt x="22758" y="149072"/>
                      </a:lnTo>
                      <a:cubicBezTo>
                        <a:pt x="22758" y="191940"/>
                        <a:pt x="22300" y="228088"/>
                        <a:pt x="100858" y="228088"/>
                      </a:cubicBezTo>
                      <a:cubicBezTo>
                        <a:pt x="178958" y="228088"/>
                        <a:pt x="177176" y="191940"/>
                        <a:pt x="177176" y="146882"/>
                      </a:cubicBezTo>
                      <a:lnTo>
                        <a:pt x="177176" y="0"/>
                      </a:lnTo>
                      <a:lnTo>
                        <a:pt x="199475" y="0"/>
                      </a:lnTo>
                      <a:lnTo>
                        <a:pt x="199475" y="146831"/>
                      </a:lnTo>
                      <a:cubicBezTo>
                        <a:pt x="199475" y="206654"/>
                        <a:pt x="195453" y="249013"/>
                        <a:pt x="100858" y="249013"/>
                      </a:cubicBezTo>
                      <a:cubicBezTo>
                        <a:pt x="5804" y="249013"/>
                        <a:pt x="0" y="206654"/>
                        <a:pt x="0" y="148613"/>
                      </a:cubicBezTo>
                      <a:close/>
                    </a:path>
                  </a:pathLst>
                </a:custGeom>
                <a:solidFill>
                  <a:srgbClr val="FFFFFE"/>
                </a:solidFill>
                <a:ln w="5088"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919B78E-93AD-2642-6CAF-54CC223FBACA}"/>
                    </a:ext>
                  </a:extLst>
                </p:cNvPr>
                <p:cNvSpPr/>
                <p:nvPr/>
              </p:nvSpPr>
              <p:spPr>
                <a:xfrm>
                  <a:off x="9432756" y="6146117"/>
                  <a:ext cx="199475" cy="249012"/>
                </a:xfrm>
                <a:custGeom>
                  <a:avLst/>
                  <a:gdLst>
                    <a:gd name="connsiteX0" fmla="*/ 199475 w 199475"/>
                    <a:gd name="connsiteY0" fmla="*/ 100399 h 249012"/>
                    <a:gd name="connsiteX1" fmla="*/ 199475 w 199475"/>
                    <a:gd name="connsiteY1" fmla="*/ 249013 h 249012"/>
                    <a:gd name="connsiteX2" fmla="*/ 176717 w 199475"/>
                    <a:gd name="connsiteY2" fmla="*/ 249013 h 249012"/>
                    <a:gd name="connsiteX3" fmla="*/ 176717 w 199475"/>
                    <a:gd name="connsiteY3" fmla="*/ 99941 h 249012"/>
                    <a:gd name="connsiteX4" fmla="*/ 98618 w 199475"/>
                    <a:gd name="connsiteY4" fmla="*/ 20925 h 249012"/>
                    <a:gd name="connsiteX5" fmla="*/ 22300 w 199475"/>
                    <a:gd name="connsiteY5" fmla="*/ 102130 h 249012"/>
                    <a:gd name="connsiteX6" fmla="*/ 22300 w 199475"/>
                    <a:gd name="connsiteY6" fmla="*/ 248962 h 249012"/>
                    <a:gd name="connsiteX7" fmla="*/ 0 w 199475"/>
                    <a:gd name="connsiteY7" fmla="*/ 248962 h 249012"/>
                    <a:gd name="connsiteX8" fmla="*/ 0 w 199475"/>
                    <a:gd name="connsiteY8" fmla="*/ 102181 h 249012"/>
                    <a:gd name="connsiteX9" fmla="*/ 98618 w 199475"/>
                    <a:gd name="connsiteY9" fmla="*/ 0 h 249012"/>
                    <a:gd name="connsiteX10" fmla="*/ 199475 w 199475"/>
                    <a:gd name="connsiteY10" fmla="*/ 100399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75" h="249012">
                      <a:moveTo>
                        <a:pt x="199475" y="100399"/>
                      </a:moveTo>
                      <a:lnTo>
                        <a:pt x="199475" y="249013"/>
                      </a:lnTo>
                      <a:lnTo>
                        <a:pt x="176717" y="249013"/>
                      </a:lnTo>
                      <a:lnTo>
                        <a:pt x="176717" y="99941"/>
                      </a:lnTo>
                      <a:cubicBezTo>
                        <a:pt x="176717" y="57124"/>
                        <a:pt x="177176" y="20925"/>
                        <a:pt x="98618" y="20925"/>
                      </a:cubicBezTo>
                      <a:cubicBezTo>
                        <a:pt x="20518" y="20925"/>
                        <a:pt x="22300" y="57073"/>
                        <a:pt x="22300" y="102130"/>
                      </a:cubicBezTo>
                      <a:lnTo>
                        <a:pt x="22300" y="248962"/>
                      </a:lnTo>
                      <a:lnTo>
                        <a:pt x="0" y="248962"/>
                      </a:lnTo>
                      <a:lnTo>
                        <a:pt x="0" y="102181"/>
                      </a:lnTo>
                      <a:cubicBezTo>
                        <a:pt x="0" y="42359"/>
                        <a:pt x="4022" y="0"/>
                        <a:pt x="98618" y="0"/>
                      </a:cubicBezTo>
                      <a:cubicBezTo>
                        <a:pt x="193671" y="0"/>
                        <a:pt x="199475" y="42359"/>
                        <a:pt x="199475" y="100399"/>
                      </a:cubicBezTo>
                      <a:close/>
                    </a:path>
                  </a:pathLst>
                </a:custGeom>
                <a:solidFill>
                  <a:srgbClr val="FFFFFE"/>
                </a:solidFill>
                <a:ln w="5088"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C0183F49-677D-C423-177A-E3113CF06BCA}"/>
                    </a:ext>
                  </a:extLst>
                </p:cNvPr>
                <p:cNvSpPr/>
                <p:nvPr/>
              </p:nvSpPr>
              <p:spPr>
                <a:xfrm>
                  <a:off x="9673674" y="6151463"/>
                  <a:ext cx="21841" cy="243666"/>
                </a:xfrm>
                <a:custGeom>
                  <a:avLst/>
                  <a:gdLst>
                    <a:gd name="connsiteX0" fmla="*/ 0 w 21841"/>
                    <a:gd name="connsiteY0" fmla="*/ 0 h 243666"/>
                    <a:gd name="connsiteX1" fmla="*/ 21841 w 21841"/>
                    <a:gd name="connsiteY1" fmla="*/ 0 h 243666"/>
                    <a:gd name="connsiteX2" fmla="*/ 21841 w 21841"/>
                    <a:gd name="connsiteY2" fmla="*/ 243667 h 243666"/>
                    <a:gd name="connsiteX3" fmla="*/ 0 w 21841"/>
                    <a:gd name="connsiteY3" fmla="*/ 243667 h 243666"/>
                    <a:gd name="connsiteX4" fmla="*/ 0 w 21841"/>
                    <a:gd name="connsiteY4" fmla="*/ 0 h 243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1" h="243666">
                      <a:moveTo>
                        <a:pt x="0" y="0"/>
                      </a:moveTo>
                      <a:lnTo>
                        <a:pt x="21841" y="0"/>
                      </a:lnTo>
                      <a:lnTo>
                        <a:pt x="21841" y="243667"/>
                      </a:lnTo>
                      <a:lnTo>
                        <a:pt x="0" y="243667"/>
                      </a:lnTo>
                      <a:lnTo>
                        <a:pt x="0" y="0"/>
                      </a:lnTo>
                      <a:close/>
                    </a:path>
                  </a:pathLst>
                </a:custGeom>
                <a:solidFill>
                  <a:srgbClr val="FFFFFE"/>
                </a:solidFill>
                <a:ln w="5088"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0C503B25-0739-F8DE-4937-F166A3A31799}"/>
                    </a:ext>
                  </a:extLst>
                </p:cNvPr>
                <p:cNvSpPr/>
                <p:nvPr/>
              </p:nvSpPr>
              <p:spPr>
                <a:xfrm>
                  <a:off x="9736398" y="6151463"/>
                  <a:ext cx="196318" cy="243666"/>
                </a:xfrm>
                <a:custGeom>
                  <a:avLst/>
                  <a:gdLst>
                    <a:gd name="connsiteX0" fmla="*/ 0 w 196318"/>
                    <a:gd name="connsiteY0" fmla="*/ 0 h 243666"/>
                    <a:gd name="connsiteX1" fmla="*/ 114095 w 196318"/>
                    <a:gd name="connsiteY1" fmla="*/ 0 h 243666"/>
                    <a:gd name="connsiteX2" fmla="*/ 196319 w 196318"/>
                    <a:gd name="connsiteY2" fmla="*/ 78100 h 243666"/>
                    <a:gd name="connsiteX3" fmla="*/ 113789 w 196318"/>
                    <a:gd name="connsiteY3" fmla="*/ 159000 h 243666"/>
                    <a:gd name="connsiteX4" fmla="*/ 21892 w 196318"/>
                    <a:gd name="connsiteY4" fmla="*/ 159000 h 243666"/>
                    <a:gd name="connsiteX5" fmla="*/ 21892 w 196318"/>
                    <a:gd name="connsiteY5" fmla="*/ 243667 h 243666"/>
                    <a:gd name="connsiteX6" fmla="*/ 51 w 196318"/>
                    <a:gd name="connsiteY6" fmla="*/ 243667 h 243666"/>
                    <a:gd name="connsiteX7" fmla="*/ 51 w 196318"/>
                    <a:gd name="connsiteY7" fmla="*/ 0 h 243666"/>
                    <a:gd name="connsiteX8" fmla="*/ 114400 w 196318"/>
                    <a:gd name="connsiteY8" fmla="*/ 137107 h 243666"/>
                    <a:gd name="connsiteX9" fmla="*/ 173408 w 196318"/>
                    <a:gd name="connsiteY9" fmla="*/ 79118 h 243666"/>
                    <a:gd name="connsiteX10" fmla="*/ 113433 w 196318"/>
                    <a:gd name="connsiteY10" fmla="*/ 21892 h 243666"/>
                    <a:gd name="connsiteX11" fmla="*/ 21841 w 196318"/>
                    <a:gd name="connsiteY11" fmla="*/ 21892 h 243666"/>
                    <a:gd name="connsiteX12" fmla="*/ 21841 w 196318"/>
                    <a:gd name="connsiteY12" fmla="*/ 137107 h 243666"/>
                    <a:gd name="connsiteX13" fmla="*/ 114400 w 196318"/>
                    <a:gd name="connsiteY13" fmla="*/ 137107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18" h="243666">
                      <a:moveTo>
                        <a:pt x="0" y="0"/>
                      </a:moveTo>
                      <a:lnTo>
                        <a:pt x="114095" y="0"/>
                      </a:lnTo>
                      <a:cubicBezTo>
                        <a:pt x="170659" y="0"/>
                        <a:pt x="196319" y="28104"/>
                        <a:pt x="196319" y="78100"/>
                      </a:cubicBezTo>
                      <a:cubicBezTo>
                        <a:pt x="196319" y="128401"/>
                        <a:pt x="171015" y="159000"/>
                        <a:pt x="113789" y="159000"/>
                      </a:cubicBezTo>
                      <a:lnTo>
                        <a:pt x="21892" y="159000"/>
                      </a:lnTo>
                      <a:lnTo>
                        <a:pt x="21892" y="243667"/>
                      </a:lnTo>
                      <a:lnTo>
                        <a:pt x="51" y="243667"/>
                      </a:lnTo>
                      <a:lnTo>
                        <a:pt x="51" y="0"/>
                      </a:lnTo>
                      <a:close/>
                      <a:moveTo>
                        <a:pt x="114400" y="137107"/>
                      </a:moveTo>
                      <a:cubicBezTo>
                        <a:pt x="153807" y="137107"/>
                        <a:pt x="173408" y="117913"/>
                        <a:pt x="173408" y="79118"/>
                      </a:cubicBezTo>
                      <a:cubicBezTo>
                        <a:pt x="173408" y="40323"/>
                        <a:pt x="152279" y="21892"/>
                        <a:pt x="113433" y="21892"/>
                      </a:cubicBezTo>
                      <a:lnTo>
                        <a:pt x="21841" y="21892"/>
                      </a:lnTo>
                      <a:lnTo>
                        <a:pt x="21841" y="137107"/>
                      </a:lnTo>
                      <a:lnTo>
                        <a:pt x="114400" y="137107"/>
                      </a:lnTo>
                      <a:close/>
                    </a:path>
                  </a:pathLst>
                </a:custGeom>
                <a:solidFill>
                  <a:srgbClr val="FFFFFE"/>
                </a:solidFill>
                <a:ln w="5088"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059373-F892-98B1-4F22-E66999223F39}"/>
                    </a:ext>
                  </a:extLst>
                </p:cNvPr>
                <p:cNvSpPr/>
                <p:nvPr/>
              </p:nvSpPr>
              <p:spPr>
                <a:xfrm>
                  <a:off x="9958122" y="6145201"/>
                  <a:ext cx="210244" cy="254816"/>
                </a:xfrm>
                <a:custGeom>
                  <a:avLst/>
                  <a:gdLst>
                    <a:gd name="connsiteX0" fmla="*/ 0 w 210244"/>
                    <a:gd name="connsiteY0" fmla="*/ 127179 h 254816"/>
                    <a:gd name="connsiteX1" fmla="*/ 112466 w 210244"/>
                    <a:gd name="connsiteY1" fmla="*/ 0 h 254816"/>
                    <a:gd name="connsiteX2" fmla="*/ 210218 w 210244"/>
                    <a:gd name="connsiteY2" fmla="*/ 131201 h 254816"/>
                    <a:gd name="connsiteX3" fmla="*/ 21892 w 210244"/>
                    <a:gd name="connsiteY3" fmla="*/ 131201 h 254816"/>
                    <a:gd name="connsiteX4" fmla="*/ 114248 w 210244"/>
                    <a:gd name="connsiteY4" fmla="*/ 234757 h 254816"/>
                    <a:gd name="connsiteX5" fmla="*/ 194130 w 210244"/>
                    <a:gd name="connsiteY5" fmla="*/ 208843 h 254816"/>
                    <a:gd name="connsiteX6" fmla="*/ 206603 w 210244"/>
                    <a:gd name="connsiteY6" fmla="*/ 225338 h 254816"/>
                    <a:gd name="connsiteX7" fmla="*/ 114248 w 210244"/>
                    <a:gd name="connsiteY7" fmla="*/ 254817 h 254816"/>
                    <a:gd name="connsiteX8" fmla="*/ 0 w 210244"/>
                    <a:gd name="connsiteY8" fmla="*/ 127179 h 254816"/>
                    <a:gd name="connsiteX9" fmla="*/ 22351 w 210244"/>
                    <a:gd name="connsiteY9" fmla="*/ 110684 h 254816"/>
                    <a:gd name="connsiteX10" fmla="*/ 188376 w 210244"/>
                    <a:gd name="connsiteY10" fmla="*/ 110684 h 254816"/>
                    <a:gd name="connsiteX11" fmla="*/ 112008 w 210244"/>
                    <a:gd name="connsiteY11" fmla="*/ 20518 h 254816"/>
                    <a:gd name="connsiteX12" fmla="*/ 22351 w 210244"/>
                    <a:gd name="connsiteY12" fmla="*/ 110684 h 25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0244" h="254816">
                      <a:moveTo>
                        <a:pt x="0" y="127179"/>
                      </a:moveTo>
                      <a:cubicBezTo>
                        <a:pt x="0" y="55342"/>
                        <a:pt x="20518" y="0"/>
                        <a:pt x="112466" y="0"/>
                      </a:cubicBezTo>
                      <a:cubicBezTo>
                        <a:pt x="207520" y="0"/>
                        <a:pt x="210625" y="63793"/>
                        <a:pt x="210218" y="131201"/>
                      </a:cubicBezTo>
                      <a:lnTo>
                        <a:pt x="21892" y="131201"/>
                      </a:lnTo>
                      <a:cubicBezTo>
                        <a:pt x="22351" y="190565"/>
                        <a:pt x="37064" y="234757"/>
                        <a:pt x="114248" y="234757"/>
                      </a:cubicBezTo>
                      <a:cubicBezTo>
                        <a:pt x="155283" y="234757"/>
                        <a:pt x="174070" y="223607"/>
                        <a:pt x="194130" y="208843"/>
                      </a:cubicBezTo>
                      <a:lnTo>
                        <a:pt x="206603" y="225338"/>
                      </a:lnTo>
                      <a:cubicBezTo>
                        <a:pt x="184303" y="241834"/>
                        <a:pt x="157982" y="254817"/>
                        <a:pt x="114248" y="254817"/>
                      </a:cubicBezTo>
                      <a:cubicBezTo>
                        <a:pt x="17870" y="254817"/>
                        <a:pt x="0" y="199017"/>
                        <a:pt x="0" y="127179"/>
                      </a:cubicBezTo>
                      <a:close/>
                      <a:moveTo>
                        <a:pt x="22351" y="110684"/>
                      </a:moveTo>
                      <a:lnTo>
                        <a:pt x="188376" y="110684"/>
                      </a:lnTo>
                      <a:cubicBezTo>
                        <a:pt x="186136" y="62062"/>
                        <a:pt x="182980" y="20518"/>
                        <a:pt x="112008" y="20518"/>
                      </a:cubicBezTo>
                      <a:cubicBezTo>
                        <a:pt x="43734" y="20518"/>
                        <a:pt x="24998" y="57582"/>
                        <a:pt x="22351" y="110684"/>
                      </a:cubicBezTo>
                      <a:close/>
                    </a:path>
                  </a:pathLst>
                </a:custGeom>
                <a:solidFill>
                  <a:srgbClr val="FFFFFE"/>
                </a:solidFill>
                <a:ln w="508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02C596-22AF-D8D1-4EAB-3AC592A58240}"/>
                    </a:ext>
                  </a:extLst>
                </p:cNvPr>
                <p:cNvSpPr/>
                <p:nvPr/>
              </p:nvSpPr>
              <p:spPr>
                <a:xfrm>
                  <a:off x="9049996" y="6151005"/>
                  <a:ext cx="107119" cy="296972"/>
                </a:xfrm>
                <a:custGeom>
                  <a:avLst/>
                  <a:gdLst>
                    <a:gd name="connsiteX0" fmla="*/ 8502 w 107119"/>
                    <a:gd name="connsiteY0" fmla="*/ 296972 h 296972"/>
                    <a:gd name="connsiteX1" fmla="*/ 107120 w 107119"/>
                    <a:gd name="connsiteY1" fmla="*/ 194791 h 296972"/>
                    <a:gd name="connsiteX2" fmla="*/ 107120 w 107119"/>
                    <a:gd name="connsiteY2" fmla="*/ 0 h 296972"/>
                    <a:gd name="connsiteX3" fmla="*/ 84820 w 107119"/>
                    <a:gd name="connsiteY3" fmla="*/ 0 h 296972"/>
                    <a:gd name="connsiteX4" fmla="*/ 84820 w 107119"/>
                    <a:gd name="connsiteY4" fmla="*/ 194791 h 296972"/>
                    <a:gd name="connsiteX5" fmla="*/ 8502 w 107119"/>
                    <a:gd name="connsiteY5" fmla="*/ 275996 h 296972"/>
                    <a:gd name="connsiteX6" fmla="*/ 0 w 107119"/>
                    <a:gd name="connsiteY6" fmla="*/ 275793 h 296972"/>
                    <a:gd name="connsiteX7" fmla="*/ 0 w 107119"/>
                    <a:gd name="connsiteY7" fmla="*/ 296820 h 296972"/>
                    <a:gd name="connsiteX8" fmla="*/ 8502 w 107119"/>
                    <a:gd name="connsiteY8" fmla="*/ 296972 h 29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19" h="296972">
                      <a:moveTo>
                        <a:pt x="8502" y="296972"/>
                      </a:moveTo>
                      <a:cubicBezTo>
                        <a:pt x="103098" y="296972"/>
                        <a:pt x="107120" y="254562"/>
                        <a:pt x="107120" y="194791"/>
                      </a:cubicBezTo>
                      <a:lnTo>
                        <a:pt x="107120" y="0"/>
                      </a:lnTo>
                      <a:lnTo>
                        <a:pt x="84820" y="0"/>
                      </a:lnTo>
                      <a:lnTo>
                        <a:pt x="84820" y="194791"/>
                      </a:lnTo>
                      <a:cubicBezTo>
                        <a:pt x="84820" y="239849"/>
                        <a:pt x="86602" y="275996"/>
                        <a:pt x="8502" y="275996"/>
                      </a:cubicBezTo>
                      <a:cubicBezTo>
                        <a:pt x="5549" y="275996"/>
                        <a:pt x="2749" y="275945"/>
                        <a:pt x="0" y="275793"/>
                      </a:cubicBezTo>
                      <a:lnTo>
                        <a:pt x="0" y="296820"/>
                      </a:lnTo>
                      <a:cubicBezTo>
                        <a:pt x="2749" y="296972"/>
                        <a:pt x="5549" y="296972"/>
                        <a:pt x="8502" y="296972"/>
                      </a:cubicBezTo>
                      <a:close/>
                    </a:path>
                  </a:pathLst>
                </a:custGeom>
                <a:solidFill>
                  <a:srgbClr val="FFFFFE"/>
                </a:solidFill>
                <a:ln w="5088" cap="flat">
                  <a:noFill/>
                  <a:prstDash val="solid"/>
                  <a:miter/>
                </a:ln>
              </p:spPr>
              <p:txBody>
                <a:bodyPr rtlCol="0" anchor="ctr"/>
                <a:lstStyle/>
                <a:p>
                  <a:endParaRPr lang="en-US"/>
                </a:p>
              </p:txBody>
            </p:sp>
          </p:grpSp>
          <p:grpSp>
            <p:nvGrpSpPr>
              <p:cNvPr id="33" name="Graphic 21">
                <a:extLst>
                  <a:ext uri="{FF2B5EF4-FFF2-40B4-BE49-F238E27FC236}">
                    <a16:creationId xmlns:a16="http://schemas.microsoft.com/office/drawing/2014/main" id="{39C47EF9-76A1-2538-CAE3-95A58F2F5CC2}"/>
                  </a:ext>
                </a:extLst>
              </p:cNvPr>
              <p:cNvGrpSpPr/>
              <p:nvPr/>
            </p:nvGrpSpPr>
            <p:grpSpPr>
              <a:xfrm>
                <a:off x="10256164" y="6365346"/>
                <a:ext cx="30802" cy="30852"/>
                <a:chOff x="10256164" y="6365346"/>
                <a:chExt cx="30802" cy="30852"/>
              </a:xfrm>
              <a:solidFill>
                <a:srgbClr val="FFFFFE"/>
              </a:solidFill>
            </p:grpSpPr>
            <p:sp>
              <p:nvSpPr>
                <p:cNvPr id="34" name="Freeform: Shape 33">
                  <a:extLst>
                    <a:ext uri="{FF2B5EF4-FFF2-40B4-BE49-F238E27FC236}">
                      <a16:creationId xmlns:a16="http://schemas.microsoft.com/office/drawing/2014/main" id="{0518EF9B-619C-1237-0615-E950275C4FAF}"/>
                    </a:ext>
                  </a:extLst>
                </p:cNvPr>
                <p:cNvSpPr/>
                <p:nvPr/>
              </p:nvSpPr>
              <p:spPr>
                <a:xfrm>
                  <a:off x="10256164" y="6365346"/>
                  <a:ext cx="30802" cy="30852"/>
                </a:xfrm>
                <a:custGeom>
                  <a:avLst/>
                  <a:gdLst>
                    <a:gd name="connsiteX0" fmla="*/ 15426 w 30802"/>
                    <a:gd name="connsiteY0" fmla="*/ 30853 h 30852"/>
                    <a:gd name="connsiteX1" fmla="*/ 0 w 30802"/>
                    <a:gd name="connsiteY1" fmla="*/ 15426 h 30852"/>
                    <a:gd name="connsiteX2" fmla="*/ 15426 w 30802"/>
                    <a:gd name="connsiteY2" fmla="*/ 0 h 30852"/>
                    <a:gd name="connsiteX3" fmla="*/ 30802 w 30802"/>
                    <a:gd name="connsiteY3" fmla="*/ 15426 h 30852"/>
                    <a:gd name="connsiteX4" fmla="*/ 15426 w 30802"/>
                    <a:gd name="connsiteY4" fmla="*/ 30853 h 30852"/>
                    <a:gd name="connsiteX5" fmla="*/ 15426 w 30802"/>
                    <a:gd name="connsiteY5" fmla="*/ 30853 h 30852"/>
                    <a:gd name="connsiteX6" fmla="*/ 15426 w 30802"/>
                    <a:gd name="connsiteY6" fmla="*/ 2037 h 30852"/>
                    <a:gd name="connsiteX7" fmla="*/ 1986 w 30802"/>
                    <a:gd name="connsiteY7" fmla="*/ 15426 h 30852"/>
                    <a:gd name="connsiteX8" fmla="*/ 15426 w 30802"/>
                    <a:gd name="connsiteY8" fmla="*/ 28816 h 30852"/>
                    <a:gd name="connsiteX9" fmla="*/ 28817 w 30802"/>
                    <a:gd name="connsiteY9" fmla="*/ 15426 h 30852"/>
                    <a:gd name="connsiteX10" fmla="*/ 15426 w 30802"/>
                    <a:gd name="connsiteY10" fmla="*/ 2037 h 30852"/>
                    <a:gd name="connsiteX11" fmla="*/ 15426 w 30802"/>
                    <a:gd name="connsiteY11" fmla="*/ 2037 h 3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02" h="30852">
                      <a:moveTo>
                        <a:pt x="15426" y="30853"/>
                      </a:moveTo>
                      <a:cubicBezTo>
                        <a:pt x="6924" y="30853"/>
                        <a:pt x="0" y="23929"/>
                        <a:pt x="0" y="15426"/>
                      </a:cubicBezTo>
                      <a:cubicBezTo>
                        <a:pt x="0" y="6924"/>
                        <a:pt x="6924" y="0"/>
                        <a:pt x="15426" y="0"/>
                      </a:cubicBezTo>
                      <a:cubicBezTo>
                        <a:pt x="23929" y="0"/>
                        <a:pt x="30802" y="6924"/>
                        <a:pt x="30802" y="15426"/>
                      </a:cubicBezTo>
                      <a:cubicBezTo>
                        <a:pt x="30802" y="23929"/>
                        <a:pt x="23929" y="30853"/>
                        <a:pt x="15426" y="30853"/>
                      </a:cubicBezTo>
                      <a:lnTo>
                        <a:pt x="15426" y="30853"/>
                      </a:lnTo>
                      <a:close/>
                      <a:moveTo>
                        <a:pt x="15426" y="2037"/>
                      </a:moveTo>
                      <a:cubicBezTo>
                        <a:pt x="8044" y="2037"/>
                        <a:pt x="1986" y="8044"/>
                        <a:pt x="1986" y="15426"/>
                      </a:cubicBezTo>
                      <a:cubicBezTo>
                        <a:pt x="1986" y="22809"/>
                        <a:pt x="7993" y="28816"/>
                        <a:pt x="15426" y="28816"/>
                      </a:cubicBezTo>
                      <a:cubicBezTo>
                        <a:pt x="22809" y="28816"/>
                        <a:pt x="28817" y="22809"/>
                        <a:pt x="28817" y="15426"/>
                      </a:cubicBezTo>
                      <a:cubicBezTo>
                        <a:pt x="28817" y="8044"/>
                        <a:pt x="22809" y="2037"/>
                        <a:pt x="15426" y="2037"/>
                      </a:cubicBezTo>
                      <a:lnTo>
                        <a:pt x="15426" y="2037"/>
                      </a:lnTo>
                      <a:close/>
                    </a:path>
                  </a:pathLst>
                </a:custGeom>
                <a:solidFill>
                  <a:srgbClr val="FFFFFE"/>
                </a:solidFill>
                <a:ln w="5088"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AEE5D92-E241-C0A2-8A99-95B2332EDC25}"/>
                    </a:ext>
                  </a:extLst>
                </p:cNvPr>
                <p:cNvSpPr/>
                <p:nvPr/>
              </p:nvSpPr>
              <p:spPr>
                <a:xfrm>
                  <a:off x="10265278" y="6371914"/>
                  <a:ext cx="14102" cy="17717"/>
                </a:xfrm>
                <a:custGeom>
                  <a:avLst/>
                  <a:gdLst>
                    <a:gd name="connsiteX0" fmla="*/ 7281 w 14102"/>
                    <a:gd name="connsiteY0" fmla="*/ 10895 h 17717"/>
                    <a:gd name="connsiteX1" fmla="*/ 2342 w 14102"/>
                    <a:gd name="connsiteY1" fmla="*/ 10895 h 17717"/>
                    <a:gd name="connsiteX2" fmla="*/ 2342 w 14102"/>
                    <a:gd name="connsiteY2" fmla="*/ 17718 h 17717"/>
                    <a:gd name="connsiteX3" fmla="*/ 0 w 14102"/>
                    <a:gd name="connsiteY3" fmla="*/ 17718 h 17717"/>
                    <a:gd name="connsiteX4" fmla="*/ 0 w 14102"/>
                    <a:gd name="connsiteY4" fmla="*/ 0 h 17717"/>
                    <a:gd name="connsiteX5" fmla="*/ 7891 w 14102"/>
                    <a:gd name="connsiteY5" fmla="*/ 0 h 17717"/>
                    <a:gd name="connsiteX6" fmla="*/ 14103 w 14102"/>
                    <a:gd name="connsiteY6" fmla="*/ 5346 h 17717"/>
                    <a:gd name="connsiteX7" fmla="*/ 9826 w 14102"/>
                    <a:gd name="connsiteY7" fmla="*/ 10743 h 17717"/>
                    <a:gd name="connsiteX8" fmla="*/ 13848 w 14102"/>
                    <a:gd name="connsiteY8" fmla="*/ 17718 h 17717"/>
                    <a:gd name="connsiteX9" fmla="*/ 11303 w 14102"/>
                    <a:gd name="connsiteY9" fmla="*/ 17718 h 17717"/>
                    <a:gd name="connsiteX10" fmla="*/ 7281 w 14102"/>
                    <a:gd name="connsiteY10" fmla="*/ 10895 h 17717"/>
                    <a:gd name="connsiteX11" fmla="*/ 7841 w 14102"/>
                    <a:gd name="connsiteY11" fmla="*/ 8706 h 17717"/>
                    <a:gd name="connsiteX12" fmla="*/ 11659 w 14102"/>
                    <a:gd name="connsiteY12" fmla="*/ 5448 h 17717"/>
                    <a:gd name="connsiteX13" fmla="*/ 7790 w 14102"/>
                    <a:gd name="connsiteY13" fmla="*/ 2291 h 17717"/>
                    <a:gd name="connsiteX14" fmla="*/ 2393 w 14102"/>
                    <a:gd name="connsiteY14" fmla="*/ 2291 h 17717"/>
                    <a:gd name="connsiteX15" fmla="*/ 2393 w 14102"/>
                    <a:gd name="connsiteY15" fmla="*/ 8706 h 17717"/>
                    <a:gd name="connsiteX16" fmla="*/ 7841 w 14102"/>
                    <a:gd name="connsiteY16" fmla="*/ 8706 h 1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02" h="17717">
                      <a:moveTo>
                        <a:pt x="7281" y="10895"/>
                      </a:moveTo>
                      <a:lnTo>
                        <a:pt x="2342" y="10895"/>
                      </a:lnTo>
                      <a:lnTo>
                        <a:pt x="2342" y="17718"/>
                      </a:lnTo>
                      <a:lnTo>
                        <a:pt x="0" y="17718"/>
                      </a:lnTo>
                      <a:lnTo>
                        <a:pt x="0" y="0"/>
                      </a:lnTo>
                      <a:lnTo>
                        <a:pt x="7891" y="0"/>
                      </a:lnTo>
                      <a:cubicBezTo>
                        <a:pt x="12372" y="0"/>
                        <a:pt x="14103" y="1833"/>
                        <a:pt x="14103" y="5346"/>
                      </a:cubicBezTo>
                      <a:cubicBezTo>
                        <a:pt x="14103" y="8197"/>
                        <a:pt x="12881" y="10182"/>
                        <a:pt x="9826" y="10743"/>
                      </a:cubicBezTo>
                      <a:lnTo>
                        <a:pt x="13848" y="17718"/>
                      </a:lnTo>
                      <a:lnTo>
                        <a:pt x="11303" y="17718"/>
                      </a:lnTo>
                      <a:lnTo>
                        <a:pt x="7281" y="10895"/>
                      </a:lnTo>
                      <a:close/>
                      <a:moveTo>
                        <a:pt x="7841" y="8706"/>
                      </a:moveTo>
                      <a:cubicBezTo>
                        <a:pt x="10233" y="8706"/>
                        <a:pt x="11659" y="7993"/>
                        <a:pt x="11659" y="5448"/>
                      </a:cubicBezTo>
                      <a:cubicBezTo>
                        <a:pt x="11659" y="2902"/>
                        <a:pt x="10335" y="2291"/>
                        <a:pt x="7790" y="2291"/>
                      </a:cubicBezTo>
                      <a:lnTo>
                        <a:pt x="2393" y="2291"/>
                      </a:lnTo>
                      <a:lnTo>
                        <a:pt x="2393" y="8706"/>
                      </a:lnTo>
                      <a:lnTo>
                        <a:pt x="7841" y="8706"/>
                      </a:lnTo>
                      <a:close/>
                    </a:path>
                  </a:pathLst>
                </a:custGeom>
                <a:solidFill>
                  <a:srgbClr val="FFFFFE"/>
                </a:solidFill>
                <a:ln w="5088" cap="flat">
                  <a:noFill/>
                  <a:prstDash val="solid"/>
                  <a:miter/>
                </a:ln>
              </p:spPr>
              <p:txBody>
                <a:bodyPr rtlCol="0" anchor="ctr"/>
                <a:lstStyle/>
                <a:p>
                  <a:endParaRPr lang="en-US"/>
                </a:p>
              </p:txBody>
            </p:sp>
          </p:grpSp>
        </p:grpSp>
      </p:grpSp>
      <p:pic>
        <p:nvPicPr>
          <p:cNvPr id="83" name="Graphic 82">
            <a:extLst>
              <a:ext uri="{FF2B5EF4-FFF2-40B4-BE49-F238E27FC236}">
                <a16:creationId xmlns:a16="http://schemas.microsoft.com/office/drawing/2014/main" id="{27ADE4EF-343A-5B97-B5E3-183BA145C0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41258" y="5835056"/>
            <a:ext cx="850482" cy="742482"/>
          </a:xfrm>
          <a:prstGeom prst="rect">
            <a:avLst/>
          </a:prstGeom>
        </p:spPr>
      </p:pic>
      <p:cxnSp>
        <p:nvCxnSpPr>
          <p:cNvPr id="85" name="Straight Connector 84">
            <a:extLst>
              <a:ext uri="{FF2B5EF4-FFF2-40B4-BE49-F238E27FC236}">
                <a16:creationId xmlns:a16="http://schemas.microsoft.com/office/drawing/2014/main" id="{B16A4C37-6B47-5136-16A4-8EBAD77BD4C3}"/>
              </a:ext>
            </a:extLst>
          </p:cNvPr>
          <p:cNvCxnSpPr>
            <a:cxnSpLocks/>
          </p:cNvCxnSpPr>
          <p:nvPr userDrawn="1"/>
        </p:nvCxnSpPr>
        <p:spPr>
          <a:xfrm>
            <a:off x="9808420" y="5749536"/>
            <a:ext cx="0" cy="822302"/>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2983546"/>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55C978D-E069-14D9-64B4-2A6D3CB790B4}"/>
              </a:ext>
            </a:extLst>
          </p:cNvPr>
          <p:cNvPicPr>
            <a:picLocks noChangeAspect="1"/>
          </p:cNvPicPr>
          <p:nvPr userDrawn="1"/>
        </p:nvPicPr>
        <p:blipFill>
          <a:blip r:embed="rId2"/>
          <a:srcRect/>
          <a:stretch/>
        </p:blipFill>
        <p:spPr>
          <a:xfrm>
            <a:off x="0" y="0"/>
            <a:ext cx="12192000" cy="4015219"/>
          </a:xfrm>
          <a:prstGeom prst="rect">
            <a:avLst/>
          </a:prstGeom>
        </p:spPr>
      </p:pic>
      <p:grpSp>
        <p:nvGrpSpPr>
          <p:cNvPr id="8" name="Group 7">
            <a:extLst>
              <a:ext uri="{FF2B5EF4-FFF2-40B4-BE49-F238E27FC236}">
                <a16:creationId xmlns:a16="http://schemas.microsoft.com/office/drawing/2014/main" id="{BFD82E9F-CD19-10FC-2426-80B2F6DC7DAC}"/>
              </a:ext>
            </a:extLst>
          </p:cNvPr>
          <p:cNvGrpSpPr/>
          <p:nvPr userDrawn="1"/>
        </p:nvGrpSpPr>
        <p:grpSpPr>
          <a:xfrm>
            <a:off x="0" y="3695694"/>
            <a:ext cx="12192000" cy="3170257"/>
            <a:chOff x="0" y="3687743"/>
            <a:chExt cx="12192000" cy="3170257"/>
          </a:xfrm>
        </p:grpSpPr>
        <p:sp>
          <p:nvSpPr>
            <p:cNvPr id="9" name="Rectangle 8">
              <a:extLst>
                <a:ext uri="{FF2B5EF4-FFF2-40B4-BE49-F238E27FC236}">
                  <a16:creationId xmlns:a16="http://schemas.microsoft.com/office/drawing/2014/main" id="{06CC478C-350D-694A-35B7-343AF57D0DA6}"/>
                </a:ext>
              </a:extLst>
            </p:cNvPr>
            <p:cNvSpPr/>
            <p:nvPr userDrawn="1"/>
          </p:nvSpPr>
          <p:spPr>
            <a:xfrm>
              <a:off x="0" y="3687743"/>
              <a:ext cx="12192000" cy="3170257"/>
            </a:xfrm>
            <a:prstGeom prst="rect">
              <a:avLst/>
            </a:prstGeom>
            <a:solidFill>
              <a:srgbClr val="7CA631">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11E5BD-E242-32FA-899C-14CE442E8886}"/>
                </a:ext>
              </a:extLst>
            </p:cNvPr>
            <p:cNvSpPr/>
            <p:nvPr userDrawn="1"/>
          </p:nvSpPr>
          <p:spPr>
            <a:xfrm>
              <a:off x="0" y="3798276"/>
              <a:ext cx="12191999" cy="3059724"/>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Title 1">
            <a:extLst>
              <a:ext uri="{FF2B5EF4-FFF2-40B4-BE49-F238E27FC236}">
                <a16:creationId xmlns:a16="http://schemas.microsoft.com/office/drawing/2014/main" id="{866031FC-F32B-A17C-186A-69D627E7D985}"/>
              </a:ext>
            </a:extLst>
          </p:cNvPr>
          <p:cNvSpPr>
            <a:spLocks noGrp="1"/>
          </p:cNvSpPr>
          <p:nvPr>
            <p:ph type="ctrTitle" hasCustomPrompt="1"/>
          </p:nvPr>
        </p:nvSpPr>
        <p:spPr>
          <a:xfrm>
            <a:off x="847724" y="3808904"/>
            <a:ext cx="10789920" cy="1223585"/>
          </a:xfrm>
        </p:spPr>
        <p:txBody>
          <a:bodyPr anchor="b" anchorCtr="0">
            <a:noAutofit/>
          </a:bodyPr>
          <a:lstStyle>
            <a:lvl1pPr algn="l">
              <a:lnSpc>
                <a:spcPct val="95000"/>
              </a:lnSpc>
              <a:defRPr sz="4800" cap="none" baseline="0">
                <a:solidFill>
                  <a:srgbClr val="FFFFFE"/>
                </a:solidFill>
              </a:defRPr>
            </a:lvl1pPr>
          </a:lstStyle>
          <a:p>
            <a:r>
              <a:rPr lang="en-US"/>
              <a:t>Click to Edit Master Title Style</a:t>
            </a:r>
          </a:p>
        </p:txBody>
      </p:sp>
      <p:sp>
        <p:nvSpPr>
          <p:cNvPr id="20" name="Subtitle 2">
            <a:extLst>
              <a:ext uri="{FF2B5EF4-FFF2-40B4-BE49-F238E27FC236}">
                <a16:creationId xmlns:a16="http://schemas.microsoft.com/office/drawing/2014/main" id="{EAFAD90D-3BB0-8175-1916-26854D70F953}"/>
              </a:ext>
            </a:extLst>
          </p:cNvPr>
          <p:cNvSpPr>
            <a:spLocks noGrp="1"/>
          </p:cNvSpPr>
          <p:nvPr>
            <p:ph type="subTitle" idx="1" hasCustomPrompt="1"/>
          </p:nvPr>
        </p:nvSpPr>
        <p:spPr>
          <a:xfrm>
            <a:off x="847724" y="5483882"/>
            <a:ext cx="5943600" cy="365760"/>
          </a:xfrm>
        </p:spPr>
        <p:txBody>
          <a:bodyPr>
            <a:noAutofit/>
          </a:bodyPr>
          <a:lstStyle>
            <a:lvl1pPr marL="0" indent="0" algn="l">
              <a:buNone/>
              <a:defRPr sz="2400" b="1">
                <a:solidFill>
                  <a:srgbClr val="FFFFF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21" name="Text Placeholder 12">
            <a:extLst>
              <a:ext uri="{FF2B5EF4-FFF2-40B4-BE49-F238E27FC236}">
                <a16:creationId xmlns:a16="http://schemas.microsoft.com/office/drawing/2014/main" id="{50BFDAFA-55E2-4309-6CFA-F6137F022B90}"/>
              </a:ext>
            </a:extLst>
          </p:cNvPr>
          <p:cNvSpPr>
            <a:spLocks noGrp="1"/>
          </p:cNvSpPr>
          <p:nvPr>
            <p:ph type="body" sz="quarter" idx="10" hasCustomPrompt="1"/>
          </p:nvPr>
        </p:nvSpPr>
        <p:spPr>
          <a:xfrm>
            <a:off x="847725" y="5882893"/>
            <a:ext cx="5943600" cy="365760"/>
          </a:xfrm>
        </p:spPr>
        <p:txBody>
          <a:bodyPr>
            <a:noAutofit/>
          </a:bodyPr>
          <a:lstStyle>
            <a:lvl1pPr marL="0" indent="0">
              <a:buNone/>
              <a:defRPr sz="2000">
                <a:solidFill>
                  <a:srgbClr val="FFFFFE"/>
                </a:solidFill>
              </a:defRPr>
            </a:lvl1pPr>
            <a:lvl2pPr marL="346075" indent="0">
              <a:buNone/>
              <a:defRPr/>
            </a:lvl2pPr>
          </a:lstStyle>
          <a:p>
            <a:pPr lvl="0"/>
            <a:r>
              <a:rPr lang="en-US"/>
              <a:t>Click to edit presenter’s position</a:t>
            </a:r>
          </a:p>
        </p:txBody>
      </p:sp>
      <p:grpSp>
        <p:nvGrpSpPr>
          <p:cNvPr id="6" name="Graphic 21">
            <a:extLst>
              <a:ext uri="{FF2B5EF4-FFF2-40B4-BE49-F238E27FC236}">
                <a16:creationId xmlns:a16="http://schemas.microsoft.com/office/drawing/2014/main" id="{2849DFB9-099E-3157-AD56-754397786AA5}"/>
              </a:ext>
            </a:extLst>
          </p:cNvPr>
          <p:cNvGrpSpPr/>
          <p:nvPr/>
        </p:nvGrpSpPr>
        <p:grpSpPr>
          <a:xfrm>
            <a:off x="10136251" y="5973203"/>
            <a:ext cx="1488924" cy="406822"/>
            <a:chOff x="9049996" y="6145201"/>
            <a:chExt cx="1271540" cy="347426"/>
          </a:xfrm>
          <a:solidFill>
            <a:srgbClr val="FFFFFE"/>
          </a:solidFill>
        </p:grpSpPr>
        <p:grpSp>
          <p:nvGrpSpPr>
            <p:cNvPr id="7" name="Graphic 21">
              <a:extLst>
                <a:ext uri="{FF2B5EF4-FFF2-40B4-BE49-F238E27FC236}">
                  <a16:creationId xmlns:a16="http://schemas.microsoft.com/office/drawing/2014/main" id="{A11A50E0-5B27-037C-5465-D08B0906B15F}"/>
                </a:ext>
              </a:extLst>
            </p:cNvPr>
            <p:cNvGrpSpPr/>
            <p:nvPr/>
          </p:nvGrpSpPr>
          <p:grpSpPr>
            <a:xfrm>
              <a:off x="9673674" y="6423132"/>
              <a:ext cx="555048" cy="69495"/>
              <a:chOff x="9673674" y="6423132"/>
              <a:chExt cx="555048" cy="69495"/>
            </a:xfrm>
            <a:solidFill>
              <a:srgbClr val="FFFFFE"/>
            </a:solidFill>
          </p:grpSpPr>
          <p:sp>
            <p:nvSpPr>
              <p:cNvPr id="12" name="Freeform: Shape 11">
                <a:extLst>
                  <a:ext uri="{FF2B5EF4-FFF2-40B4-BE49-F238E27FC236}">
                    <a16:creationId xmlns:a16="http://schemas.microsoft.com/office/drawing/2014/main" id="{0423676D-FC81-0C5B-63B0-D607E00744AB}"/>
                  </a:ext>
                </a:extLst>
              </p:cNvPr>
              <p:cNvSpPr/>
              <p:nvPr/>
            </p:nvSpPr>
            <p:spPr>
              <a:xfrm>
                <a:off x="9673674" y="6424252"/>
                <a:ext cx="54934" cy="67306"/>
              </a:xfrm>
              <a:custGeom>
                <a:avLst/>
                <a:gdLst>
                  <a:gd name="connsiteX0" fmla="*/ 0 w 54934"/>
                  <a:gd name="connsiteY0" fmla="*/ 0 h 67306"/>
                  <a:gd name="connsiteX1" fmla="*/ 7790 w 54934"/>
                  <a:gd name="connsiteY1" fmla="*/ 0 h 67306"/>
                  <a:gd name="connsiteX2" fmla="*/ 48010 w 54934"/>
                  <a:gd name="connsiteY2" fmla="*/ 55495 h 67306"/>
                  <a:gd name="connsiteX3" fmla="*/ 48010 w 54934"/>
                  <a:gd name="connsiteY3" fmla="*/ 0 h 67306"/>
                  <a:gd name="connsiteX4" fmla="*/ 54935 w 54934"/>
                  <a:gd name="connsiteY4" fmla="*/ 0 h 67306"/>
                  <a:gd name="connsiteX5" fmla="*/ 54935 w 54934"/>
                  <a:gd name="connsiteY5" fmla="*/ 67306 h 67306"/>
                  <a:gd name="connsiteX6" fmla="*/ 48418 w 54934"/>
                  <a:gd name="connsiteY6" fmla="*/ 67306 h 67306"/>
                  <a:gd name="connsiteX7" fmla="*/ 6924 w 54934"/>
                  <a:gd name="connsiteY7" fmla="*/ 10182 h 67306"/>
                  <a:gd name="connsiteX8" fmla="*/ 6924 w 54934"/>
                  <a:gd name="connsiteY8" fmla="*/ 67306 h 67306"/>
                  <a:gd name="connsiteX9" fmla="*/ 0 w 54934"/>
                  <a:gd name="connsiteY9" fmla="*/ 67306 h 67306"/>
                  <a:gd name="connsiteX10" fmla="*/ 0 w 54934"/>
                  <a:gd name="connsiteY10" fmla="*/ 0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934" h="67306">
                    <a:moveTo>
                      <a:pt x="0" y="0"/>
                    </a:moveTo>
                    <a:lnTo>
                      <a:pt x="7790" y="0"/>
                    </a:lnTo>
                    <a:lnTo>
                      <a:pt x="48010" y="55495"/>
                    </a:lnTo>
                    <a:lnTo>
                      <a:pt x="48010" y="0"/>
                    </a:lnTo>
                    <a:lnTo>
                      <a:pt x="54935" y="0"/>
                    </a:lnTo>
                    <a:lnTo>
                      <a:pt x="54935" y="67306"/>
                    </a:lnTo>
                    <a:lnTo>
                      <a:pt x="48418" y="67306"/>
                    </a:lnTo>
                    <a:lnTo>
                      <a:pt x="6924" y="10182"/>
                    </a:lnTo>
                    <a:lnTo>
                      <a:pt x="6924" y="67306"/>
                    </a:lnTo>
                    <a:lnTo>
                      <a:pt x="0" y="67306"/>
                    </a:lnTo>
                    <a:lnTo>
                      <a:pt x="0" y="0"/>
                    </a:lnTo>
                    <a:close/>
                  </a:path>
                </a:pathLst>
              </a:custGeom>
              <a:solidFill>
                <a:srgbClr val="FFFFFE"/>
              </a:solidFill>
              <a:ln w="508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4D3950E-17D8-1931-9916-3E94D79E3BD4}"/>
                  </a:ext>
                </a:extLst>
              </p:cNvPr>
              <p:cNvSpPr/>
              <p:nvPr/>
            </p:nvSpPr>
            <p:spPr>
              <a:xfrm>
                <a:off x="9745766" y="6424252"/>
                <a:ext cx="44853" cy="67306"/>
              </a:xfrm>
              <a:custGeom>
                <a:avLst/>
                <a:gdLst>
                  <a:gd name="connsiteX0" fmla="*/ 0 w 44853"/>
                  <a:gd name="connsiteY0" fmla="*/ 0 h 67306"/>
                  <a:gd name="connsiteX1" fmla="*/ 44498 w 44853"/>
                  <a:gd name="connsiteY1" fmla="*/ 0 h 67306"/>
                  <a:gd name="connsiteX2" fmla="*/ 44498 w 44853"/>
                  <a:gd name="connsiteY2" fmla="*/ 6822 h 67306"/>
                  <a:gd name="connsiteX3" fmla="*/ 7179 w 44853"/>
                  <a:gd name="connsiteY3" fmla="*/ 6822 h 67306"/>
                  <a:gd name="connsiteX4" fmla="*/ 7179 w 44853"/>
                  <a:gd name="connsiteY4" fmla="*/ 29071 h 67306"/>
                  <a:gd name="connsiteX5" fmla="*/ 43581 w 44853"/>
                  <a:gd name="connsiteY5" fmla="*/ 29071 h 67306"/>
                  <a:gd name="connsiteX6" fmla="*/ 43581 w 44853"/>
                  <a:gd name="connsiteY6" fmla="*/ 35791 h 67306"/>
                  <a:gd name="connsiteX7" fmla="*/ 7179 w 44853"/>
                  <a:gd name="connsiteY7" fmla="*/ 35791 h 67306"/>
                  <a:gd name="connsiteX8" fmla="*/ 7179 w 44853"/>
                  <a:gd name="connsiteY8" fmla="*/ 60789 h 67306"/>
                  <a:gd name="connsiteX9" fmla="*/ 44854 w 44853"/>
                  <a:gd name="connsiteY9" fmla="*/ 60789 h 67306"/>
                  <a:gd name="connsiteX10" fmla="*/ 44854 w 44853"/>
                  <a:gd name="connsiteY10" fmla="*/ 67306 h 67306"/>
                  <a:gd name="connsiteX11" fmla="*/ 0 w 44853"/>
                  <a:gd name="connsiteY11" fmla="*/ 67306 h 67306"/>
                  <a:gd name="connsiteX12" fmla="*/ 0 w 44853"/>
                  <a:gd name="connsiteY12" fmla="*/ 0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53" h="67306">
                    <a:moveTo>
                      <a:pt x="0" y="0"/>
                    </a:moveTo>
                    <a:lnTo>
                      <a:pt x="44498" y="0"/>
                    </a:lnTo>
                    <a:lnTo>
                      <a:pt x="44498" y="6822"/>
                    </a:lnTo>
                    <a:lnTo>
                      <a:pt x="7179" y="6822"/>
                    </a:lnTo>
                    <a:lnTo>
                      <a:pt x="7179" y="29071"/>
                    </a:lnTo>
                    <a:lnTo>
                      <a:pt x="43581" y="29071"/>
                    </a:lnTo>
                    <a:lnTo>
                      <a:pt x="43581" y="35791"/>
                    </a:lnTo>
                    <a:lnTo>
                      <a:pt x="7179" y="35791"/>
                    </a:lnTo>
                    <a:lnTo>
                      <a:pt x="7179" y="60789"/>
                    </a:lnTo>
                    <a:lnTo>
                      <a:pt x="44854" y="60789"/>
                    </a:lnTo>
                    <a:lnTo>
                      <a:pt x="44854" y="67306"/>
                    </a:lnTo>
                    <a:lnTo>
                      <a:pt x="0" y="67306"/>
                    </a:lnTo>
                    <a:lnTo>
                      <a:pt x="0" y="0"/>
                    </a:lnTo>
                    <a:close/>
                  </a:path>
                </a:pathLst>
              </a:custGeom>
              <a:solidFill>
                <a:srgbClr val="FFFFFE"/>
              </a:solidFill>
              <a:ln w="508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76DF1F0-D703-818D-8542-E5AE0CF3C12E}"/>
                  </a:ext>
                </a:extLst>
              </p:cNvPr>
              <p:cNvSpPr/>
              <p:nvPr/>
            </p:nvSpPr>
            <p:spPr>
              <a:xfrm>
                <a:off x="9801108" y="6424252"/>
                <a:ext cx="57683" cy="67306"/>
              </a:xfrm>
              <a:custGeom>
                <a:avLst/>
                <a:gdLst>
                  <a:gd name="connsiteX0" fmla="*/ 25253 w 57683"/>
                  <a:gd name="connsiteY0" fmla="*/ 6822 h 67306"/>
                  <a:gd name="connsiteX1" fmla="*/ 0 w 57683"/>
                  <a:gd name="connsiteY1" fmla="*/ 6822 h 67306"/>
                  <a:gd name="connsiteX2" fmla="*/ 0 w 57683"/>
                  <a:gd name="connsiteY2" fmla="*/ 0 h 67306"/>
                  <a:gd name="connsiteX3" fmla="*/ 57684 w 57683"/>
                  <a:gd name="connsiteY3" fmla="*/ 0 h 67306"/>
                  <a:gd name="connsiteX4" fmla="*/ 57684 w 57683"/>
                  <a:gd name="connsiteY4" fmla="*/ 6822 h 67306"/>
                  <a:gd name="connsiteX5" fmla="*/ 32431 w 57683"/>
                  <a:gd name="connsiteY5" fmla="*/ 6822 h 67306"/>
                  <a:gd name="connsiteX6" fmla="*/ 32431 w 57683"/>
                  <a:gd name="connsiteY6" fmla="*/ 67306 h 67306"/>
                  <a:gd name="connsiteX7" fmla="*/ 25253 w 57683"/>
                  <a:gd name="connsiteY7" fmla="*/ 67306 h 67306"/>
                  <a:gd name="connsiteX8" fmla="*/ 25253 w 57683"/>
                  <a:gd name="connsiteY8" fmla="*/ 6822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83" h="67306">
                    <a:moveTo>
                      <a:pt x="25253" y="6822"/>
                    </a:moveTo>
                    <a:lnTo>
                      <a:pt x="0" y="6822"/>
                    </a:lnTo>
                    <a:lnTo>
                      <a:pt x="0" y="0"/>
                    </a:lnTo>
                    <a:lnTo>
                      <a:pt x="57684" y="0"/>
                    </a:lnTo>
                    <a:lnTo>
                      <a:pt x="57684" y="6822"/>
                    </a:lnTo>
                    <a:lnTo>
                      <a:pt x="32431" y="6822"/>
                    </a:lnTo>
                    <a:lnTo>
                      <a:pt x="32431" y="67306"/>
                    </a:lnTo>
                    <a:lnTo>
                      <a:pt x="25253" y="67306"/>
                    </a:lnTo>
                    <a:lnTo>
                      <a:pt x="25253" y="6822"/>
                    </a:lnTo>
                    <a:close/>
                  </a:path>
                </a:pathLst>
              </a:custGeom>
              <a:solidFill>
                <a:srgbClr val="FFFFFE"/>
              </a:solidFill>
              <a:ln w="508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F2BCB6F-7646-4419-1319-3A59B8E12150}"/>
                  </a:ext>
                </a:extLst>
              </p:cNvPr>
              <p:cNvSpPr/>
              <p:nvPr/>
            </p:nvSpPr>
            <p:spPr>
              <a:xfrm>
                <a:off x="9867498" y="6424252"/>
                <a:ext cx="92049" cy="67764"/>
              </a:xfrm>
              <a:custGeom>
                <a:avLst/>
                <a:gdLst>
                  <a:gd name="connsiteX0" fmla="*/ 0 w 92049"/>
                  <a:gd name="connsiteY0" fmla="*/ 0 h 67764"/>
                  <a:gd name="connsiteX1" fmla="*/ 7382 w 92049"/>
                  <a:gd name="connsiteY1" fmla="*/ 0 h 67764"/>
                  <a:gd name="connsiteX2" fmla="*/ 25100 w 92049"/>
                  <a:gd name="connsiteY2" fmla="*/ 55647 h 67764"/>
                  <a:gd name="connsiteX3" fmla="*/ 43174 w 92049"/>
                  <a:gd name="connsiteY3" fmla="*/ 0 h 67764"/>
                  <a:gd name="connsiteX4" fmla="*/ 49334 w 92049"/>
                  <a:gd name="connsiteY4" fmla="*/ 0 h 67764"/>
                  <a:gd name="connsiteX5" fmla="*/ 67306 w 92049"/>
                  <a:gd name="connsiteY5" fmla="*/ 55647 h 67764"/>
                  <a:gd name="connsiteX6" fmla="*/ 85126 w 92049"/>
                  <a:gd name="connsiteY6" fmla="*/ 0 h 67764"/>
                  <a:gd name="connsiteX7" fmla="*/ 92050 w 92049"/>
                  <a:gd name="connsiteY7" fmla="*/ 0 h 67764"/>
                  <a:gd name="connsiteX8" fmla="*/ 70412 w 92049"/>
                  <a:gd name="connsiteY8" fmla="*/ 67764 h 67764"/>
                  <a:gd name="connsiteX9" fmla="*/ 64252 w 92049"/>
                  <a:gd name="connsiteY9" fmla="*/ 67764 h 67764"/>
                  <a:gd name="connsiteX10" fmla="*/ 46076 w 92049"/>
                  <a:gd name="connsiteY10" fmla="*/ 11710 h 67764"/>
                  <a:gd name="connsiteX11" fmla="*/ 28002 w 92049"/>
                  <a:gd name="connsiteY11" fmla="*/ 67764 h 67764"/>
                  <a:gd name="connsiteX12" fmla="*/ 21740 w 92049"/>
                  <a:gd name="connsiteY12" fmla="*/ 67764 h 67764"/>
                  <a:gd name="connsiteX13" fmla="*/ 0 w 92049"/>
                  <a:gd name="connsiteY13" fmla="*/ 0 h 6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049" h="67764">
                    <a:moveTo>
                      <a:pt x="0" y="0"/>
                    </a:moveTo>
                    <a:lnTo>
                      <a:pt x="7382" y="0"/>
                    </a:lnTo>
                    <a:lnTo>
                      <a:pt x="25100" y="55647"/>
                    </a:lnTo>
                    <a:lnTo>
                      <a:pt x="43174" y="0"/>
                    </a:lnTo>
                    <a:lnTo>
                      <a:pt x="49334" y="0"/>
                    </a:lnTo>
                    <a:lnTo>
                      <a:pt x="67306" y="55647"/>
                    </a:lnTo>
                    <a:lnTo>
                      <a:pt x="85126" y="0"/>
                    </a:lnTo>
                    <a:lnTo>
                      <a:pt x="92050" y="0"/>
                    </a:lnTo>
                    <a:lnTo>
                      <a:pt x="70412" y="67764"/>
                    </a:lnTo>
                    <a:lnTo>
                      <a:pt x="64252" y="67764"/>
                    </a:lnTo>
                    <a:lnTo>
                      <a:pt x="46076" y="11710"/>
                    </a:lnTo>
                    <a:lnTo>
                      <a:pt x="28002" y="67764"/>
                    </a:lnTo>
                    <a:lnTo>
                      <a:pt x="21740" y="67764"/>
                    </a:lnTo>
                    <a:lnTo>
                      <a:pt x="0" y="0"/>
                    </a:lnTo>
                    <a:close/>
                  </a:path>
                </a:pathLst>
              </a:custGeom>
              <a:solidFill>
                <a:srgbClr val="FFFFFE"/>
              </a:solidFill>
              <a:ln w="508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0F062EFA-4C57-70CC-E5F6-BE1A2593DA1A}"/>
                  </a:ext>
                </a:extLst>
              </p:cNvPr>
              <p:cNvSpPr/>
              <p:nvPr/>
            </p:nvSpPr>
            <p:spPr>
              <a:xfrm>
                <a:off x="9965963" y="6423183"/>
                <a:ext cx="67764" cy="69444"/>
              </a:xfrm>
              <a:custGeom>
                <a:avLst/>
                <a:gdLst>
                  <a:gd name="connsiteX0" fmla="*/ 0 w 67764"/>
                  <a:gd name="connsiteY0" fmla="*/ 34671 h 69444"/>
                  <a:gd name="connsiteX1" fmla="*/ 33806 w 67764"/>
                  <a:gd name="connsiteY1" fmla="*/ 0 h 69444"/>
                  <a:gd name="connsiteX2" fmla="*/ 67765 w 67764"/>
                  <a:gd name="connsiteY2" fmla="*/ 34671 h 69444"/>
                  <a:gd name="connsiteX3" fmla="*/ 33806 w 67764"/>
                  <a:gd name="connsiteY3" fmla="*/ 69445 h 69444"/>
                  <a:gd name="connsiteX4" fmla="*/ 0 w 67764"/>
                  <a:gd name="connsiteY4" fmla="*/ 34671 h 69444"/>
                  <a:gd name="connsiteX5" fmla="*/ 60535 w 67764"/>
                  <a:gd name="connsiteY5" fmla="*/ 34773 h 69444"/>
                  <a:gd name="connsiteX6" fmla="*/ 33755 w 67764"/>
                  <a:gd name="connsiteY6" fmla="*/ 6822 h 69444"/>
                  <a:gd name="connsiteX7" fmla="*/ 7128 w 67764"/>
                  <a:gd name="connsiteY7" fmla="*/ 34773 h 69444"/>
                  <a:gd name="connsiteX8" fmla="*/ 33755 w 67764"/>
                  <a:gd name="connsiteY8" fmla="*/ 62826 h 69444"/>
                  <a:gd name="connsiteX9" fmla="*/ 60535 w 67764"/>
                  <a:gd name="connsiteY9" fmla="*/ 34773 h 6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64" h="69444">
                    <a:moveTo>
                      <a:pt x="0" y="34671"/>
                    </a:moveTo>
                    <a:cubicBezTo>
                      <a:pt x="0" y="10692"/>
                      <a:pt x="12270" y="0"/>
                      <a:pt x="33806" y="0"/>
                    </a:cubicBezTo>
                    <a:cubicBezTo>
                      <a:pt x="55444" y="0"/>
                      <a:pt x="67765" y="10743"/>
                      <a:pt x="67765" y="34671"/>
                    </a:cubicBezTo>
                    <a:cubicBezTo>
                      <a:pt x="67765" y="58753"/>
                      <a:pt x="55393" y="69445"/>
                      <a:pt x="33806" y="69445"/>
                    </a:cubicBezTo>
                    <a:cubicBezTo>
                      <a:pt x="12219" y="69495"/>
                      <a:pt x="0" y="58753"/>
                      <a:pt x="0" y="34671"/>
                    </a:cubicBezTo>
                    <a:close/>
                    <a:moveTo>
                      <a:pt x="60535" y="34773"/>
                    </a:moveTo>
                    <a:cubicBezTo>
                      <a:pt x="60535" y="16597"/>
                      <a:pt x="52083" y="6822"/>
                      <a:pt x="33755" y="6822"/>
                    </a:cubicBezTo>
                    <a:cubicBezTo>
                      <a:pt x="15477" y="6822"/>
                      <a:pt x="7128" y="16648"/>
                      <a:pt x="7128" y="34773"/>
                    </a:cubicBezTo>
                    <a:cubicBezTo>
                      <a:pt x="7128" y="53051"/>
                      <a:pt x="15477" y="62826"/>
                      <a:pt x="33755" y="62826"/>
                    </a:cubicBezTo>
                    <a:cubicBezTo>
                      <a:pt x="52134" y="62826"/>
                      <a:pt x="60535" y="53051"/>
                      <a:pt x="60535" y="34773"/>
                    </a:cubicBezTo>
                    <a:close/>
                  </a:path>
                </a:pathLst>
              </a:custGeom>
              <a:solidFill>
                <a:srgbClr val="FFFFFE"/>
              </a:solidFill>
              <a:ln w="508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798E8AE-4EB2-5616-DDD8-9F23FFA3F918}"/>
                  </a:ext>
                </a:extLst>
              </p:cNvPr>
              <p:cNvSpPr/>
              <p:nvPr/>
            </p:nvSpPr>
            <p:spPr>
              <a:xfrm>
                <a:off x="10048339" y="6424252"/>
                <a:ext cx="51778" cy="67306"/>
              </a:xfrm>
              <a:custGeom>
                <a:avLst/>
                <a:gdLst>
                  <a:gd name="connsiteX0" fmla="*/ 27136 w 51778"/>
                  <a:gd name="connsiteY0" fmla="*/ 39864 h 67306"/>
                  <a:gd name="connsiteX1" fmla="*/ 6975 w 51778"/>
                  <a:gd name="connsiteY1" fmla="*/ 39864 h 67306"/>
                  <a:gd name="connsiteX2" fmla="*/ 6975 w 51778"/>
                  <a:gd name="connsiteY2" fmla="*/ 67306 h 67306"/>
                  <a:gd name="connsiteX3" fmla="*/ 0 w 51778"/>
                  <a:gd name="connsiteY3" fmla="*/ 67306 h 67306"/>
                  <a:gd name="connsiteX4" fmla="*/ 0 w 51778"/>
                  <a:gd name="connsiteY4" fmla="*/ 0 h 67306"/>
                  <a:gd name="connsiteX5" fmla="*/ 29071 w 51778"/>
                  <a:gd name="connsiteY5" fmla="*/ 0 h 67306"/>
                  <a:gd name="connsiteX6" fmla="*/ 51778 w 51778"/>
                  <a:gd name="connsiteY6" fmla="*/ 19601 h 67306"/>
                  <a:gd name="connsiteX7" fmla="*/ 34519 w 51778"/>
                  <a:gd name="connsiteY7" fmla="*/ 39559 h 67306"/>
                  <a:gd name="connsiteX8" fmla="*/ 50760 w 51778"/>
                  <a:gd name="connsiteY8" fmla="*/ 67255 h 67306"/>
                  <a:gd name="connsiteX9" fmla="*/ 43123 w 51778"/>
                  <a:gd name="connsiteY9" fmla="*/ 67255 h 67306"/>
                  <a:gd name="connsiteX10" fmla="*/ 27136 w 51778"/>
                  <a:gd name="connsiteY10" fmla="*/ 39864 h 67306"/>
                  <a:gd name="connsiteX11" fmla="*/ 29122 w 51778"/>
                  <a:gd name="connsiteY11" fmla="*/ 33348 h 67306"/>
                  <a:gd name="connsiteX12" fmla="*/ 44548 w 51778"/>
                  <a:gd name="connsiteY12" fmla="*/ 19805 h 67306"/>
                  <a:gd name="connsiteX13" fmla="*/ 28817 w 51778"/>
                  <a:gd name="connsiteY13" fmla="*/ 6619 h 67306"/>
                  <a:gd name="connsiteX14" fmla="*/ 6924 w 51778"/>
                  <a:gd name="connsiteY14" fmla="*/ 6619 h 67306"/>
                  <a:gd name="connsiteX15" fmla="*/ 6924 w 51778"/>
                  <a:gd name="connsiteY15" fmla="*/ 33297 h 67306"/>
                  <a:gd name="connsiteX16" fmla="*/ 29122 w 51778"/>
                  <a:gd name="connsiteY16" fmla="*/ 33297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78" h="67306">
                    <a:moveTo>
                      <a:pt x="27136" y="39864"/>
                    </a:moveTo>
                    <a:lnTo>
                      <a:pt x="6975" y="39864"/>
                    </a:lnTo>
                    <a:lnTo>
                      <a:pt x="6975" y="67306"/>
                    </a:lnTo>
                    <a:lnTo>
                      <a:pt x="0" y="67306"/>
                    </a:lnTo>
                    <a:lnTo>
                      <a:pt x="0" y="0"/>
                    </a:lnTo>
                    <a:lnTo>
                      <a:pt x="29071" y="0"/>
                    </a:lnTo>
                    <a:cubicBezTo>
                      <a:pt x="44701" y="0"/>
                      <a:pt x="51778" y="6262"/>
                      <a:pt x="51778" y="19601"/>
                    </a:cubicBezTo>
                    <a:cubicBezTo>
                      <a:pt x="51778" y="31209"/>
                      <a:pt x="46229" y="38032"/>
                      <a:pt x="34519" y="39559"/>
                    </a:cubicBezTo>
                    <a:lnTo>
                      <a:pt x="50760" y="67255"/>
                    </a:lnTo>
                    <a:lnTo>
                      <a:pt x="43123" y="67255"/>
                    </a:lnTo>
                    <a:lnTo>
                      <a:pt x="27136" y="39864"/>
                    </a:lnTo>
                    <a:close/>
                    <a:moveTo>
                      <a:pt x="29122" y="33348"/>
                    </a:moveTo>
                    <a:cubicBezTo>
                      <a:pt x="38643" y="33348"/>
                      <a:pt x="44548" y="30446"/>
                      <a:pt x="44548" y="19805"/>
                    </a:cubicBezTo>
                    <a:cubicBezTo>
                      <a:pt x="44548" y="9368"/>
                      <a:pt x="38846" y="6619"/>
                      <a:pt x="28817" y="6619"/>
                    </a:cubicBezTo>
                    <a:lnTo>
                      <a:pt x="6924" y="6619"/>
                    </a:lnTo>
                    <a:lnTo>
                      <a:pt x="6924" y="33297"/>
                    </a:lnTo>
                    <a:lnTo>
                      <a:pt x="29122" y="33297"/>
                    </a:lnTo>
                    <a:close/>
                  </a:path>
                </a:pathLst>
              </a:custGeom>
              <a:solidFill>
                <a:srgbClr val="FFFFFE"/>
              </a:solidFill>
              <a:ln w="508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7A0319F-A6A3-EB5C-F3FA-1F7CAB2A610E}"/>
                  </a:ext>
                </a:extLst>
              </p:cNvPr>
              <p:cNvSpPr/>
              <p:nvPr/>
            </p:nvSpPr>
            <p:spPr>
              <a:xfrm>
                <a:off x="10115391" y="6424252"/>
                <a:ext cx="52592" cy="67306"/>
              </a:xfrm>
              <a:custGeom>
                <a:avLst/>
                <a:gdLst>
                  <a:gd name="connsiteX0" fmla="*/ 20416 w 52592"/>
                  <a:gd name="connsiteY0" fmla="*/ 31617 h 67306"/>
                  <a:gd name="connsiteX1" fmla="*/ 6975 w 52592"/>
                  <a:gd name="connsiteY1" fmla="*/ 46330 h 67306"/>
                  <a:gd name="connsiteX2" fmla="*/ 6975 w 52592"/>
                  <a:gd name="connsiteY2" fmla="*/ 67306 h 67306"/>
                  <a:gd name="connsiteX3" fmla="*/ 0 w 52592"/>
                  <a:gd name="connsiteY3" fmla="*/ 67306 h 67306"/>
                  <a:gd name="connsiteX4" fmla="*/ 0 w 52592"/>
                  <a:gd name="connsiteY4" fmla="*/ 0 h 67306"/>
                  <a:gd name="connsiteX5" fmla="*/ 6975 w 52592"/>
                  <a:gd name="connsiteY5" fmla="*/ 0 h 67306"/>
                  <a:gd name="connsiteX6" fmla="*/ 6975 w 52592"/>
                  <a:gd name="connsiteY6" fmla="*/ 37166 h 67306"/>
                  <a:gd name="connsiteX7" fmla="*/ 41036 w 52592"/>
                  <a:gd name="connsiteY7" fmla="*/ 0 h 67306"/>
                  <a:gd name="connsiteX8" fmla="*/ 49283 w 52592"/>
                  <a:gd name="connsiteY8" fmla="*/ 0 h 67306"/>
                  <a:gd name="connsiteX9" fmla="*/ 25151 w 52592"/>
                  <a:gd name="connsiteY9" fmla="*/ 26424 h 67306"/>
                  <a:gd name="connsiteX10" fmla="*/ 52593 w 52592"/>
                  <a:gd name="connsiteY10" fmla="*/ 67306 h 67306"/>
                  <a:gd name="connsiteX11" fmla="*/ 44498 w 52592"/>
                  <a:gd name="connsiteY11" fmla="*/ 67306 h 67306"/>
                  <a:gd name="connsiteX12" fmla="*/ 20416 w 52592"/>
                  <a:gd name="connsiteY12" fmla="*/ 31617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592" h="67306">
                    <a:moveTo>
                      <a:pt x="20416" y="31617"/>
                    </a:moveTo>
                    <a:lnTo>
                      <a:pt x="6975" y="46330"/>
                    </a:lnTo>
                    <a:lnTo>
                      <a:pt x="6975" y="67306"/>
                    </a:lnTo>
                    <a:lnTo>
                      <a:pt x="0" y="67306"/>
                    </a:lnTo>
                    <a:lnTo>
                      <a:pt x="0" y="0"/>
                    </a:lnTo>
                    <a:lnTo>
                      <a:pt x="6975" y="0"/>
                    </a:lnTo>
                    <a:lnTo>
                      <a:pt x="6975" y="37166"/>
                    </a:lnTo>
                    <a:lnTo>
                      <a:pt x="41036" y="0"/>
                    </a:lnTo>
                    <a:lnTo>
                      <a:pt x="49283" y="0"/>
                    </a:lnTo>
                    <a:lnTo>
                      <a:pt x="25151" y="26424"/>
                    </a:lnTo>
                    <a:lnTo>
                      <a:pt x="52593" y="67306"/>
                    </a:lnTo>
                    <a:lnTo>
                      <a:pt x="44498" y="67306"/>
                    </a:lnTo>
                    <a:lnTo>
                      <a:pt x="20416" y="31617"/>
                    </a:lnTo>
                    <a:close/>
                  </a:path>
                </a:pathLst>
              </a:custGeom>
              <a:solidFill>
                <a:srgbClr val="FFFFFE"/>
              </a:solidFill>
              <a:ln w="508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B99ED19-5A28-FC78-20F0-3E9CE82C41FD}"/>
                  </a:ext>
                </a:extLst>
              </p:cNvPr>
              <p:cNvSpPr/>
              <p:nvPr/>
            </p:nvSpPr>
            <p:spPr>
              <a:xfrm>
                <a:off x="10173940" y="6423132"/>
                <a:ext cx="54781" cy="69292"/>
              </a:xfrm>
              <a:custGeom>
                <a:avLst/>
                <a:gdLst>
                  <a:gd name="connsiteX0" fmla="*/ 0 w 54781"/>
                  <a:gd name="connsiteY0" fmla="*/ 61604 h 69292"/>
                  <a:gd name="connsiteX1" fmla="*/ 3615 w 54781"/>
                  <a:gd name="connsiteY1" fmla="*/ 56156 h 69292"/>
                  <a:gd name="connsiteX2" fmla="*/ 27696 w 54781"/>
                  <a:gd name="connsiteY2" fmla="*/ 62979 h 69292"/>
                  <a:gd name="connsiteX3" fmla="*/ 47756 w 54781"/>
                  <a:gd name="connsiteY3" fmla="*/ 49792 h 69292"/>
                  <a:gd name="connsiteX4" fmla="*/ 27696 w 54781"/>
                  <a:gd name="connsiteY4" fmla="*/ 36708 h 69292"/>
                  <a:gd name="connsiteX5" fmla="*/ 3360 w 54781"/>
                  <a:gd name="connsiteY5" fmla="*/ 18074 h 69292"/>
                  <a:gd name="connsiteX6" fmla="*/ 27696 w 54781"/>
                  <a:gd name="connsiteY6" fmla="*/ 0 h 69292"/>
                  <a:gd name="connsiteX7" fmla="*/ 51116 w 54781"/>
                  <a:gd name="connsiteY7" fmla="*/ 6008 h 69292"/>
                  <a:gd name="connsiteX8" fmla="*/ 47298 w 54781"/>
                  <a:gd name="connsiteY8" fmla="*/ 11812 h 69292"/>
                  <a:gd name="connsiteX9" fmla="*/ 27696 w 54781"/>
                  <a:gd name="connsiteY9" fmla="*/ 6517 h 69292"/>
                  <a:gd name="connsiteX10" fmla="*/ 10437 w 54781"/>
                  <a:gd name="connsiteY10" fmla="*/ 17870 h 69292"/>
                  <a:gd name="connsiteX11" fmla="*/ 29427 w 54781"/>
                  <a:gd name="connsiteY11" fmla="*/ 30242 h 69292"/>
                  <a:gd name="connsiteX12" fmla="*/ 54782 w 54781"/>
                  <a:gd name="connsiteY12" fmla="*/ 49487 h 69292"/>
                  <a:gd name="connsiteX13" fmla="*/ 27900 w 54781"/>
                  <a:gd name="connsiteY13" fmla="*/ 69292 h 69292"/>
                  <a:gd name="connsiteX14" fmla="*/ 0 w 54781"/>
                  <a:gd name="connsiteY14" fmla="*/ 61604 h 6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781" h="69292">
                    <a:moveTo>
                      <a:pt x="0" y="61604"/>
                    </a:moveTo>
                    <a:lnTo>
                      <a:pt x="3615" y="56156"/>
                    </a:lnTo>
                    <a:cubicBezTo>
                      <a:pt x="11710" y="61248"/>
                      <a:pt x="19601" y="62979"/>
                      <a:pt x="27696" y="62979"/>
                    </a:cubicBezTo>
                    <a:cubicBezTo>
                      <a:pt x="41596" y="62979"/>
                      <a:pt x="47756" y="59058"/>
                      <a:pt x="47756" y="49792"/>
                    </a:cubicBezTo>
                    <a:cubicBezTo>
                      <a:pt x="47756" y="40272"/>
                      <a:pt x="39763" y="38897"/>
                      <a:pt x="27696" y="36708"/>
                    </a:cubicBezTo>
                    <a:cubicBezTo>
                      <a:pt x="13186" y="34162"/>
                      <a:pt x="3360" y="31718"/>
                      <a:pt x="3360" y="18074"/>
                    </a:cubicBezTo>
                    <a:cubicBezTo>
                      <a:pt x="3360" y="5091"/>
                      <a:pt x="11710" y="0"/>
                      <a:pt x="27696" y="0"/>
                    </a:cubicBezTo>
                    <a:cubicBezTo>
                      <a:pt x="38235" y="0"/>
                      <a:pt x="45770" y="2342"/>
                      <a:pt x="51116" y="6008"/>
                    </a:cubicBezTo>
                    <a:lnTo>
                      <a:pt x="47298" y="11812"/>
                    </a:lnTo>
                    <a:cubicBezTo>
                      <a:pt x="42461" y="8655"/>
                      <a:pt x="35282" y="6517"/>
                      <a:pt x="27696" y="6517"/>
                    </a:cubicBezTo>
                    <a:cubicBezTo>
                      <a:pt x="15630" y="6517"/>
                      <a:pt x="10437" y="9877"/>
                      <a:pt x="10437" y="17870"/>
                    </a:cubicBezTo>
                    <a:cubicBezTo>
                      <a:pt x="10437" y="26424"/>
                      <a:pt x="17412" y="28053"/>
                      <a:pt x="29427" y="30242"/>
                    </a:cubicBezTo>
                    <a:cubicBezTo>
                      <a:pt x="44141" y="32889"/>
                      <a:pt x="54782" y="35079"/>
                      <a:pt x="54782" y="49487"/>
                    </a:cubicBezTo>
                    <a:cubicBezTo>
                      <a:pt x="54782" y="62826"/>
                      <a:pt x="46229" y="69292"/>
                      <a:pt x="27900" y="69292"/>
                    </a:cubicBezTo>
                    <a:cubicBezTo>
                      <a:pt x="17718" y="69343"/>
                      <a:pt x="8502" y="67255"/>
                      <a:pt x="0" y="61604"/>
                    </a:cubicBezTo>
                    <a:close/>
                  </a:path>
                </a:pathLst>
              </a:custGeom>
              <a:solidFill>
                <a:srgbClr val="FFFFFE"/>
              </a:solidFill>
              <a:ln w="5088" cap="flat">
                <a:noFill/>
                <a:prstDash val="solid"/>
                <a:miter/>
              </a:ln>
            </p:spPr>
            <p:txBody>
              <a:bodyPr rtlCol="0" anchor="ctr"/>
              <a:lstStyle/>
              <a:p>
                <a:endParaRPr lang="en-US"/>
              </a:p>
            </p:txBody>
          </p:sp>
        </p:grpSp>
        <p:grpSp>
          <p:nvGrpSpPr>
            <p:cNvPr id="24" name="Graphic 21">
              <a:extLst>
                <a:ext uri="{FF2B5EF4-FFF2-40B4-BE49-F238E27FC236}">
                  <a16:creationId xmlns:a16="http://schemas.microsoft.com/office/drawing/2014/main" id="{C3FF097B-7C1F-C6E5-D122-D2979C843E4D}"/>
                </a:ext>
              </a:extLst>
            </p:cNvPr>
            <p:cNvGrpSpPr/>
            <p:nvPr/>
          </p:nvGrpSpPr>
          <p:grpSpPr>
            <a:xfrm>
              <a:off x="9049996" y="6145201"/>
              <a:ext cx="1271540" cy="302776"/>
              <a:chOff x="9049996" y="6145201"/>
              <a:chExt cx="1271540" cy="302776"/>
            </a:xfrm>
            <a:solidFill>
              <a:srgbClr val="FFFFFE"/>
            </a:solidFill>
          </p:grpSpPr>
          <p:grpSp>
            <p:nvGrpSpPr>
              <p:cNvPr id="25" name="Graphic 21">
                <a:extLst>
                  <a:ext uri="{FF2B5EF4-FFF2-40B4-BE49-F238E27FC236}">
                    <a16:creationId xmlns:a16="http://schemas.microsoft.com/office/drawing/2014/main" id="{3ADB99B8-1C4A-161B-A6A8-62642CA75F8E}"/>
                  </a:ext>
                </a:extLst>
              </p:cNvPr>
              <p:cNvGrpSpPr/>
              <p:nvPr/>
            </p:nvGrpSpPr>
            <p:grpSpPr>
              <a:xfrm>
                <a:off x="9049996" y="6145201"/>
                <a:ext cx="1271540" cy="302776"/>
                <a:chOff x="9049996" y="6145201"/>
                <a:chExt cx="1271540" cy="302776"/>
              </a:xfrm>
              <a:solidFill>
                <a:srgbClr val="FFFFFE"/>
              </a:solidFill>
            </p:grpSpPr>
            <p:sp>
              <p:nvSpPr>
                <p:cNvPr id="26" name="Freeform: Shape 25">
                  <a:extLst>
                    <a:ext uri="{FF2B5EF4-FFF2-40B4-BE49-F238E27FC236}">
                      <a16:creationId xmlns:a16="http://schemas.microsoft.com/office/drawing/2014/main" id="{F4349C70-E379-C34D-D8F6-322C6006255F}"/>
                    </a:ext>
                  </a:extLst>
                </p:cNvPr>
                <p:cNvSpPr/>
                <p:nvPr/>
              </p:nvSpPr>
              <p:spPr>
                <a:xfrm>
                  <a:off x="10200466" y="6146117"/>
                  <a:ext cx="121069" cy="249012"/>
                </a:xfrm>
                <a:custGeom>
                  <a:avLst/>
                  <a:gdLst>
                    <a:gd name="connsiteX0" fmla="*/ 98618 w 121069"/>
                    <a:gd name="connsiteY0" fmla="*/ 0 h 249012"/>
                    <a:gd name="connsiteX1" fmla="*/ 0 w 121069"/>
                    <a:gd name="connsiteY1" fmla="*/ 102181 h 249012"/>
                    <a:gd name="connsiteX2" fmla="*/ 0 w 121069"/>
                    <a:gd name="connsiteY2" fmla="*/ 249013 h 249012"/>
                    <a:gd name="connsiteX3" fmla="*/ 22300 w 121069"/>
                    <a:gd name="connsiteY3" fmla="*/ 249013 h 249012"/>
                    <a:gd name="connsiteX4" fmla="*/ 22300 w 121069"/>
                    <a:gd name="connsiteY4" fmla="*/ 102181 h 249012"/>
                    <a:gd name="connsiteX5" fmla="*/ 98618 w 121069"/>
                    <a:gd name="connsiteY5" fmla="*/ 20976 h 249012"/>
                    <a:gd name="connsiteX6" fmla="*/ 121070 w 121069"/>
                    <a:gd name="connsiteY6" fmla="*/ 22198 h 249012"/>
                    <a:gd name="connsiteX7" fmla="*/ 121070 w 121069"/>
                    <a:gd name="connsiteY7" fmla="*/ 916 h 249012"/>
                    <a:gd name="connsiteX8" fmla="*/ 98618 w 121069"/>
                    <a:gd name="connsiteY8" fmla="*/ 0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9" h="249012">
                      <a:moveTo>
                        <a:pt x="98618" y="0"/>
                      </a:moveTo>
                      <a:cubicBezTo>
                        <a:pt x="4022" y="0"/>
                        <a:pt x="0" y="42410"/>
                        <a:pt x="0" y="102181"/>
                      </a:cubicBezTo>
                      <a:lnTo>
                        <a:pt x="0" y="249013"/>
                      </a:lnTo>
                      <a:lnTo>
                        <a:pt x="22300" y="249013"/>
                      </a:lnTo>
                      <a:lnTo>
                        <a:pt x="22300" y="102181"/>
                      </a:lnTo>
                      <a:cubicBezTo>
                        <a:pt x="22300" y="57124"/>
                        <a:pt x="20518" y="20976"/>
                        <a:pt x="98618" y="20976"/>
                      </a:cubicBezTo>
                      <a:cubicBezTo>
                        <a:pt x="106967" y="20976"/>
                        <a:pt x="114400" y="21434"/>
                        <a:pt x="121070" y="22198"/>
                      </a:cubicBezTo>
                      <a:lnTo>
                        <a:pt x="121070" y="916"/>
                      </a:lnTo>
                      <a:cubicBezTo>
                        <a:pt x="114197" y="305"/>
                        <a:pt x="106713" y="0"/>
                        <a:pt x="98618" y="0"/>
                      </a:cubicBezTo>
                      <a:close/>
                    </a:path>
                  </a:pathLst>
                </a:custGeom>
                <a:solidFill>
                  <a:srgbClr val="FFFFFE"/>
                </a:solidFill>
                <a:ln w="5088"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9F15CBCD-7266-14B0-7828-75C164837321}"/>
                    </a:ext>
                  </a:extLst>
                </p:cNvPr>
                <p:cNvSpPr/>
                <p:nvPr/>
              </p:nvSpPr>
              <p:spPr>
                <a:xfrm>
                  <a:off x="9195504" y="6151005"/>
                  <a:ext cx="199475" cy="249012"/>
                </a:xfrm>
                <a:custGeom>
                  <a:avLst/>
                  <a:gdLst>
                    <a:gd name="connsiteX0" fmla="*/ 0 w 199475"/>
                    <a:gd name="connsiteY0" fmla="*/ 148613 h 249012"/>
                    <a:gd name="connsiteX1" fmla="*/ 0 w 199475"/>
                    <a:gd name="connsiteY1" fmla="*/ 0 h 249012"/>
                    <a:gd name="connsiteX2" fmla="*/ 22758 w 199475"/>
                    <a:gd name="connsiteY2" fmla="*/ 0 h 249012"/>
                    <a:gd name="connsiteX3" fmla="*/ 22758 w 199475"/>
                    <a:gd name="connsiteY3" fmla="*/ 149072 h 249012"/>
                    <a:gd name="connsiteX4" fmla="*/ 100858 w 199475"/>
                    <a:gd name="connsiteY4" fmla="*/ 228088 h 249012"/>
                    <a:gd name="connsiteX5" fmla="*/ 177176 w 199475"/>
                    <a:gd name="connsiteY5" fmla="*/ 146882 h 249012"/>
                    <a:gd name="connsiteX6" fmla="*/ 177176 w 199475"/>
                    <a:gd name="connsiteY6" fmla="*/ 0 h 249012"/>
                    <a:gd name="connsiteX7" fmla="*/ 199475 w 199475"/>
                    <a:gd name="connsiteY7" fmla="*/ 0 h 249012"/>
                    <a:gd name="connsiteX8" fmla="*/ 199475 w 199475"/>
                    <a:gd name="connsiteY8" fmla="*/ 146831 h 249012"/>
                    <a:gd name="connsiteX9" fmla="*/ 100858 w 199475"/>
                    <a:gd name="connsiteY9" fmla="*/ 249013 h 249012"/>
                    <a:gd name="connsiteX10" fmla="*/ 0 w 199475"/>
                    <a:gd name="connsiteY10" fmla="*/ 148613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75" h="249012">
                      <a:moveTo>
                        <a:pt x="0" y="148613"/>
                      </a:moveTo>
                      <a:lnTo>
                        <a:pt x="0" y="0"/>
                      </a:lnTo>
                      <a:lnTo>
                        <a:pt x="22758" y="0"/>
                      </a:lnTo>
                      <a:lnTo>
                        <a:pt x="22758" y="149072"/>
                      </a:lnTo>
                      <a:cubicBezTo>
                        <a:pt x="22758" y="191940"/>
                        <a:pt x="22300" y="228088"/>
                        <a:pt x="100858" y="228088"/>
                      </a:cubicBezTo>
                      <a:cubicBezTo>
                        <a:pt x="178958" y="228088"/>
                        <a:pt x="177176" y="191940"/>
                        <a:pt x="177176" y="146882"/>
                      </a:cubicBezTo>
                      <a:lnTo>
                        <a:pt x="177176" y="0"/>
                      </a:lnTo>
                      <a:lnTo>
                        <a:pt x="199475" y="0"/>
                      </a:lnTo>
                      <a:lnTo>
                        <a:pt x="199475" y="146831"/>
                      </a:lnTo>
                      <a:cubicBezTo>
                        <a:pt x="199475" y="206654"/>
                        <a:pt x="195453" y="249013"/>
                        <a:pt x="100858" y="249013"/>
                      </a:cubicBezTo>
                      <a:cubicBezTo>
                        <a:pt x="5804" y="249013"/>
                        <a:pt x="0" y="206654"/>
                        <a:pt x="0" y="148613"/>
                      </a:cubicBezTo>
                      <a:close/>
                    </a:path>
                  </a:pathLst>
                </a:custGeom>
                <a:solidFill>
                  <a:srgbClr val="FFFFFE"/>
                </a:solidFill>
                <a:ln w="5088"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919B78E-93AD-2642-6CAF-54CC223FBACA}"/>
                    </a:ext>
                  </a:extLst>
                </p:cNvPr>
                <p:cNvSpPr/>
                <p:nvPr/>
              </p:nvSpPr>
              <p:spPr>
                <a:xfrm>
                  <a:off x="9432756" y="6146117"/>
                  <a:ext cx="199475" cy="249012"/>
                </a:xfrm>
                <a:custGeom>
                  <a:avLst/>
                  <a:gdLst>
                    <a:gd name="connsiteX0" fmla="*/ 199475 w 199475"/>
                    <a:gd name="connsiteY0" fmla="*/ 100399 h 249012"/>
                    <a:gd name="connsiteX1" fmla="*/ 199475 w 199475"/>
                    <a:gd name="connsiteY1" fmla="*/ 249013 h 249012"/>
                    <a:gd name="connsiteX2" fmla="*/ 176717 w 199475"/>
                    <a:gd name="connsiteY2" fmla="*/ 249013 h 249012"/>
                    <a:gd name="connsiteX3" fmla="*/ 176717 w 199475"/>
                    <a:gd name="connsiteY3" fmla="*/ 99941 h 249012"/>
                    <a:gd name="connsiteX4" fmla="*/ 98618 w 199475"/>
                    <a:gd name="connsiteY4" fmla="*/ 20925 h 249012"/>
                    <a:gd name="connsiteX5" fmla="*/ 22300 w 199475"/>
                    <a:gd name="connsiteY5" fmla="*/ 102130 h 249012"/>
                    <a:gd name="connsiteX6" fmla="*/ 22300 w 199475"/>
                    <a:gd name="connsiteY6" fmla="*/ 248962 h 249012"/>
                    <a:gd name="connsiteX7" fmla="*/ 0 w 199475"/>
                    <a:gd name="connsiteY7" fmla="*/ 248962 h 249012"/>
                    <a:gd name="connsiteX8" fmla="*/ 0 w 199475"/>
                    <a:gd name="connsiteY8" fmla="*/ 102181 h 249012"/>
                    <a:gd name="connsiteX9" fmla="*/ 98618 w 199475"/>
                    <a:gd name="connsiteY9" fmla="*/ 0 h 249012"/>
                    <a:gd name="connsiteX10" fmla="*/ 199475 w 199475"/>
                    <a:gd name="connsiteY10" fmla="*/ 100399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75" h="249012">
                      <a:moveTo>
                        <a:pt x="199475" y="100399"/>
                      </a:moveTo>
                      <a:lnTo>
                        <a:pt x="199475" y="249013"/>
                      </a:lnTo>
                      <a:lnTo>
                        <a:pt x="176717" y="249013"/>
                      </a:lnTo>
                      <a:lnTo>
                        <a:pt x="176717" y="99941"/>
                      </a:lnTo>
                      <a:cubicBezTo>
                        <a:pt x="176717" y="57124"/>
                        <a:pt x="177176" y="20925"/>
                        <a:pt x="98618" y="20925"/>
                      </a:cubicBezTo>
                      <a:cubicBezTo>
                        <a:pt x="20518" y="20925"/>
                        <a:pt x="22300" y="57073"/>
                        <a:pt x="22300" y="102130"/>
                      </a:cubicBezTo>
                      <a:lnTo>
                        <a:pt x="22300" y="248962"/>
                      </a:lnTo>
                      <a:lnTo>
                        <a:pt x="0" y="248962"/>
                      </a:lnTo>
                      <a:lnTo>
                        <a:pt x="0" y="102181"/>
                      </a:lnTo>
                      <a:cubicBezTo>
                        <a:pt x="0" y="42359"/>
                        <a:pt x="4022" y="0"/>
                        <a:pt x="98618" y="0"/>
                      </a:cubicBezTo>
                      <a:cubicBezTo>
                        <a:pt x="193671" y="0"/>
                        <a:pt x="199475" y="42359"/>
                        <a:pt x="199475" y="100399"/>
                      </a:cubicBezTo>
                      <a:close/>
                    </a:path>
                  </a:pathLst>
                </a:custGeom>
                <a:solidFill>
                  <a:srgbClr val="FFFFFE"/>
                </a:solidFill>
                <a:ln w="5088"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C0183F49-677D-C423-177A-E3113CF06BCA}"/>
                    </a:ext>
                  </a:extLst>
                </p:cNvPr>
                <p:cNvSpPr/>
                <p:nvPr/>
              </p:nvSpPr>
              <p:spPr>
                <a:xfrm>
                  <a:off x="9673674" y="6151463"/>
                  <a:ext cx="21841" cy="243666"/>
                </a:xfrm>
                <a:custGeom>
                  <a:avLst/>
                  <a:gdLst>
                    <a:gd name="connsiteX0" fmla="*/ 0 w 21841"/>
                    <a:gd name="connsiteY0" fmla="*/ 0 h 243666"/>
                    <a:gd name="connsiteX1" fmla="*/ 21841 w 21841"/>
                    <a:gd name="connsiteY1" fmla="*/ 0 h 243666"/>
                    <a:gd name="connsiteX2" fmla="*/ 21841 w 21841"/>
                    <a:gd name="connsiteY2" fmla="*/ 243667 h 243666"/>
                    <a:gd name="connsiteX3" fmla="*/ 0 w 21841"/>
                    <a:gd name="connsiteY3" fmla="*/ 243667 h 243666"/>
                    <a:gd name="connsiteX4" fmla="*/ 0 w 21841"/>
                    <a:gd name="connsiteY4" fmla="*/ 0 h 243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1" h="243666">
                      <a:moveTo>
                        <a:pt x="0" y="0"/>
                      </a:moveTo>
                      <a:lnTo>
                        <a:pt x="21841" y="0"/>
                      </a:lnTo>
                      <a:lnTo>
                        <a:pt x="21841" y="243667"/>
                      </a:lnTo>
                      <a:lnTo>
                        <a:pt x="0" y="243667"/>
                      </a:lnTo>
                      <a:lnTo>
                        <a:pt x="0" y="0"/>
                      </a:lnTo>
                      <a:close/>
                    </a:path>
                  </a:pathLst>
                </a:custGeom>
                <a:solidFill>
                  <a:srgbClr val="FFFFFE"/>
                </a:solidFill>
                <a:ln w="5088"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0C503B25-0739-F8DE-4937-F166A3A31799}"/>
                    </a:ext>
                  </a:extLst>
                </p:cNvPr>
                <p:cNvSpPr/>
                <p:nvPr/>
              </p:nvSpPr>
              <p:spPr>
                <a:xfrm>
                  <a:off x="9736398" y="6151463"/>
                  <a:ext cx="196318" cy="243666"/>
                </a:xfrm>
                <a:custGeom>
                  <a:avLst/>
                  <a:gdLst>
                    <a:gd name="connsiteX0" fmla="*/ 0 w 196318"/>
                    <a:gd name="connsiteY0" fmla="*/ 0 h 243666"/>
                    <a:gd name="connsiteX1" fmla="*/ 114095 w 196318"/>
                    <a:gd name="connsiteY1" fmla="*/ 0 h 243666"/>
                    <a:gd name="connsiteX2" fmla="*/ 196319 w 196318"/>
                    <a:gd name="connsiteY2" fmla="*/ 78100 h 243666"/>
                    <a:gd name="connsiteX3" fmla="*/ 113789 w 196318"/>
                    <a:gd name="connsiteY3" fmla="*/ 159000 h 243666"/>
                    <a:gd name="connsiteX4" fmla="*/ 21892 w 196318"/>
                    <a:gd name="connsiteY4" fmla="*/ 159000 h 243666"/>
                    <a:gd name="connsiteX5" fmla="*/ 21892 w 196318"/>
                    <a:gd name="connsiteY5" fmla="*/ 243667 h 243666"/>
                    <a:gd name="connsiteX6" fmla="*/ 51 w 196318"/>
                    <a:gd name="connsiteY6" fmla="*/ 243667 h 243666"/>
                    <a:gd name="connsiteX7" fmla="*/ 51 w 196318"/>
                    <a:gd name="connsiteY7" fmla="*/ 0 h 243666"/>
                    <a:gd name="connsiteX8" fmla="*/ 114400 w 196318"/>
                    <a:gd name="connsiteY8" fmla="*/ 137107 h 243666"/>
                    <a:gd name="connsiteX9" fmla="*/ 173408 w 196318"/>
                    <a:gd name="connsiteY9" fmla="*/ 79118 h 243666"/>
                    <a:gd name="connsiteX10" fmla="*/ 113433 w 196318"/>
                    <a:gd name="connsiteY10" fmla="*/ 21892 h 243666"/>
                    <a:gd name="connsiteX11" fmla="*/ 21841 w 196318"/>
                    <a:gd name="connsiteY11" fmla="*/ 21892 h 243666"/>
                    <a:gd name="connsiteX12" fmla="*/ 21841 w 196318"/>
                    <a:gd name="connsiteY12" fmla="*/ 137107 h 243666"/>
                    <a:gd name="connsiteX13" fmla="*/ 114400 w 196318"/>
                    <a:gd name="connsiteY13" fmla="*/ 137107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18" h="243666">
                      <a:moveTo>
                        <a:pt x="0" y="0"/>
                      </a:moveTo>
                      <a:lnTo>
                        <a:pt x="114095" y="0"/>
                      </a:lnTo>
                      <a:cubicBezTo>
                        <a:pt x="170659" y="0"/>
                        <a:pt x="196319" y="28104"/>
                        <a:pt x="196319" y="78100"/>
                      </a:cubicBezTo>
                      <a:cubicBezTo>
                        <a:pt x="196319" y="128401"/>
                        <a:pt x="171015" y="159000"/>
                        <a:pt x="113789" y="159000"/>
                      </a:cubicBezTo>
                      <a:lnTo>
                        <a:pt x="21892" y="159000"/>
                      </a:lnTo>
                      <a:lnTo>
                        <a:pt x="21892" y="243667"/>
                      </a:lnTo>
                      <a:lnTo>
                        <a:pt x="51" y="243667"/>
                      </a:lnTo>
                      <a:lnTo>
                        <a:pt x="51" y="0"/>
                      </a:lnTo>
                      <a:close/>
                      <a:moveTo>
                        <a:pt x="114400" y="137107"/>
                      </a:moveTo>
                      <a:cubicBezTo>
                        <a:pt x="153807" y="137107"/>
                        <a:pt x="173408" y="117913"/>
                        <a:pt x="173408" y="79118"/>
                      </a:cubicBezTo>
                      <a:cubicBezTo>
                        <a:pt x="173408" y="40323"/>
                        <a:pt x="152279" y="21892"/>
                        <a:pt x="113433" y="21892"/>
                      </a:cubicBezTo>
                      <a:lnTo>
                        <a:pt x="21841" y="21892"/>
                      </a:lnTo>
                      <a:lnTo>
                        <a:pt x="21841" y="137107"/>
                      </a:lnTo>
                      <a:lnTo>
                        <a:pt x="114400" y="137107"/>
                      </a:lnTo>
                      <a:close/>
                    </a:path>
                  </a:pathLst>
                </a:custGeom>
                <a:solidFill>
                  <a:srgbClr val="FFFFFE"/>
                </a:solidFill>
                <a:ln w="5088"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059373-F892-98B1-4F22-E66999223F39}"/>
                    </a:ext>
                  </a:extLst>
                </p:cNvPr>
                <p:cNvSpPr/>
                <p:nvPr/>
              </p:nvSpPr>
              <p:spPr>
                <a:xfrm>
                  <a:off x="9958122" y="6145201"/>
                  <a:ext cx="210244" cy="254816"/>
                </a:xfrm>
                <a:custGeom>
                  <a:avLst/>
                  <a:gdLst>
                    <a:gd name="connsiteX0" fmla="*/ 0 w 210244"/>
                    <a:gd name="connsiteY0" fmla="*/ 127179 h 254816"/>
                    <a:gd name="connsiteX1" fmla="*/ 112466 w 210244"/>
                    <a:gd name="connsiteY1" fmla="*/ 0 h 254816"/>
                    <a:gd name="connsiteX2" fmla="*/ 210218 w 210244"/>
                    <a:gd name="connsiteY2" fmla="*/ 131201 h 254816"/>
                    <a:gd name="connsiteX3" fmla="*/ 21892 w 210244"/>
                    <a:gd name="connsiteY3" fmla="*/ 131201 h 254816"/>
                    <a:gd name="connsiteX4" fmla="*/ 114248 w 210244"/>
                    <a:gd name="connsiteY4" fmla="*/ 234757 h 254816"/>
                    <a:gd name="connsiteX5" fmla="*/ 194130 w 210244"/>
                    <a:gd name="connsiteY5" fmla="*/ 208843 h 254816"/>
                    <a:gd name="connsiteX6" fmla="*/ 206603 w 210244"/>
                    <a:gd name="connsiteY6" fmla="*/ 225338 h 254816"/>
                    <a:gd name="connsiteX7" fmla="*/ 114248 w 210244"/>
                    <a:gd name="connsiteY7" fmla="*/ 254817 h 254816"/>
                    <a:gd name="connsiteX8" fmla="*/ 0 w 210244"/>
                    <a:gd name="connsiteY8" fmla="*/ 127179 h 254816"/>
                    <a:gd name="connsiteX9" fmla="*/ 22351 w 210244"/>
                    <a:gd name="connsiteY9" fmla="*/ 110684 h 254816"/>
                    <a:gd name="connsiteX10" fmla="*/ 188376 w 210244"/>
                    <a:gd name="connsiteY10" fmla="*/ 110684 h 254816"/>
                    <a:gd name="connsiteX11" fmla="*/ 112008 w 210244"/>
                    <a:gd name="connsiteY11" fmla="*/ 20518 h 254816"/>
                    <a:gd name="connsiteX12" fmla="*/ 22351 w 210244"/>
                    <a:gd name="connsiteY12" fmla="*/ 110684 h 25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0244" h="254816">
                      <a:moveTo>
                        <a:pt x="0" y="127179"/>
                      </a:moveTo>
                      <a:cubicBezTo>
                        <a:pt x="0" y="55342"/>
                        <a:pt x="20518" y="0"/>
                        <a:pt x="112466" y="0"/>
                      </a:cubicBezTo>
                      <a:cubicBezTo>
                        <a:pt x="207520" y="0"/>
                        <a:pt x="210625" y="63793"/>
                        <a:pt x="210218" y="131201"/>
                      </a:cubicBezTo>
                      <a:lnTo>
                        <a:pt x="21892" y="131201"/>
                      </a:lnTo>
                      <a:cubicBezTo>
                        <a:pt x="22351" y="190565"/>
                        <a:pt x="37064" y="234757"/>
                        <a:pt x="114248" y="234757"/>
                      </a:cubicBezTo>
                      <a:cubicBezTo>
                        <a:pt x="155283" y="234757"/>
                        <a:pt x="174070" y="223607"/>
                        <a:pt x="194130" y="208843"/>
                      </a:cubicBezTo>
                      <a:lnTo>
                        <a:pt x="206603" y="225338"/>
                      </a:lnTo>
                      <a:cubicBezTo>
                        <a:pt x="184303" y="241834"/>
                        <a:pt x="157982" y="254817"/>
                        <a:pt x="114248" y="254817"/>
                      </a:cubicBezTo>
                      <a:cubicBezTo>
                        <a:pt x="17870" y="254817"/>
                        <a:pt x="0" y="199017"/>
                        <a:pt x="0" y="127179"/>
                      </a:cubicBezTo>
                      <a:close/>
                      <a:moveTo>
                        <a:pt x="22351" y="110684"/>
                      </a:moveTo>
                      <a:lnTo>
                        <a:pt x="188376" y="110684"/>
                      </a:lnTo>
                      <a:cubicBezTo>
                        <a:pt x="186136" y="62062"/>
                        <a:pt x="182980" y="20518"/>
                        <a:pt x="112008" y="20518"/>
                      </a:cubicBezTo>
                      <a:cubicBezTo>
                        <a:pt x="43734" y="20518"/>
                        <a:pt x="24998" y="57582"/>
                        <a:pt x="22351" y="110684"/>
                      </a:cubicBezTo>
                      <a:close/>
                    </a:path>
                  </a:pathLst>
                </a:custGeom>
                <a:solidFill>
                  <a:srgbClr val="FFFFFE"/>
                </a:solidFill>
                <a:ln w="508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02C596-22AF-D8D1-4EAB-3AC592A58240}"/>
                    </a:ext>
                  </a:extLst>
                </p:cNvPr>
                <p:cNvSpPr/>
                <p:nvPr/>
              </p:nvSpPr>
              <p:spPr>
                <a:xfrm>
                  <a:off x="9049996" y="6151005"/>
                  <a:ext cx="107119" cy="296972"/>
                </a:xfrm>
                <a:custGeom>
                  <a:avLst/>
                  <a:gdLst>
                    <a:gd name="connsiteX0" fmla="*/ 8502 w 107119"/>
                    <a:gd name="connsiteY0" fmla="*/ 296972 h 296972"/>
                    <a:gd name="connsiteX1" fmla="*/ 107120 w 107119"/>
                    <a:gd name="connsiteY1" fmla="*/ 194791 h 296972"/>
                    <a:gd name="connsiteX2" fmla="*/ 107120 w 107119"/>
                    <a:gd name="connsiteY2" fmla="*/ 0 h 296972"/>
                    <a:gd name="connsiteX3" fmla="*/ 84820 w 107119"/>
                    <a:gd name="connsiteY3" fmla="*/ 0 h 296972"/>
                    <a:gd name="connsiteX4" fmla="*/ 84820 w 107119"/>
                    <a:gd name="connsiteY4" fmla="*/ 194791 h 296972"/>
                    <a:gd name="connsiteX5" fmla="*/ 8502 w 107119"/>
                    <a:gd name="connsiteY5" fmla="*/ 275996 h 296972"/>
                    <a:gd name="connsiteX6" fmla="*/ 0 w 107119"/>
                    <a:gd name="connsiteY6" fmla="*/ 275793 h 296972"/>
                    <a:gd name="connsiteX7" fmla="*/ 0 w 107119"/>
                    <a:gd name="connsiteY7" fmla="*/ 296820 h 296972"/>
                    <a:gd name="connsiteX8" fmla="*/ 8502 w 107119"/>
                    <a:gd name="connsiteY8" fmla="*/ 296972 h 29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19" h="296972">
                      <a:moveTo>
                        <a:pt x="8502" y="296972"/>
                      </a:moveTo>
                      <a:cubicBezTo>
                        <a:pt x="103098" y="296972"/>
                        <a:pt x="107120" y="254562"/>
                        <a:pt x="107120" y="194791"/>
                      </a:cubicBezTo>
                      <a:lnTo>
                        <a:pt x="107120" y="0"/>
                      </a:lnTo>
                      <a:lnTo>
                        <a:pt x="84820" y="0"/>
                      </a:lnTo>
                      <a:lnTo>
                        <a:pt x="84820" y="194791"/>
                      </a:lnTo>
                      <a:cubicBezTo>
                        <a:pt x="84820" y="239849"/>
                        <a:pt x="86602" y="275996"/>
                        <a:pt x="8502" y="275996"/>
                      </a:cubicBezTo>
                      <a:cubicBezTo>
                        <a:pt x="5549" y="275996"/>
                        <a:pt x="2749" y="275945"/>
                        <a:pt x="0" y="275793"/>
                      </a:cubicBezTo>
                      <a:lnTo>
                        <a:pt x="0" y="296820"/>
                      </a:lnTo>
                      <a:cubicBezTo>
                        <a:pt x="2749" y="296972"/>
                        <a:pt x="5549" y="296972"/>
                        <a:pt x="8502" y="296972"/>
                      </a:cubicBezTo>
                      <a:close/>
                    </a:path>
                  </a:pathLst>
                </a:custGeom>
                <a:solidFill>
                  <a:srgbClr val="FFFFFE"/>
                </a:solidFill>
                <a:ln w="5088" cap="flat">
                  <a:noFill/>
                  <a:prstDash val="solid"/>
                  <a:miter/>
                </a:ln>
              </p:spPr>
              <p:txBody>
                <a:bodyPr rtlCol="0" anchor="ctr"/>
                <a:lstStyle/>
                <a:p>
                  <a:endParaRPr lang="en-US"/>
                </a:p>
              </p:txBody>
            </p:sp>
          </p:grpSp>
          <p:grpSp>
            <p:nvGrpSpPr>
              <p:cNvPr id="33" name="Graphic 21">
                <a:extLst>
                  <a:ext uri="{FF2B5EF4-FFF2-40B4-BE49-F238E27FC236}">
                    <a16:creationId xmlns:a16="http://schemas.microsoft.com/office/drawing/2014/main" id="{39C47EF9-76A1-2538-CAE3-95A58F2F5CC2}"/>
                  </a:ext>
                </a:extLst>
              </p:cNvPr>
              <p:cNvGrpSpPr/>
              <p:nvPr/>
            </p:nvGrpSpPr>
            <p:grpSpPr>
              <a:xfrm>
                <a:off x="10256164" y="6365346"/>
                <a:ext cx="30802" cy="30852"/>
                <a:chOff x="10256164" y="6365346"/>
                <a:chExt cx="30802" cy="30852"/>
              </a:xfrm>
              <a:solidFill>
                <a:srgbClr val="FFFFFE"/>
              </a:solidFill>
            </p:grpSpPr>
            <p:sp>
              <p:nvSpPr>
                <p:cNvPr id="34" name="Freeform: Shape 33">
                  <a:extLst>
                    <a:ext uri="{FF2B5EF4-FFF2-40B4-BE49-F238E27FC236}">
                      <a16:creationId xmlns:a16="http://schemas.microsoft.com/office/drawing/2014/main" id="{0518EF9B-619C-1237-0615-E950275C4FAF}"/>
                    </a:ext>
                  </a:extLst>
                </p:cNvPr>
                <p:cNvSpPr/>
                <p:nvPr/>
              </p:nvSpPr>
              <p:spPr>
                <a:xfrm>
                  <a:off x="10256164" y="6365346"/>
                  <a:ext cx="30802" cy="30852"/>
                </a:xfrm>
                <a:custGeom>
                  <a:avLst/>
                  <a:gdLst>
                    <a:gd name="connsiteX0" fmla="*/ 15426 w 30802"/>
                    <a:gd name="connsiteY0" fmla="*/ 30853 h 30852"/>
                    <a:gd name="connsiteX1" fmla="*/ 0 w 30802"/>
                    <a:gd name="connsiteY1" fmla="*/ 15426 h 30852"/>
                    <a:gd name="connsiteX2" fmla="*/ 15426 w 30802"/>
                    <a:gd name="connsiteY2" fmla="*/ 0 h 30852"/>
                    <a:gd name="connsiteX3" fmla="*/ 30802 w 30802"/>
                    <a:gd name="connsiteY3" fmla="*/ 15426 h 30852"/>
                    <a:gd name="connsiteX4" fmla="*/ 15426 w 30802"/>
                    <a:gd name="connsiteY4" fmla="*/ 30853 h 30852"/>
                    <a:gd name="connsiteX5" fmla="*/ 15426 w 30802"/>
                    <a:gd name="connsiteY5" fmla="*/ 30853 h 30852"/>
                    <a:gd name="connsiteX6" fmla="*/ 15426 w 30802"/>
                    <a:gd name="connsiteY6" fmla="*/ 2037 h 30852"/>
                    <a:gd name="connsiteX7" fmla="*/ 1986 w 30802"/>
                    <a:gd name="connsiteY7" fmla="*/ 15426 h 30852"/>
                    <a:gd name="connsiteX8" fmla="*/ 15426 w 30802"/>
                    <a:gd name="connsiteY8" fmla="*/ 28816 h 30852"/>
                    <a:gd name="connsiteX9" fmla="*/ 28817 w 30802"/>
                    <a:gd name="connsiteY9" fmla="*/ 15426 h 30852"/>
                    <a:gd name="connsiteX10" fmla="*/ 15426 w 30802"/>
                    <a:gd name="connsiteY10" fmla="*/ 2037 h 30852"/>
                    <a:gd name="connsiteX11" fmla="*/ 15426 w 30802"/>
                    <a:gd name="connsiteY11" fmla="*/ 2037 h 3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02" h="30852">
                      <a:moveTo>
                        <a:pt x="15426" y="30853"/>
                      </a:moveTo>
                      <a:cubicBezTo>
                        <a:pt x="6924" y="30853"/>
                        <a:pt x="0" y="23929"/>
                        <a:pt x="0" y="15426"/>
                      </a:cubicBezTo>
                      <a:cubicBezTo>
                        <a:pt x="0" y="6924"/>
                        <a:pt x="6924" y="0"/>
                        <a:pt x="15426" y="0"/>
                      </a:cubicBezTo>
                      <a:cubicBezTo>
                        <a:pt x="23929" y="0"/>
                        <a:pt x="30802" y="6924"/>
                        <a:pt x="30802" y="15426"/>
                      </a:cubicBezTo>
                      <a:cubicBezTo>
                        <a:pt x="30802" y="23929"/>
                        <a:pt x="23929" y="30853"/>
                        <a:pt x="15426" y="30853"/>
                      </a:cubicBezTo>
                      <a:lnTo>
                        <a:pt x="15426" y="30853"/>
                      </a:lnTo>
                      <a:close/>
                      <a:moveTo>
                        <a:pt x="15426" y="2037"/>
                      </a:moveTo>
                      <a:cubicBezTo>
                        <a:pt x="8044" y="2037"/>
                        <a:pt x="1986" y="8044"/>
                        <a:pt x="1986" y="15426"/>
                      </a:cubicBezTo>
                      <a:cubicBezTo>
                        <a:pt x="1986" y="22809"/>
                        <a:pt x="7993" y="28816"/>
                        <a:pt x="15426" y="28816"/>
                      </a:cubicBezTo>
                      <a:cubicBezTo>
                        <a:pt x="22809" y="28816"/>
                        <a:pt x="28817" y="22809"/>
                        <a:pt x="28817" y="15426"/>
                      </a:cubicBezTo>
                      <a:cubicBezTo>
                        <a:pt x="28817" y="8044"/>
                        <a:pt x="22809" y="2037"/>
                        <a:pt x="15426" y="2037"/>
                      </a:cubicBezTo>
                      <a:lnTo>
                        <a:pt x="15426" y="2037"/>
                      </a:lnTo>
                      <a:close/>
                    </a:path>
                  </a:pathLst>
                </a:custGeom>
                <a:solidFill>
                  <a:srgbClr val="FFFFFE"/>
                </a:solidFill>
                <a:ln w="5088"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AEE5D92-E241-C0A2-8A99-95B2332EDC25}"/>
                    </a:ext>
                  </a:extLst>
                </p:cNvPr>
                <p:cNvSpPr/>
                <p:nvPr/>
              </p:nvSpPr>
              <p:spPr>
                <a:xfrm>
                  <a:off x="10265278" y="6371914"/>
                  <a:ext cx="14102" cy="17717"/>
                </a:xfrm>
                <a:custGeom>
                  <a:avLst/>
                  <a:gdLst>
                    <a:gd name="connsiteX0" fmla="*/ 7281 w 14102"/>
                    <a:gd name="connsiteY0" fmla="*/ 10895 h 17717"/>
                    <a:gd name="connsiteX1" fmla="*/ 2342 w 14102"/>
                    <a:gd name="connsiteY1" fmla="*/ 10895 h 17717"/>
                    <a:gd name="connsiteX2" fmla="*/ 2342 w 14102"/>
                    <a:gd name="connsiteY2" fmla="*/ 17718 h 17717"/>
                    <a:gd name="connsiteX3" fmla="*/ 0 w 14102"/>
                    <a:gd name="connsiteY3" fmla="*/ 17718 h 17717"/>
                    <a:gd name="connsiteX4" fmla="*/ 0 w 14102"/>
                    <a:gd name="connsiteY4" fmla="*/ 0 h 17717"/>
                    <a:gd name="connsiteX5" fmla="*/ 7891 w 14102"/>
                    <a:gd name="connsiteY5" fmla="*/ 0 h 17717"/>
                    <a:gd name="connsiteX6" fmla="*/ 14103 w 14102"/>
                    <a:gd name="connsiteY6" fmla="*/ 5346 h 17717"/>
                    <a:gd name="connsiteX7" fmla="*/ 9826 w 14102"/>
                    <a:gd name="connsiteY7" fmla="*/ 10743 h 17717"/>
                    <a:gd name="connsiteX8" fmla="*/ 13848 w 14102"/>
                    <a:gd name="connsiteY8" fmla="*/ 17718 h 17717"/>
                    <a:gd name="connsiteX9" fmla="*/ 11303 w 14102"/>
                    <a:gd name="connsiteY9" fmla="*/ 17718 h 17717"/>
                    <a:gd name="connsiteX10" fmla="*/ 7281 w 14102"/>
                    <a:gd name="connsiteY10" fmla="*/ 10895 h 17717"/>
                    <a:gd name="connsiteX11" fmla="*/ 7841 w 14102"/>
                    <a:gd name="connsiteY11" fmla="*/ 8706 h 17717"/>
                    <a:gd name="connsiteX12" fmla="*/ 11659 w 14102"/>
                    <a:gd name="connsiteY12" fmla="*/ 5448 h 17717"/>
                    <a:gd name="connsiteX13" fmla="*/ 7790 w 14102"/>
                    <a:gd name="connsiteY13" fmla="*/ 2291 h 17717"/>
                    <a:gd name="connsiteX14" fmla="*/ 2393 w 14102"/>
                    <a:gd name="connsiteY14" fmla="*/ 2291 h 17717"/>
                    <a:gd name="connsiteX15" fmla="*/ 2393 w 14102"/>
                    <a:gd name="connsiteY15" fmla="*/ 8706 h 17717"/>
                    <a:gd name="connsiteX16" fmla="*/ 7841 w 14102"/>
                    <a:gd name="connsiteY16" fmla="*/ 8706 h 1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02" h="17717">
                      <a:moveTo>
                        <a:pt x="7281" y="10895"/>
                      </a:moveTo>
                      <a:lnTo>
                        <a:pt x="2342" y="10895"/>
                      </a:lnTo>
                      <a:lnTo>
                        <a:pt x="2342" y="17718"/>
                      </a:lnTo>
                      <a:lnTo>
                        <a:pt x="0" y="17718"/>
                      </a:lnTo>
                      <a:lnTo>
                        <a:pt x="0" y="0"/>
                      </a:lnTo>
                      <a:lnTo>
                        <a:pt x="7891" y="0"/>
                      </a:lnTo>
                      <a:cubicBezTo>
                        <a:pt x="12372" y="0"/>
                        <a:pt x="14103" y="1833"/>
                        <a:pt x="14103" y="5346"/>
                      </a:cubicBezTo>
                      <a:cubicBezTo>
                        <a:pt x="14103" y="8197"/>
                        <a:pt x="12881" y="10182"/>
                        <a:pt x="9826" y="10743"/>
                      </a:cubicBezTo>
                      <a:lnTo>
                        <a:pt x="13848" y="17718"/>
                      </a:lnTo>
                      <a:lnTo>
                        <a:pt x="11303" y="17718"/>
                      </a:lnTo>
                      <a:lnTo>
                        <a:pt x="7281" y="10895"/>
                      </a:lnTo>
                      <a:close/>
                      <a:moveTo>
                        <a:pt x="7841" y="8706"/>
                      </a:moveTo>
                      <a:cubicBezTo>
                        <a:pt x="10233" y="8706"/>
                        <a:pt x="11659" y="7993"/>
                        <a:pt x="11659" y="5448"/>
                      </a:cubicBezTo>
                      <a:cubicBezTo>
                        <a:pt x="11659" y="2902"/>
                        <a:pt x="10335" y="2291"/>
                        <a:pt x="7790" y="2291"/>
                      </a:cubicBezTo>
                      <a:lnTo>
                        <a:pt x="2393" y="2291"/>
                      </a:lnTo>
                      <a:lnTo>
                        <a:pt x="2393" y="8706"/>
                      </a:lnTo>
                      <a:lnTo>
                        <a:pt x="7841" y="8706"/>
                      </a:lnTo>
                      <a:close/>
                    </a:path>
                  </a:pathLst>
                </a:custGeom>
                <a:solidFill>
                  <a:srgbClr val="FFFFFE"/>
                </a:solidFill>
                <a:ln w="5088" cap="flat">
                  <a:noFill/>
                  <a:prstDash val="solid"/>
                  <a:miter/>
                </a:ln>
              </p:spPr>
              <p:txBody>
                <a:bodyPr rtlCol="0" anchor="ctr"/>
                <a:lstStyle/>
                <a:p>
                  <a:endParaRPr lang="en-US"/>
                </a:p>
              </p:txBody>
            </p:sp>
          </p:grpSp>
        </p:grpSp>
      </p:grpSp>
      <p:pic>
        <p:nvPicPr>
          <p:cNvPr id="83" name="Graphic 82">
            <a:extLst>
              <a:ext uri="{FF2B5EF4-FFF2-40B4-BE49-F238E27FC236}">
                <a16:creationId xmlns:a16="http://schemas.microsoft.com/office/drawing/2014/main" id="{27ADE4EF-343A-5B97-B5E3-183BA145C04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541258" y="5835056"/>
            <a:ext cx="850482" cy="742482"/>
          </a:xfrm>
          <a:prstGeom prst="rect">
            <a:avLst/>
          </a:prstGeom>
        </p:spPr>
      </p:pic>
      <p:cxnSp>
        <p:nvCxnSpPr>
          <p:cNvPr id="85" name="Straight Connector 84">
            <a:extLst>
              <a:ext uri="{FF2B5EF4-FFF2-40B4-BE49-F238E27FC236}">
                <a16:creationId xmlns:a16="http://schemas.microsoft.com/office/drawing/2014/main" id="{B16A4C37-6B47-5136-16A4-8EBAD77BD4C3}"/>
              </a:ext>
            </a:extLst>
          </p:cNvPr>
          <p:cNvCxnSpPr>
            <a:cxnSpLocks/>
          </p:cNvCxnSpPr>
          <p:nvPr userDrawn="1"/>
        </p:nvCxnSpPr>
        <p:spPr>
          <a:xfrm>
            <a:off x="9808420" y="5749536"/>
            <a:ext cx="0" cy="822302"/>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790580"/>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D483AE4-AE31-C6C4-2B7F-CC6C6F7F6E16}"/>
              </a:ext>
            </a:extLst>
          </p:cNvPr>
          <p:cNvPicPr>
            <a:picLocks noChangeAspect="1"/>
          </p:cNvPicPr>
          <p:nvPr userDrawn="1"/>
        </p:nvPicPr>
        <p:blipFill>
          <a:blip r:embed="rId2"/>
          <a:stretch/>
        </p:blipFill>
        <p:spPr>
          <a:xfrm>
            <a:off x="1" y="0"/>
            <a:ext cx="5715000" cy="6858000"/>
          </a:xfrm>
          <a:prstGeom prst="rect">
            <a:avLst/>
          </a:prstGeom>
        </p:spPr>
      </p:pic>
      <p:sp>
        <p:nvSpPr>
          <p:cNvPr id="24" name="Rectangle 23">
            <a:extLst>
              <a:ext uri="{FF2B5EF4-FFF2-40B4-BE49-F238E27FC236}">
                <a16:creationId xmlns:a16="http://schemas.microsoft.com/office/drawing/2014/main" id="{E2E712C4-39C9-4742-B9E7-132A9A3AF5FE}"/>
              </a:ext>
            </a:extLst>
          </p:cNvPr>
          <p:cNvSpPr/>
          <p:nvPr userDrawn="1"/>
        </p:nvSpPr>
        <p:spPr>
          <a:xfrm>
            <a:off x="5133975" y="-9235"/>
            <a:ext cx="7059613" cy="6873372"/>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4" name="Text Placeholder 2">
            <a:extLst>
              <a:ext uri="{FF2B5EF4-FFF2-40B4-BE49-F238E27FC236}">
                <a16:creationId xmlns:a16="http://schemas.microsoft.com/office/drawing/2014/main" id="{FB38E3C2-1007-2B39-F846-F020B150907A}"/>
              </a:ext>
            </a:extLst>
          </p:cNvPr>
          <p:cNvSpPr>
            <a:spLocks noGrp="1"/>
          </p:cNvSpPr>
          <p:nvPr>
            <p:ph type="body" sz="quarter" idx="10"/>
          </p:nvPr>
        </p:nvSpPr>
        <p:spPr>
          <a:xfrm>
            <a:off x="5791201" y="1616149"/>
            <a:ext cx="5828713" cy="4433778"/>
          </a:xfrm>
        </p:spPr>
        <p:txBody>
          <a:bodyPr anchor="t" anchorCtr="0"/>
          <a:lstStyle>
            <a:lvl1pPr marL="0" indent="0">
              <a:lnSpc>
                <a:spcPct val="100000"/>
              </a:lnSpc>
              <a:buNone/>
              <a:defRPr sz="2400" b="0">
                <a:solidFill>
                  <a:srgbClr val="FEFEFE"/>
                </a:solidFill>
                <a:latin typeface="+mn-lt"/>
                <a:ea typeface="Lato Light" panose="020F0502020204030203" pitchFamily="34" charset="0"/>
                <a:cs typeface="Lato Light" panose="020F0502020204030203" pitchFamily="34" charset="0"/>
              </a:defRPr>
            </a:lvl1pPr>
            <a:lvl2pPr marL="685800" indent="-339725">
              <a:defRPr sz="24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a:p>
            <a:pPr lvl="1"/>
            <a:r>
              <a:rPr lang="en-US"/>
              <a:t>Second level</a:t>
            </a:r>
          </a:p>
        </p:txBody>
      </p:sp>
      <p:grpSp>
        <p:nvGrpSpPr>
          <p:cNvPr id="2" name="Group 1">
            <a:extLst>
              <a:ext uri="{FF2B5EF4-FFF2-40B4-BE49-F238E27FC236}">
                <a16:creationId xmlns:a16="http://schemas.microsoft.com/office/drawing/2014/main" id="{E194CE97-2674-A9BA-8C66-232DDAB8BCC8}"/>
              </a:ext>
            </a:extLst>
          </p:cNvPr>
          <p:cNvGrpSpPr/>
          <p:nvPr userDrawn="1"/>
        </p:nvGrpSpPr>
        <p:grpSpPr>
          <a:xfrm>
            <a:off x="10839577" y="6559676"/>
            <a:ext cx="596870" cy="163968"/>
            <a:chOff x="1855788" y="3378201"/>
            <a:chExt cx="3709987" cy="1019175"/>
          </a:xfrm>
          <a:solidFill>
            <a:srgbClr val="FFFFFE"/>
          </a:solidFill>
        </p:grpSpPr>
        <p:sp>
          <p:nvSpPr>
            <p:cNvPr id="23" name="Freeform 5">
              <a:extLst>
                <a:ext uri="{FF2B5EF4-FFF2-40B4-BE49-F238E27FC236}">
                  <a16:creationId xmlns:a16="http://schemas.microsoft.com/office/drawing/2014/main" id="{31E221D7-36F7-66C6-B5E9-4065769E7F9B}"/>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6">
              <a:extLst>
                <a:ext uri="{FF2B5EF4-FFF2-40B4-BE49-F238E27FC236}">
                  <a16:creationId xmlns:a16="http://schemas.microsoft.com/office/drawing/2014/main" id="{2C79630F-A273-197D-CCA6-534FCC5C5369}"/>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7">
              <a:extLst>
                <a:ext uri="{FF2B5EF4-FFF2-40B4-BE49-F238E27FC236}">
                  <a16:creationId xmlns:a16="http://schemas.microsoft.com/office/drawing/2014/main" id="{FFE34677-1719-04CD-EF2E-EBB2A80D9D84}"/>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7" name="Freeform 8">
              <a:extLst>
                <a:ext uri="{FF2B5EF4-FFF2-40B4-BE49-F238E27FC236}">
                  <a16:creationId xmlns:a16="http://schemas.microsoft.com/office/drawing/2014/main" id="{CECC6161-5233-8969-D8DF-8C526EBF4C13}"/>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8" name="Freeform 9">
              <a:extLst>
                <a:ext uri="{FF2B5EF4-FFF2-40B4-BE49-F238E27FC236}">
                  <a16:creationId xmlns:a16="http://schemas.microsoft.com/office/drawing/2014/main" id="{51579046-142E-7EF2-67DC-114E6969E9E3}"/>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9" name="Freeform 10">
              <a:extLst>
                <a:ext uri="{FF2B5EF4-FFF2-40B4-BE49-F238E27FC236}">
                  <a16:creationId xmlns:a16="http://schemas.microsoft.com/office/drawing/2014/main" id="{294E415E-BA52-7730-A9E5-92843C51980E}"/>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0" name="Freeform 11">
              <a:extLst>
                <a:ext uri="{FF2B5EF4-FFF2-40B4-BE49-F238E27FC236}">
                  <a16:creationId xmlns:a16="http://schemas.microsoft.com/office/drawing/2014/main" id="{88BFDAC1-CEBC-1349-5C20-21D3A572E56C}"/>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1" name="Freeform 12">
              <a:extLst>
                <a:ext uri="{FF2B5EF4-FFF2-40B4-BE49-F238E27FC236}">
                  <a16:creationId xmlns:a16="http://schemas.microsoft.com/office/drawing/2014/main" id="{73402B9C-4318-181F-1369-B58A5B2DAD0E}"/>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2" name="Freeform 13">
              <a:extLst>
                <a:ext uri="{FF2B5EF4-FFF2-40B4-BE49-F238E27FC236}">
                  <a16:creationId xmlns:a16="http://schemas.microsoft.com/office/drawing/2014/main" id="{C6EAAF1C-54A7-3020-C587-76D80D300F82}"/>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3" name="Freeform 14">
              <a:extLst>
                <a:ext uri="{FF2B5EF4-FFF2-40B4-BE49-F238E27FC236}">
                  <a16:creationId xmlns:a16="http://schemas.microsoft.com/office/drawing/2014/main" id="{CA561C55-04DF-A09A-0EDA-4A6B823AD2CC}"/>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4" name="Freeform 15">
              <a:extLst>
                <a:ext uri="{FF2B5EF4-FFF2-40B4-BE49-F238E27FC236}">
                  <a16:creationId xmlns:a16="http://schemas.microsoft.com/office/drawing/2014/main" id="{F5B13FB2-7C0E-DF57-A5D5-A0E30F8729FF}"/>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Rectangle 16">
              <a:extLst>
                <a:ext uri="{FF2B5EF4-FFF2-40B4-BE49-F238E27FC236}">
                  <a16:creationId xmlns:a16="http://schemas.microsoft.com/office/drawing/2014/main" id="{7ECEABB8-1E9A-F67B-D6B7-9C6E68311EA0}"/>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6" name="Freeform 17">
              <a:extLst>
                <a:ext uri="{FF2B5EF4-FFF2-40B4-BE49-F238E27FC236}">
                  <a16:creationId xmlns:a16="http://schemas.microsoft.com/office/drawing/2014/main" id="{566E5098-2C4F-E06F-A5EF-ACE8E954A86E}"/>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7" name="Freeform 18">
              <a:extLst>
                <a:ext uri="{FF2B5EF4-FFF2-40B4-BE49-F238E27FC236}">
                  <a16:creationId xmlns:a16="http://schemas.microsoft.com/office/drawing/2014/main" id="{807BC0BF-DF51-3BBD-6F76-F908F2A11E95}"/>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8" name="Freeform 19">
              <a:extLst>
                <a:ext uri="{FF2B5EF4-FFF2-40B4-BE49-F238E27FC236}">
                  <a16:creationId xmlns:a16="http://schemas.microsoft.com/office/drawing/2014/main" id="{395D050F-C48E-01D1-92C9-EDA6778136D2}"/>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9" name="Freeform 20">
              <a:extLst>
                <a:ext uri="{FF2B5EF4-FFF2-40B4-BE49-F238E27FC236}">
                  <a16:creationId xmlns:a16="http://schemas.microsoft.com/office/drawing/2014/main" id="{0B8F2CF4-09A7-47E9-62A9-234B89824F6B}"/>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0" name="Freeform 21">
              <a:extLst>
                <a:ext uri="{FF2B5EF4-FFF2-40B4-BE49-F238E27FC236}">
                  <a16:creationId xmlns:a16="http://schemas.microsoft.com/office/drawing/2014/main" id="{F7F4DF36-DBE9-BE44-7F24-23F4B01618C1}"/>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1959386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Agenda">
    <p:bg>
      <p:bgRef idx="1001">
        <a:schemeClr val="bg1"/>
      </p:bgRef>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FB38E3C2-1007-2B39-F846-F020B150907A}"/>
              </a:ext>
            </a:extLst>
          </p:cNvPr>
          <p:cNvSpPr>
            <a:spLocks noGrp="1"/>
          </p:cNvSpPr>
          <p:nvPr>
            <p:ph type="body" sz="quarter" idx="10"/>
          </p:nvPr>
        </p:nvSpPr>
        <p:spPr>
          <a:xfrm>
            <a:off x="1046536" y="1949450"/>
            <a:ext cx="5710433" cy="4175125"/>
          </a:xfrm>
        </p:spPr>
        <p:txBody>
          <a:bodyPr anchor="t" anchorCtr="0"/>
          <a:lstStyle>
            <a:lvl1pPr marL="0" indent="0">
              <a:lnSpc>
                <a:spcPct val="100000"/>
              </a:lnSpc>
              <a:buNone/>
              <a:defRPr sz="2000" b="0">
                <a:solidFill>
                  <a:schemeClr val="tx1"/>
                </a:solidFill>
                <a:latin typeface="+mn-lt"/>
                <a:ea typeface="Lato Light" panose="020F0502020204030203" pitchFamily="34" charset="0"/>
                <a:cs typeface="Lato Light" panose="020F0502020204030203" pitchFamily="34" charset="0"/>
              </a:defRPr>
            </a:lvl1pPr>
            <a:lvl2pPr marL="685800" indent="-339725">
              <a:defRPr sz="2000">
                <a:solidFill>
                  <a:schemeClr val="tx1"/>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a:p>
            <a:pPr lvl="1"/>
            <a:r>
              <a:rPr lang="en-US"/>
              <a:t>Second level</a:t>
            </a:r>
          </a:p>
        </p:txBody>
      </p:sp>
      <p:pic>
        <p:nvPicPr>
          <p:cNvPr id="7" name="Picture 6" descr="A green and yellow circles&#10;&#10;Description automatically generated">
            <a:extLst>
              <a:ext uri="{FF2B5EF4-FFF2-40B4-BE49-F238E27FC236}">
                <a16:creationId xmlns:a16="http://schemas.microsoft.com/office/drawing/2014/main" id="{4E8F1CE9-61A9-32A4-6663-EA522861CF65}"/>
              </a:ext>
            </a:extLst>
          </p:cNvPr>
          <p:cNvPicPr>
            <a:picLocks noChangeAspect="1"/>
          </p:cNvPicPr>
          <p:nvPr userDrawn="1"/>
        </p:nvPicPr>
        <p:blipFill rotWithShape="1">
          <a:blip r:embed="rId2"/>
          <a:srcRect t="2" r="14874" b="22875"/>
          <a:stretch/>
        </p:blipFill>
        <p:spPr>
          <a:xfrm>
            <a:off x="6619875" y="1809687"/>
            <a:ext cx="5572125" cy="5048313"/>
          </a:xfrm>
          <a:prstGeom prst="rect">
            <a:avLst/>
          </a:prstGeom>
        </p:spPr>
      </p:pic>
      <p:sp>
        <p:nvSpPr>
          <p:cNvPr id="2" name="Rectangle 1">
            <a:extLst>
              <a:ext uri="{FF2B5EF4-FFF2-40B4-BE49-F238E27FC236}">
                <a16:creationId xmlns:a16="http://schemas.microsoft.com/office/drawing/2014/main" id="{825F37A1-7180-62A8-1A06-84048F6B4A18}"/>
              </a:ext>
            </a:extLst>
          </p:cNvPr>
          <p:cNvSpPr/>
          <p:nvPr userDrawn="1"/>
        </p:nvSpPr>
        <p:spPr>
          <a:xfrm>
            <a:off x="0" y="1"/>
            <a:ext cx="12192000" cy="4503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2900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s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AE2D12-F9BD-74FD-EF27-0A534ADDCEE3}"/>
              </a:ext>
            </a:extLst>
          </p:cNvPr>
          <p:cNvPicPr>
            <a:picLocks noChangeAspect="1"/>
          </p:cNvPicPr>
          <p:nvPr userDrawn="1"/>
        </p:nvPicPr>
        <p:blipFill>
          <a:blip r:embed="rId2"/>
          <a:srcRect/>
          <a:stretch/>
        </p:blipFill>
        <p:spPr>
          <a:xfrm>
            <a:off x="0" y="-1"/>
            <a:ext cx="5724258" cy="6869109"/>
          </a:xfrm>
          <a:prstGeom prst="rect">
            <a:avLst/>
          </a:prstGeom>
        </p:spPr>
      </p:pic>
      <p:sp>
        <p:nvSpPr>
          <p:cNvPr id="24" name="Rectangle 23">
            <a:extLst>
              <a:ext uri="{FF2B5EF4-FFF2-40B4-BE49-F238E27FC236}">
                <a16:creationId xmlns:a16="http://schemas.microsoft.com/office/drawing/2014/main" id="{E2E712C4-39C9-4742-B9E7-132A9A3AF5FE}"/>
              </a:ext>
            </a:extLst>
          </p:cNvPr>
          <p:cNvSpPr/>
          <p:nvPr userDrawn="1"/>
        </p:nvSpPr>
        <p:spPr>
          <a:xfrm>
            <a:off x="5133975" y="-9235"/>
            <a:ext cx="7059613" cy="6873372"/>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3" name="Title 1">
            <a:extLst>
              <a:ext uri="{FF2B5EF4-FFF2-40B4-BE49-F238E27FC236}">
                <a16:creationId xmlns:a16="http://schemas.microsoft.com/office/drawing/2014/main" id="{EEBEA41A-F022-C6A8-A136-459A6394DAEE}"/>
              </a:ext>
            </a:extLst>
          </p:cNvPr>
          <p:cNvSpPr>
            <a:spLocks noGrp="1"/>
          </p:cNvSpPr>
          <p:nvPr>
            <p:ph type="ctrTitle" hasCustomPrompt="1"/>
          </p:nvPr>
        </p:nvSpPr>
        <p:spPr>
          <a:xfrm>
            <a:off x="5786650" y="1842449"/>
            <a:ext cx="5850993" cy="3308990"/>
          </a:xfrm>
        </p:spPr>
        <p:txBody>
          <a:bodyPr anchor="ctr" anchorCtr="0">
            <a:noAutofit/>
          </a:bodyPr>
          <a:lstStyle>
            <a:lvl1pPr algn="l">
              <a:lnSpc>
                <a:spcPct val="95000"/>
              </a:lnSpc>
              <a:defRPr sz="4400" cap="none" baseline="0">
                <a:solidFill>
                  <a:srgbClr val="FFFFFE"/>
                </a:solidFill>
              </a:defRPr>
            </a:lvl1pPr>
          </a:lstStyle>
          <a:p>
            <a:r>
              <a:rPr lang="en-US"/>
              <a:t>Click to Edit Master Title Style</a:t>
            </a:r>
          </a:p>
        </p:txBody>
      </p:sp>
      <p:grpSp>
        <p:nvGrpSpPr>
          <p:cNvPr id="49" name="Group 48">
            <a:extLst>
              <a:ext uri="{FF2B5EF4-FFF2-40B4-BE49-F238E27FC236}">
                <a16:creationId xmlns:a16="http://schemas.microsoft.com/office/drawing/2014/main" id="{3F327170-30FF-FE09-BFC4-C1B87FCE61CD}"/>
              </a:ext>
            </a:extLst>
          </p:cNvPr>
          <p:cNvGrpSpPr/>
          <p:nvPr userDrawn="1"/>
        </p:nvGrpSpPr>
        <p:grpSpPr>
          <a:xfrm>
            <a:off x="10839577" y="6559676"/>
            <a:ext cx="596870" cy="163968"/>
            <a:chOff x="1855788" y="3378201"/>
            <a:chExt cx="3709987" cy="1019175"/>
          </a:xfrm>
          <a:solidFill>
            <a:srgbClr val="FFFFFE"/>
          </a:solidFill>
        </p:grpSpPr>
        <p:sp>
          <p:nvSpPr>
            <p:cNvPr id="50" name="Freeform 5">
              <a:extLst>
                <a:ext uri="{FF2B5EF4-FFF2-40B4-BE49-F238E27FC236}">
                  <a16:creationId xmlns:a16="http://schemas.microsoft.com/office/drawing/2014/main" id="{A1581A15-A57F-3825-F71B-E5F19DE51CFD}"/>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1" name="Freeform 6">
              <a:extLst>
                <a:ext uri="{FF2B5EF4-FFF2-40B4-BE49-F238E27FC236}">
                  <a16:creationId xmlns:a16="http://schemas.microsoft.com/office/drawing/2014/main" id="{E2FAF80E-768E-670B-95FC-662C97B85A06}"/>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2" name="Freeform 7">
              <a:extLst>
                <a:ext uri="{FF2B5EF4-FFF2-40B4-BE49-F238E27FC236}">
                  <a16:creationId xmlns:a16="http://schemas.microsoft.com/office/drawing/2014/main" id="{855A452B-DCF6-B59D-B85B-2AC297733336}"/>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3" name="Freeform 8">
              <a:extLst>
                <a:ext uri="{FF2B5EF4-FFF2-40B4-BE49-F238E27FC236}">
                  <a16:creationId xmlns:a16="http://schemas.microsoft.com/office/drawing/2014/main" id="{B11B01FC-ED2E-682E-6112-88F0F00FF78F}"/>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4" name="Freeform 9">
              <a:extLst>
                <a:ext uri="{FF2B5EF4-FFF2-40B4-BE49-F238E27FC236}">
                  <a16:creationId xmlns:a16="http://schemas.microsoft.com/office/drawing/2014/main" id="{D03DC722-9D1D-050C-FEB5-6D6AC032847B}"/>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5" name="Freeform 10">
              <a:extLst>
                <a:ext uri="{FF2B5EF4-FFF2-40B4-BE49-F238E27FC236}">
                  <a16:creationId xmlns:a16="http://schemas.microsoft.com/office/drawing/2014/main" id="{939EB606-40F1-BF08-3DCF-6046F33FF6C3}"/>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6" name="Freeform 11">
              <a:extLst>
                <a:ext uri="{FF2B5EF4-FFF2-40B4-BE49-F238E27FC236}">
                  <a16:creationId xmlns:a16="http://schemas.microsoft.com/office/drawing/2014/main" id="{61ECA4F6-53CA-BE1D-E014-135F37D88A51}"/>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7" name="Freeform 12">
              <a:extLst>
                <a:ext uri="{FF2B5EF4-FFF2-40B4-BE49-F238E27FC236}">
                  <a16:creationId xmlns:a16="http://schemas.microsoft.com/office/drawing/2014/main" id="{8CFF3900-1F84-0A0E-7B60-08EB003BBDE6}"/>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8" name="Freeform 13">
              <a:extLst>
                <a:ext uri="{FF2B5EF4-FFF2-40B4-BE49-F238E27FC236}">
                  <a16:creationId xmlns:a16="http://schemas.microsoft.com/office/drawing/2014/main" id="{C359869A-305E-41CB-9352-610EC267D6E0}"/>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9" name="Freeform 14">
              <a:extLst>
                <a:ext uri="{FF2B5EF4-FFF2-40B4-BE49-F238E27FC236}">
                  <a16:creationId xmlns:a16="http://schemas.microsoft.com/office/drawing/2014/main" id="{E8C77182-7DE6-E40D-FBD4-5D82AF992A57}"/>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0" name="Freeform 15">
              <a:extLst>
                <a:ext uri="{FF2B5EF4-FFF2-40B4-BE49-F238E27FC236}">
                  <a16:creationId xmlns:a16="http://schemas.microsoft.com/office/drawing/2014/main" id="{B6AB54D1-F661-2BF4-E467-D2CF682413C0}"/>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1" name="Rectangle 16">
              <a:extLst>
                <a:ext uri="{FF2B5EF4-FFF2-40B4-BE49-F238E27FC236}">
                  <a16:creationId xmlns:a16="http://schemas.microsoft.com/office/drawing/2014/main" id="{DCFA306D-7645-1A80-F80D-B4A15EB581C1}"/>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2" name="Freeform 17">
              <a:extLst>
                <a:ext uri="{FF2B5EF4-FFF2-40B4-BE49-F238E27FC236}">
                  <a16:creationId xmlns:a16="http://schemas.microsoft.com/office/drawing/2014/main" id="{DDBB5FCC-D8D4-65C2-4F3E-709612FBBEF7}"/>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3" name="Freeform 18">
              <a:extLst>
                <a:ext uri="{FF2B5EF4-FFF2-40B4-BE49-F238E27FC236}">
                  <a16:creationId xmlns:a16="http://schemas.microsoft.com/office/drawing/2014/main" id="{8ACE5460-4214-0BE9-B005-DD8DF90975AA}"/>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4" name="Freeform 19">
              <a:extLst>
                <a:ext uri="{FF2B5EF4-FFF2-40B4-BE49-F238E27FC236}">
                  <a16:creationId xmlns:a16="http://schemas.microsoft.com/office/drawing/2014/main" id="{CEC28E4B-4F6E-ECF6-D068-3FF7D5A8DC99}"/>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5" name="Freeform 20">
              <a:extLst>
                <a:ext uri="{FF2B5EF4-FFF2-40B4-BE49-F238E27FC236}">
                  <a16:creationId xmlns:a16="http://schemas.microsoft.com/office/drawing/2014/main" id="{A0BDC49B-6157-B16B-BA64-4C28854B69E7}"/>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6" name="Freeform 21">
              <a:extLst>
                <a:ext uri="{FF2B5EF4-FFF2-40B4-BE49-F238E27FC236}">
                  <a16:creationId xmlns:a16="http://schemas.microsoft.com/office/drawing/2014/main" id="{F01C7C87-A009-13E9-071A-E68BE8102363}"/>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5875361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Division higher E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AE2D12-F9BD-74FD-EF27-0A534ADDCEE3}"/>
              </a:ext>
            </a:extLst>
          </p:cNvPr>
          <p:cNvPicPr>
            <a:picLocks noChangeAspect="1"/>
          </p:cNvPicPr>
          <p:nvPr userDrawn="1"/>
        </p:nvPicPr>
        <p:blipFill rotWithShape="1">
          <a:blip r:embed="rId2"/>
          <a:srcRect t="3582" b="7112"/>
          <a:stretch/>
        </p:blipFill>
        <p:spPr>
          <a:xfrm>
            <a:off x="1659" y="-9235"/>
            <a:ext cx="5128868" cy="6867235"/>
          </a:xfrm>
          <a:prstGeom prst="rect">
            <a:avLst/>
          </a:prstGeom>
        </p:spPr>
      </p:pic>
      <p:sp>
        <p:nvSpPr>
          <p:cNvPr id="24" name="Rectangle 23">
            <a:extLst>
              <a:ext uri="{FF2B5EF4-FFF2-40B4-BE49-F238E27FC236}">
                <a16:creationId xmlns:a16="http://schemas.microsoft.com/office/drawing/2014/main" id="{E2E712C4-39C9-4742-B9E7-132A9A3AF5FE}"/>
              </a:ext>
            </a:extLst>
          </p:cNvPr>
          <p:cNvSpPr/>
          <p:nvPr userDrawn="1"/>
        </p:nvSpPr>
        <p:spPr>
          <a:xfrm>
            <a:off x="5133975" y="-9235"/>
            <a:ext cx="7059613" cy="6873372"/>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3" name="Title 1">
            <a:extLst>
              <a:ext uri="{FF2B5EF4-FFF2-40B4-BE49-F238E27FC236}">
                <a16:creationId xmlns:a16="http://schemas.microsoft.com/office/drawing/2014/main" id="{EEBEA41A-F022-C6A8-A136-459A6394DAEE}"/>
              </a:ext>
            </a:extLst>
          </p:cNvPr>
          <p:cNvSpPr>
            <a:spLocks noGrp="1"/>
          </p:cNvSpPr>
          <p:nvPr>
            <p:ph type="ctrTitle" hasCustomPrompt="1"/>
          </p:nvPr>
        </p:nvSpPr>
        <p:spPr>
          <a:xfrm>
            <a:off x="5786650" y="1842449"/>
            <a:ext cx="5850993" cy="3308990"/>
          </a:xfrm>
        </p:spPr>
        <p:txBody>
          <a:bodyPr anchor="ctr" anchorCtr="0">
            <a:noAutofit/>
          </a:bodyPr>
          <a:lstStyle>
            <a:lvl1pPr algn="l">
              <a:lnSpc>
                <a:spcPct val="95000"/>
              </a:lnSpc>
              <a:defRPr sz="4400" cap="none" baseline="0">
                <a:solidFill>
                  <a:srgbClr val="FFFFFE"/>
                </a:solidFill>
              </a:defRPr>
            </a:lvl1pPr>
          </a:lstStyle>
          <a:p>
            <a:r>
              <a:rPr lang="en-US"/>
              <a:t>Click to Edit Master Title Style</a:t>
            </a:r>
          </a:p>
        </p:txBody>
      </p:sp>
      <p:grpSp>
        <p:nvGrpSpPr>
          <p:cNvPr id="49" name="Group 48">
            <a:extLst>
              <a:ext uri="{FF2B5EF4-FFF2-40B4-BE49-F238E27FC236}">
                <a16:creationId xmlns:a16="http://schemas.microsoft.com/office/drawing/2014/main" id="{3F327170-30FF-FE09-BFC4-C1B87FCE61CD}"/>
              </a:ext>
            </a:extLst>
          </p:cNvPr>
          <p:cNvGrpSpPr/>
          <p:nvPr userDrawn="1"/>
        </p:nvGrpSpPr>
        <p:grpSpPr>
          <a:xfrm>
            <a:off x="10839577" y="6559676"/>
            <a:ext cx="596870" cy="163968"/>
            <a:chOff x="1855788" y="3378201"/>
            <a:chExt cx="3709987" cy="1019175"/>
          </a:xfrm>
          <a:solidFill>
            <a:srgbClr val="FFFFFE"/>
          </a:solidFill>
        </p:grpSpPr>
        <p:sp>
          <p:nvSpPr>
            <p:cNvPr id="50" name="Freeform 5">
              <a:extLst>
                <a:ext uri="{FF2B5EF4-FFF2-40B4-BE49-F238E27FC236}">
                  <a16:creationId xmlns:a16="http://schemas.microsoft.com/office/drawing/2014/main" id="{A1581A15-A57F-3825-F71B-E5F19DE51CFD}"/>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1" name="Freeform 6">
              <a:extLst>
                <a:ext uri="{FF2B5EF4-FFF2-40B4-BE49-F238E27FC236}">
                  <a16:creationId xmlns:a16="http://schemas.microsoft.com/office/drawing/2014/main" id="{E2FAF80E-768E-670B-95FC-662C97B85A06}"/>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2" name="Freeform 7">
              <a:extLst>
                <a:ext uri="{FF2B5EF4-FFF2-40B4-BE49-F238E27FC236}">
                  <a16:creationId xmlns:a16="http://schemas.microsoft.com/office/drawing/2014/main" id="{855A452B-DCF6-B59D-B85B-2AC297733336}"/>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3" name="Freeform 8">
              <a:extLst>
                <a:ext uri="{FF2B5EF4-FFF2-40B4-BE49-F238E27FC236}">
                  <a16:creationId xmlns:a16="http://schemas.microsoft.com/office/drawing/2014/main" id="{B11B01FC-ED2E-682E-6112-88F0F00FF78F}"/>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4" name="Freeform 9">
              <a:extLst>
                <a:ext uri="{FF2B5EF4-FFF2-40B4-BE49-F238E27FC236}">
                  <a16:creationId xmlns:a16="http://schemas.microsoft.com/office/drawing/2014/main" id="{D03DC722-9D1D-050C-FEB5-6D6AC032847B}"/>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5" name="Freeform 10">
              <a:extLst>
                <a:ext uri="{FF2B5EF4-FFF2-40B4-BE49-F238E27FC236}">
                  <a16:creationId xmlns:a16="http://schemas.microsoft.com/office/drawing/2014/main" id="{939EB606-40F1-BF08-3DCF-6046F33FF6C3}"/>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6" name="Freeform 11">
              <a:extLst>
                <a:ext uri="{FF2B5EF4-FFF2-40B4-BE49-F238E27FC236}">
                  <a16:creationId xmlns:a16="http://schemas.microsoft.com/office/drawing/2014/main" id="{61ECA4F6-53CA-BE1D-E014-135F37D88A51}"/>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7" name="Freeform 12">
              <a:extLst>
                <a:ext uri="{FF2B5EF4-FFF2-40B4-BE49-F238E27FC236}">
                  <a16:creationId xmlns:a16="http://schemas.microsoft.com/office/drawing/2014/main" id="{8CFF3900-1F84-0A0E-7B60-08EB003BBDE6}"/>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8" name="Freeform 13">
              <a:extLst>
                <a:ext uri="{FF2B5EF4-FFF2-40B4-BE49-F238E27FC236}">
                  <a16:creationId xmlns:a16="http://schemas.microsoft.com/office/drawing/2014/main" id="{C359869A-305E-41CB-9352-610EC267D6E0}"/>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9" name="Freeform 14">
              <a:extLst>
                <a:ext uri="{FF2B5EF4-FFF2-40B4-BE49-F238E27FC236}">
                  <a16:creationId xmlns:a16="http://schemas.microsoft.com/office/drawing/2014/main" id="{E8C77182-7DE6-E40D-FBD4-5D82AF992A57}"/>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0" name="Freeform 15">
              <a:extLst>
                <a:ext uri="{FF2B5EF4-FFF2-40B4-BE49-F238E27FC236}">
                  <a16:creationId xmlns:a16="http://schemas.microsoft.com/office/drawing/2014/main" id="{B6AB54D1-F661-2BF4-E467-D2CF682413C0}"/>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1" name="Rectangle 16">
              <a:extLst>
                <a:ext uri="{FF2B5EF4-FFF2-40B4-BE49-F238E27FC236}">
                  <a16:creationId xmlns:a16="http://schemas.microsoft.com/office/drawing/2014/main" id="{DCFA306D-7645-1A80-F80D-B4A15EB581C1}"/>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2" name="Freeform 17">
              <a:extLst>
                <a:ext uri="{FF2B5EF4-FFF2-40B4-BE49-F238E27FC236}">
                  <a16:creationId xmlns:a16="http://schemas.microsoft.com/office/drawing/2014/main" id="{DDBB5FCC-D8D4-65C2-4F3E-709612FBBEF7}"/>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3" name="Freeform 18">
              <a:extLst>
                <a:ext uri="{FF2B5EF4-FFF2-40B4-BE49-F238E27FC236}">
                  <a16:creationId xmlns:a16="http://schemas.microsoft.com/office/drawing/2014/main" id="{8ACE5460-4214-0BE9-B005-DD8DF90975AA}"/>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4" name="Freeform 19">
              <a:extLst>
                <a:ext uri="{FF2B5EF4-FFF2-40B4-BE49-F238E27FC236}">
                  <a16:creationId xmlns:a16="http://schemas.microsoft.com/office/drawing/2014/main" id="{CEC28E4B-4F6E-ECF6-D068-3FF7D5A8DC99}"/>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5" name="Freeform 20">
              <a:extLst>
                <a:ext uri="{FF2B5EF4-FFF2-40B4-BE49-F238E27FC236}">
                  <a16:creationId xmlns:a16="http://schemas.microsoft.com/office/drawing/2014/main" id="{A0BDC49B-6157-B16B-BA64-4C28854B69E7}"/>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66" name="Freeform 21">
              <a:extLst>
                <a:ext uri="{FF2B5EF4-FFF2-40B4-BE49-F238E27FC236}">
                  <a16:creationId xmlns:a16="http://schemas.microsoft.com/office/drawing/2014/main" id="{F01C7C87-A009-13E9-071A-E68BE8102363}"/>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56203690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Division">
    <p:spTree>
      <p:nvGrpSpPr>
        <p:cNvPr id="1" name=""/>
        <p:cNvGrpSpPr/>
        <p:nvPr/>
      </p:nvGrpSpPr>
      <p:grpSpPr>
        <a:xfrm>
          <a:off x="0" y="0"/>
          <a:ext cx="0" cy="0"/>
          <a:chOff x="0" y="0"/>
          <a:chExt cx="0" cy="0"/>
        </a:xfrm>
      </p:grpSpPr>
      <p:pic>
        <p:nvPicPr>
          <p:cNvPr id="6" name="Picture 5" descr="A city skyline at night&#10;&#10;Description automatically generated">
            <a:extLst>
              <a:ext uri="{FF2B5EF4-FFF2-40B4-BE49-F238E27FC236}">
                <a16:creationId xmlns:a16="http://schemas.microsoft.com/office/drawing/2014/main" id="{33BB81AE-32C1-2F19-070C-1B7AE2A56179}"/>
              </a:ext>
            </a:extLst>
          </p:cNvPr>
          <p:cNvPicPr>
            <a:picLocks noChangeAspect="1"/>
          </p:cNvPicPr>
          <p:nvPr userDrawn="1"/>
        </p:nvPicPr>
        <p:blipFill>
          <a:blip r:embed="rId2"/>
          <a:stretch>
            <a:fillRect/>
          </a:stretch>
        </p:blipFill>
        <p:spPr>
          <a:xfrm>
            <a:off x="0" y="0"/>
            <a:ext cx="5715000" cy="6858000"/>
          </a:xfrm>
          <a:prstGeom prst="rect">
            <a:avLst/>
          </a:prstGeom>
        </p:spPr>
      </p:pic>
      <p:sp>
        <p:nvSpPr>
          <p:cNvPr id="24" name="Rectangle 23">
            <a:extLst>
              <a:ext uri="{FF2B5EF4-FFF2-40B4-BE49-F238E27FC236}">
                <a16:creationId xmlns:a16="http://schemas.microsoft.com/office/drawing/2014/main" id="{E2E712C4-39C9-4742-B9E7-132A9A3AF5FE}"/>
              </a:ext>
            </a:extLst>
          </p:cNvPr>
          <p:cNvSpPr/>
          <p:nvPr userDrawn="1"/>
        </p:nvSpPr>
        <p:spPr>
          <a:xfrm>
            <a:off x="5133975" y="-9235"/>
            <a:ext cx="7059613" cy="6873372"/>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3" name="Title 1">
            <a:extLst>
              <a:ext uri="{FF2B5EF4-FFF2-40B4-BE49-F238E27FC236}">
                <a16:creationId xmlns:a16="http://schemas.microsoft.com/office/drawing/2014/main" id="{E0E42CC6-5EFB-89DC-AC25-05210A3462BC}"/>
              </a:ext>
            </a:extLst>
          </p:cNvPr>
          <p:cNvSpPr>
            <a:spLocks noGrp="1"/>
          </p:cNvSpPr>
          <p:nvPr>
            <p:ph type="ctrTitle" hasCustomPrompt="1"/>
          </p:nvPr>
        </p:nvSpPr>
        <p:spPr>
          <a:xfrm>
            <a:off x="5786650" y="1842449"/>
            <a:ext cx="5850993" cy="3308990"/>
          </a:xfrm>
        </p:spPr>
        <p:txBody>
          <a:bodyPr anchor="ctr" anchorCtr="0">
            <a:noAutofit/>
          </a:bodyPr>
          <a:lstStyle>
            <a:lvl1pPr algn="l">
              <a:lnSpc>
                <a:spcPct val="95000"/>
              </a:lnSpc>
              <a:defRPr sz="4400" cap="none" baseline="0">
                <a:solidFill>
                  <a:srgbClr val="FFFFFE"/>
                </a:solidFill>
              </a:defRPr>
            </a:lvl1pPr>
          </a:lstStyle>
          <a:p>
            <a:r>
              <a:rPr lang="en-US"/>
              <a:t>Click to Edit Master Title Style</a:t>
            </a:r>
          </a:p>
        </p:txBody>
      </p:sp>
      <p:grpSp>
        <p:nvGrpSpPr>
          <p:cNvPr id="2" name="Group 1">
            <a:extLst>
              <a:ext uri="{FF2B5EF4-FFF2-40B4-BE49-F238E27FC236}">
                <a16:creationId xmlns:a16="http://schemas.microsoft.com/office/drawing/2014/main" id="{07B20BE9-1569-0E45-0D94-E3E3958514FB}"/>
              </a:ext>
            </a:extLst>
          </p:cNvPr>
          <p:cNvGrpSpPr/>
          <p:nvPr userDrawn="1"/>
        </p:nvGrpSpPr>
        <p:grpSpPr>
          <a:xfrm>
            <a:off x="10839577" y="6559676"/>
            <a:ext cx="596870" cy="163968"/>
            <a:chOff x="1855788" y="3378201"/>
            <a:chExt cx="3709987" cy="1019175"/>
          </a:xfrm>
          <a:solidFill>
            <a:srgbClr val="FFFFFE"/>
          </a:solidFill>
        </p:grpSpPr>
        <p:sp>
          <p:nvSpPr>
            <p:cNvPr id="4" name="Freeform 5">
              <a:extLst>
                <a:ext uri="{FF2B5EF4-FFF2-40B4-BE49-F238E27FC236}">
                  <a16:creationId xmlns:a16="http://schemas.microsoft.com/office/drawing/2014/main" id="{8D8857CD-39A7-3EC4-F927-57EAE65B6681}"/>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6">
              <a:extLst>
                <a:ext uri="{FF2B5EF4-FFF2-40B4-BE49-F238E27FC236}">
                  <a16:creationId xmlns:a16="http://schemas.microsoft.com/office/drawing/2014/main" id="{AFA3A98D-E2D0-FA46-9686-820169F999DE}"/>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7">
              <a:extLst>
                <a:ext uri="{FF2B5EF4-FFF2-40B4-BE49-F238E27FC236}">
                  <a16:creationId xmlns:a16="http://schemas.microsoft.com/office/drawing/2014/main" id="{D3490CA0-1520-F906-D45C-EA44E69928E3}"/>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7" name="Freeform 8">
              <a:extLst>
                <a:ext uri="{FF2B5EF4-FFF2-40B4-BE49-F238E27FC236}">
                  <a16:creationId xmlns:a16="http://schemas.microsoft.com/office/drawing/2014/main" id="{1DA8DDAC-EF68-63FD-2F87-CE2C52699D7B}"/>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8" name="Freeform 9">
              <a:extLst>
                <a:ext uri="{FF2B5EF4-FFF2-40B4-BE49-F238E27FC236}">
                  <a16:creationId xmlns:a16="http://schemas.microsoft.com/office/drawing/2014/main" id="{7F5375C4-8353-A7E8-D1A1-C316111C9082}"/>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9" name="Freeform 10">
              <a:extLst>
                <a:ext uri="{FF2B5EF4-FFF2-40B4-BE49-F238E27FC236}">
                  <a16:creationId xmlns:a16="http://schemas.microsoft.com/office/drawing/2014/main" id="{64D76A84-65AA-CA2A-FF50-C2DDBF9C9EB2}"/>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0" name="Freeform 11">
              <a:extLst>
                <a:ext uri="{FF2B5EF4-FFF2-40B4-BE49-F238E27FC236}">
                  <a16:creationId xmlns:a16="http://schemas.microsoft.com/office/drawing/2014/main" id="{D5C2CC52-E817-2B60-DF7C-AB0BE1C4667A}"/>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1" name="Freeform 12">
              <a:extLst>
                <a:ext uri="{FF2B5EF4-FFF2-40B4-BE49-F238E27FC236}">
                  <a16:creationId xmlns:a16="http://schemas.microsoft.com/office/drawing/2014/main" id="{6E0E07D4-0681-F46D-6A7E-335DC300458D}"/>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2" name="Freeform 13">
              <a:extLst>
                <a:ext uri="{FF2B5EF4-FFF2-40B4-BE49-F238E27FC236}">
                  <a16:creationId xmlns:a16="http://schemas.microsoft.com/office/drawing/2014/main" id="{D6E9CFA8-FB2D-FDFF-BFA6-23AE1F30A318}"/>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3" name="Freeform 14">
              <a:extLst>
                <a:ext uri="{FF2B5EF4-FFF2-40B4-BE49-F238E27FC236}">
                  <a16:creationId xmlns:a16="http://schemas.microsoft.com/office/drawing/2014/main" id="{01318F55-5624-49BD-B3CE-B756F3B45F55}"/>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4" name="Freeform 15">
              <a:extLst>
                <a:ext uri="{FF2B5EF4-FFF2-40B4-BE49-F238E27FC236}">
                  <a16:creationId xmlns:a16="http://schemas.microsoft.com/office/drawing/2014/main" id="{11A44E98-A518-EA60-5BD9-FA640ED82301}"/>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Rectangle 16">
              <a:extLst>
                <a:ext uri="{FF2B5EF4-FFF2-40B4-BE49-F238E27FC236}">
                  <a16:creationId xmlns:a16="http://schemas.microsoft.com/office/drawing/2014/main" id="{9944B56A-193F-0EE8-4B74-9BA2D48DAE2C}"/>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6" name="Freeform 17">
              <a:extLst>
                <a:ext uri="{FF2B5EF4-FFF2-40B4-BE49-F238E27FC236}">
                  <a16:creationId xmlns:a16="http://schemas.microsoft.com/office/drawing/2014/main" id="{59B84D43-BEAD-C909-E738-81BAAD3F33C2}"/>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7" name="Freeform 18">
              <a:extLst>
                <a:ext uri="{FF2B5EF4-FFF2-40B4-BE49-F238E27FC236}">
                  <a16:creationId xmlns:a16="http://schemas.microsoft.com/office/drawing/2014/main" id="{BBF3F2ED-9606-4ACC-8C2E-99B8E87FAC96}"/>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8" name="Freeform 19">
              <a:extLst>
                <a:ext uri="{FF2B5EF4-FFF2-40B4-BE49-F238E27FC236}">
                  <a16:creationId xmlns:a16="http://schemas.microsoft.com/office/drawing/2014/main" id="{ADCA0AAB-A877-ABAF-56F6-3C59364019E9}"/>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9" name="Freeform 20">
              <a:extLst>
                <a:ext uri="{FF2B5EF4-FFF2-40B4-BE49-F238E27FC236}">
                  <a16:creationId xmlns:a16="http://schemas.microsoft.com/office/drawing/2014/main" id="{91CE1A29-3443-875B-D60B-EC029E0091A2}"/>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0" name="Freeform 21">
              <a:extLst>
                <a:ext uri="{FF2B5EF4-FFF2-40B4-BE49-F238E27FC236}">
                  <a16:creationId xmlns:a16="http://schemas.microsoft.com/office/drawing/2014/main" id="{75D54A1D-F9AB-3A10-260D-5035FA085511}"/>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41756761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Division">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D483AE4-AE31-C6C4-2B7F-CC6C6F7F6E16}"/>
              </a:ext>
            </a:extLst>
          </p:cNvPr>
          <p:cNvPicPr>
            <a:picLocks noChangeAspect="1"/>
          </p:cNvPicPr>
          <p:nvPr userDrawn="1"/>
        </p:nvPicPr>
        <p:blipFill>
          <a:blip r:embed="rId2"/>
          <a:stretch/>
        </p:blipFill>
        <p:spPr>
          <a:xfrm>
            <a:off x="1" y="0"/>
            <a:ext cx="5715000" cy="6858000"/>
          </a:xfrm>
          <a:prstGeom prst="rect">
            <a:avLst/>
          </a:prstGeom>
        </p:spPr>
      </p:pic>
      <p:sp>
        <p:nvSpPr>
          <p:cNvPr id="24" name="Rectangle 23">
            <a:extLst>
              <a:ext uri="{FF2B5EF4-FFF2-40B4-BE49-F238E27FC236}">
                <a16:creationId xmlns:a16="http://schemas.microsoft.com/office/drawing/2014/main" id="{E2E712C4-39C9-4742-B9E7-132A9A3AF5FE}"/>
              </a:ext>
            </a:extLst>
          </p:cNvPr>
          <p:cNvSpPr/>
          <p:nvPr userDrawn="1"/>
        </p:nvSpPr>
        <p:spPr>
          <a:xfrm>
            <a:off x="5133975" y="-9235"/>
            <a:ext cx="7059613" cy="6873372"/>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4" name="Title 1">
            <a:extLst>
              <a:ext uri="{FF2B5EF4-FFF2-40B4-BE49-F238E27FC236}">
                <a16:creationId xmlns:a16="http://schemas.microsoft.com/office/drawing/2014/main" id="{D94579CD-B301-24BF-1784-628D0E87A83C}"/>
              </a:ext>
            </a:extLst>
          </p:cNvPr>
          <p:cNvSpPr>
            <a:spLocks noGrp="1"/>
          </p:cNvSpPr>
          <p:nvPr>
            <p:ph type="ctrTitle" hasCustomPrompt="1"/>
          </p:nvPr>
        </p:nvSpPr>
        <p:spPr>
          <a:xfrm>
            <a:off x="5786650" y="1842449"/>
            <a:ext cx="5850993" cy="3308990"/>
          </a:xfrm>
        </p:spPr>
        <p:txBody>
          <a:bodyPr anchor="ctr" anchorCtr="0">
            <a:noAutofit/>
          </a:bodyPr>
          <a:lstStyle>
            <a:lvl1pPr algn="l">
              <a:lnSpc>
                <a:spcPct val="95000"/>
              </a:lnSpc>
              <a:defRPr sz="4400" cap="none" baseline="0">
                <a:solidFill>
                  <a:srgbClr val="FFFFFE"/>
                </a:solidFill>
              </a:defRPr>
            </a:lvl1pPr>
          </a:lstStyle>
          <a:p>
            <a:r>
              <a:rPr lang="en-US"/>
              <a:t>Click to Edit Master Title Style</a:t>
            </a:r>
          </a:p>
        </p:txBody>
      </p:sp>
      <p:grpSp>
        <p:nvGrpSpPr>
          <p:cNvPr id="2" name="Group 1">
            <a:extLst>
              <a:ext uri="{FF2B5EF4-FFF2-40B4-BE49-F238E27FC236}">
                <a16:creationId xmlns:a16="http://schemas.microsoft.com/office/drawing/2014/main" id="{9532BBAB-0878-8B88-8A14-48910DABE60F}"/>
              </a:ext>
            </a:extLst>
          </p:cNvPr>
          <p:cNvGrpSpPr/>
          <p:nvPr userDrawn="1"/>
        </p:nvGrpSpPr>
        <p:grpSpPr>
          <a:xfrm>
            <a:off x="10839577" y="6559676"/>
            <a:ext cx="596870" cy="163968"/>
            <a:chOff x="1855788" y="3378201"/>
            <a:chExt cx="3709987" cy="1019175"/>
          </a:xfrm>
          <a:solidFill>
            <a:srgbClr val="FFFFFE"/>
          </a:solidFill>
        </p:grpSpPr>
        <p:sp>
          <p:nvSpPr>
            <p:cNvPr id="23" name="Freeform 5">
              <a:extLst>
                <a:ext uri="{FF2B5EF4-FFF2-40B4-BE49-F238E27FC236}">
                  <a16:creationId xmlns:a16="http://schemas.microsoft.com/office/drawing/2014/main" id="{99B10848-4E01-FB49-33A9-83AEA351B64B}"/>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6">
              <a:extLst>
                <a:ext uri="{FF2B5EF4-FFF2-40B4-BE49-F238E27FC236}">
                  <a16:creationId xmlns:a16="http://schemas.microsoft.com/office/drawing/2014/main" id="{E8D8AAE7-4372-70A0-7579-32D912EFF6BA}"/>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7">
              <a:extLst>
                <a:ext uri="{FF2B5EF4-FFF2-40B4-BE49-F238E27FC236}">
                  <a16:creationId xmlns:a16="http://schemas.microsoft.com/office/drawing/2014/main" id="{783EA472-F832-CFB3-5360-EC1F544D5693}"/>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7" name="Freeform 8">
              <a:extLst>
                <a:ext uri="{FF2B5EF4-FFF2-40B4-BE49-F238E27FC236}">
                  <a16:creationId xmlns:a16="http://schemas.microsoft.com/office/drawing/2014/main" id="{EA42CCCB-831D-067C-53C2-B8E8F686C37D}"/>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8" name="Freeform 9">
              <a:extLst>
                <a:ext uri="{FF2B5EF4-FFF2-40B4-BE49-F238E27FC236}">
                  <a16:creationId xmlns:a16="http://schemas.microsoft.com/office/drawing/2014/main" id="{E2FE99FA-F769-A417-1A35-BC42BC99A85C}"/>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9" name="Freeform 10">
              <a:extLst>
                <a:ext uri="{FF2B5EF4-FFF2-40B4-BE49-F238E27FC236}">
                  <a16:creationId xmlns:a16="http://schemas.microsoft.com/office/drawing/2014/main" id="{7F1BAE5F-353E-C847-CBB1-8CA7087181A7}"/>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0" name="Freeform 11">
              <a:extLst>
                <a:ext uri="{FF2B5EF4-FFF2-40B4-BE49-F238E27FC236}">
                  <a16:creationId xmlns:a16="http://schemas.microsoft.com/office/drawing/2014/main" id="{B843D4BB-EFDA-AB79-D748-9F181837BA91}"/>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1" name="Freeform 12">
              <a:extLst>
                <a:ext uri="{FF2B5EF4-FFF2-40B4-BE49-F238E27FC236}">
                  <a16:creationId xmlns:a16="http://schemas.microsoft.com/office/drawing/2014/main" id="{2F48DFCD-595F-1238-F098-EE09F66AADA1}"/>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2" name="Freeform 13">
              <a:extLst>
                <a:ext uri="{FF2B5EF4-FFF2-40B4-BE49-F238E27FC236}">
                  <a16:creationId xmlns:a16="http://schemas.microsoft.com/office/drawing/2014/main" id="{DEA82626-99E2-AE34-5719-872B70F3D85F}"/>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3" name="Freeform 14">
              <a:extLst>
                <a:ext uri="{FF2B5EF4-FFF2-40B4-BE49-F238E27FC236}">
                  <a16:creationId xmlns:a16="http://schemas.microsoft.com/office/drawing/2014/main" id="{B192C60A-B2B3-697A-0892-50F44A31ADD3}"/>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4" name="Freeform 15">
              <a:extLst>
                <a:ext uri="{FF2B5EF4-FFF2-40B4-BE49-F238E27FC236}">
                  <a16:creationId xmlns:a16="http://schemas.microsoft.com/office/drawing/2014/main" id="{5BAA9A52-5199-13A6-7A75-31FE00A12EBD}"/>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Rectangle 16">
              <a:extLst>
                <a:ext uri="{FF2B5EF4-FFF2-40B4-BE49-F238E27FC236}">
                  <a16:creationId xmlns:a16="http://schemas.microsoft.com/office/drawing/2014/main" id="{433832F9-4E03-FA75-15A4-6A6B79F96F0F}"/>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6" name="Freeform 17">
              <a:extLst>
                <a:ext uri="{FF2B5EF4-FFF2-40B4-BE49-F238E27FC236}">
                  <a16:creationId xmlns:a16="http://schemas.microsoft.com/office/drawing/2014/main" id="{0149A768-E5E5-DB75-7112-24444FDAAF70}"/>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7" name="Freeform 18">
              <a:extLst>
                <a:ext uri="{FF2B5EF4-FFF2-40B4-BE49-F238E27FC236}">
                  <a16:creationId xmlns:a16="http://schemas.microsoft.com/office/drawing/2014/main" id="{175AB587-DF01-E154-9D8E-E2468A368306}"/>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8" name="Freeform 19">
              <a:extLst>
                <a:ext uri="{FF2B5EF4-FFF2-40B4-BE49-F238E27FC236}">
                  <a16:creationId xmlns:a16="http://schemas.microsoft.com/office/drawing/2014/main" id="{D4F4B19F-AB78-9962-2736-03021916B181}"/>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9" name="Freeform 20">
              <a:extLst>
                <a:ext uri="{FF2B5EF4-FFF2-40B4-BE49-F238E27FC236}">
                  <a16:creationId xmlns:a16="http://schemas.microsoft.com/office/drawing/2014/main" id="{10419DCB-8D41-6F24-8D17-B3963824BA68}"/>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0" name="Freeform 21">
              <a:extLst>
                <a:ext uri="{FF2B5EF4-FFF2-40B4-BE49-F238E27FC236}">
                  <a16:creationId xmlns:a16="http://schemas.microsoft.com/office/drawing/2014/main" id="{E17161FC-CF8A-B253-9B03-31C23F72FDE8}"/>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15952818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1160281"/>
      </p:ext>
    </p:extLst>
  </p:cSld>
  <p:clrMapOvr>
    <a:masterClrMapping/>
  </p:clrMapOvr>
  <p:transition>
    <p:fade/>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604011" y="60972"/>
            <a:ext cx="11000317" cy="950706"/>
          </a:xfrm>
        </p:spPr>
        <p:txBody>
          <a:bodyPr/>
          <a:lstStyle>
            <a:lvl1pPr algn="ctr">
              <a:defRPr sz="4000"/>
            </a:lvl1pPr>
          </a:lstStyle>
          <a:p>
            <a:r>
              <a:rPr lang="en-US"/>
              <a:t>Click to edit Master title style</a:t>
            </a:r>
          </a:p>
        </p:txBody>
      </p:sp>
    </p:spTree>
    <p:extLst>
      <p:ext uri="{BB962C8B-B14F-4D97-AF65-F5344CB8AC3E}">
        <p14:creationId xmlns:p14="http://schemas.microsoft.com/office/powerpoint/2010/main" val="683970740"/>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Sub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
        <p:nvSpPr>
          <p:cNvPr id="8" name="Text Placeholder 6">
            <a:extLst>
              <a:ext uri="{FF2B5EF4-FFF2-40B4-BE49-F238E27FC236}">
                <a16:creationId xmlns:a16="http://schemas.microsoft.com/office/drawing/2014/main" id="{B2E72ABD-7529-456D-97E2-F470CB60CC20}"/>
              </a:ext>
            </a:extLst>
          </p:cNvPr>
          <p:cNvSpPr>
            <a:spLocks noGrp="1"/>
          </p:cNvSpPr>
          <p:nvPr>
            <p:ph type="body" sz="quarter" idx="13" hasCustomPrompt="1"/>
          </p:nvPr>
        </p:nvSpPr>
        <p:spPr>
          <a:xfrm>
            <a:off x="621595" y="1089047"/>
            <a:ext cx="11081528" cy="460439"/>
          </a:xfrm>
        </p:spPr>
        <p:txBody>
          <a:bodyPr/>
          <a:lstStyle>
            <a:lvl1pPr marL="0" indent="0">
              <a:buNone/>
              <a:defRPr sz="2800" b="1">
                <a:solidFill>
                  <a:schemeClr val="tx1"/>
                </a:solidFill>
                <a:latin typeface="+mn-lt"/>
              </a:defRPr>
            </a:lvl1pPr>
          </a:lstStyle>
          <a:p>
            <a:pPr lvl="0"/>
            <a:r>
              <a:rPr lang="en-US"/>
              <a:t>Edit Master subtitle styles</a:t>
            </a:r>
          </a:p>
        </p:txBody>
      </p:sp>
    </p:spTree>
    <p:extLst>
      <p:ext uri="{BB962C8B-B14F-4D97-AF65-F5344CB8AC3E}">
        <p14:creationId xmlns:p14="http://schemas.microsoft.com/office/powerpoint/2010/main" val="40333723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2 color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604011" y="182892"/>
            <a:ext cx="11071242" cy="574754"/>
          </a:xfrm>
        </p:spPr>
        <p:txBody>
          <a:bodyPr/>
          <a:lstStyle>
            <a:lvl1pPr>
              <a:defRPr sz="3000">
                <a:solidFill>
                  <a:schemeClr val="accent3"/>
                </a:solidFill>
              </a:defRPr>
            </a:lvl1pPr>
          </a:lstStyle>
          <a:p>
            <a:r>
              <a:rPr lang="en-US"/>
              <a:t>Click to edit Master title style</a:t>
            </a:r>
          </a:p>
        </p:txBody>
      </p:sp>
      <p:sp>
        <p:nvSpPr>
          <p:cNvPr id="8" name="Text Placeholder 6">
            <a:extLst>
              <a:ext uri="{FF2B5EF4-FFF2-40B4-BE49-F238E27FC236}">
                <a16:creationId xmlns:a16="http://schemas.microsoft.com/office/drawing/2014/main" id="{B2E72ABD-7529-456D-97E2-F470CB60CC20}"/>
              </a:ext>
            </a:extLst>
          </p:cNvPr>
          <p:cNvSpPr>
            <a:spLocks noGrp="1"/>
          </p:cNvSpPr>
          <p:nvPr>
            <p:ph type="body" sz="quarter" idx="13" hasCustomPrompt="1"/>
          </p:nvPr>
        </p:nvSpPr>
        <p:spPr>
          <a:xfrm>
            <a:off x="595470" y="744829"/>
            <a:ext cx="11081528" cy="622415"/>
          </a:xfrm>
        </p:spPr>
        <p:txBody>
          <a:bodyPr/>
          <a:lstStyle>
            <a:lvl1pPr marL="0" indent="0">
              <a:buNone/>
              <a:defRPr sz="3600" b="1">
                <a:solidFill>
                  <a:schemeClr val="tx1"/>
                </a:solidFill>
                <a:latin typeface="+mj-lt"/>
              </a:defRPr>
            </a:lvl1pPr>
          </a:lstStyle>
          <a:p>
            <a:pPr lvl="0"/>
            <a:r>
              <a:rPr lang="en-US"/>
              <a:t>Edit Master subtitle styles</a:t>
            </a:r>
          </a:p>
        </p:txBody>
      </p:sp>
    </p:spTree>
    <p:extLst>
      <p:ext uri="{BB962C8B-B14F-4D97-AF65-F5344CB8AC3E}">
        <p14:creationId xmlns:p14="http://schemas.microsoft.com/office/powerpoint/2010/main" val="1942253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216D4F13-D3A7-AA72-87F8-F7F1333C62F6}"/>
              </a:ext>
            </a:extLst>
          </p:cNvPr>
          <p:cNvSpPr>
            <a:spLocks noGrp="1"/>
          </p:cNvSpPr>
          <p:nvPr>
            <p:ph type="body" sz="quarter" idx="11"/>
          </p:nvPr>
        </p:nvSpPr>
        <p:spPr>
          <a:xfrm>
            <a:off x="592138" y="1435396"/>
            <a:ext cx="11103676" cy="2892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93283"/>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2553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sion">
    <p:bg>
      <p:bgRef idx="1001">
        <a:schemeClr val="bg1"/>
      </p:bgRef>
    </p:bg>
    <p:spTree>
      <p:nvGrpSpPr>
        <p:cNvPr id="1" name=""/>
        <p:cNvGrpSpPr/>
        <p:nvPr/>
      </p:nvGrpSpPr>
      <p:grpSpPr>
        <a:xfrm>
          <a:off x="0" y="0"/>
          <a:ext cx="0" cy="0"/>
          <a:chOff x="0" y="0"/>
          <a:chExt cx="0" cy="0"/>
        </a:xfrm>
      </p:grpSpPr>
      <p:pic>
        <p:nvPicPr>
          <p:cNvPr id="4" name="Picture 3" descr="A green sphere with a black background&#10;&#10;Description automatically generated">
            <a:extLst>
              <a:ext uri="{FF2B5EF4-FFF2-40B4-BE49-F238E27FC236}">
                <a16:creationId xmlns:a16="http://schemas.microsoft.com/office/drawing/2014/main" id="{0BBB3A11-C22E-FAA5-6660-495C250E85CB}"/>
              </a:ext>
            </a:extLst>
          </p:cNvPr>
          <p:cNvPicPr>
            <a:picLocks noChangeAspect="1"/>
          </p:cNvPicPr>
          <p:nvPr userDrawn="1"/>
        </p:nvPicPr>
        <p:blipFill rotWithShape="1">
          <a:blip r:embed="rId2">
            <a:alphaModFix amt="75000"/>
          </a:blip>
          <a:srcRect l="6504" t="7410" r="2639" b="6701"/>
          <a:stretch/>
        </p:blipFill>
        <p:spPr>
          <a:xfrm>
            <a:off x="3094265" y="489856"/>
            <a:ext cx="6270172" cy="5927273"/>
          </a:xfrm>
          <a:prstGeom prst="rect">
            <a:avLst/>
          </a:prstGeom>
        </p:spPr>
      </p:pic>
      <p:sp>
        <p:nvSpPr>
          <p:cNvPr id="5" name="Rectangle 4">
            <a:extLst>
              <a:ext uri="{FF2B5EF4-FFF2-40B4-BE49-F238E27FC236}">
                <a16:creationId xmlns:a16="http://schemas.microsoft.com/office/drawing/2014/main" id="{32D442B6-35D4-223D-BC08-D63465F7ACDA}"/>
              </a:ext>
            </a:extLst>
          </p:cNvPr>
          <p:cNvSpPr/>
          <p:nvPr userDrawn="1"/>
        </p:nvSpPr>
        <p:spPr>
          <a:xfrm>
            <a:off x="0" y="0"/>
            <a:ext cx="12192000" cy="6285297"/>
          </a:xfrm>
          <a:prstGeom prst="rect">
            <a:avLst/>
          </a:prstGeom>
          <a:solidFill>
            <a:srgbClr val="00000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1DE9F09B-71E5-AE4A-2310-DBCF69406CA6}"/>
              </a:ext>
            </a:extLst>
          </p:cNvPr>
          <p:cNvSpPr>
            <a:spLocks noGrp="1"/>
          </p:cNvSpPr>
          <p:nvPr>
            <p:ph type="body" sz="quarter" idx="10" hasCustomPrompt="1"/>
          </p:nvPr>
        </p:nvSpPr>
        <p:spPr>
          <a:xfrm>
            <a:off x="972152" y="1854267"/>
            <a:ext cx="10222029" cy="2669608"/>
          </a:xfrm>
        </p:spPr>
        <p:txBody>
          <a:bodyPr anchor="ctr" anchorCtr="0"/>
          <a:lstStyle>
            <a:lvl1pPr marL="0" indent="0" algn="ctr">
              <a:lnSpc>
                <a:spcPct val="100000"/>
              </a:lnSpc>
              <a:buNone/>
              <a:defRPr sz="4800" b="0" cap="none" baseline="0">
                <a:solidFill>
                  <a:schemeClr val="tx1"/>
                </a:solidFill>
                <a:latin typeface="+mj-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p:txBody>
      </p:sp>
    </p:spTree>
    <p:extLst>
      <p:ext uri="{BB962C8B-B14F-4D97-AF65-F5344CB8AC3E}">
        <p14:creationId xmlns:p14="http://schemas.microsoft.com/office/powerpoint/2010/main" val="48609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pic>
        <p:nvPicPr>
          <p:cNvPr id="3" name="Image 0" descr="preencoded.png">
            <a:extLst>
              <a:ext uri="{FF2B5EF4-FFF2-40B4-BE49-F238E27FC236}">
                <a16:creationId xmlns:a16="http://schemas.microsoft.com/office/drawing/2014/main" id="{DBC69976-0827-7E98-F881-AAACC4EDC61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286500" y="4191000"/>
            <a:ext cx="5905500" cy="2667000"/>
          </a:xfrm>
          <a:prstGeom prst="rect">
            <a:avLst/>
          </a:prstGeom>
        </p:spPr>
      </p:pic>
      <p:sp>
        <p:nvSpPr>
          <p:cNvPr id="2" name="Title 1">
            <a:extLst>
              <a:ext uri="{FF2B5EF4-FFF2-40B4-BE49-F238E27FC236}">
                <a16:creationId xmlns:a16="http://schemas.microsoft.com/office/drawing/2014/main" id="{EB90931F-CEBE-48A4-A8BA-14B9759D40A2}"/>
              </a:ext>
            </a:extLst>
          </p:cNvPr>
          <p:cNvSpPr>
            <a:spLocks noGrp="1"/>
          </p:cNvSpPr>
          <p:nvPr>
            <p:ph type="title"/>
          </p:nvPr>
        </p:nvSpPr>
        <p:spPr>
          <a:xfrm>
            <a:off x="558462" y="1443819"/>
            <a:ext cx="5177048" cy="1057403"/>
          </a:xfrm>
        </p:spPr>
        <p:txBody>
          <a:bodyPr anchor="t" anchorCtr="0"/>
          <a:lstStyle>
            <a:lvl1pPr algn="ctr">
              <a:defRPr sz="3200" b="1">
                <a:solidFill>
                  <a:schemeClr val="tx1"/>
                </a:solidFill>
                <a:latin typeface="+mj-lt"/>
              </a:defRPr>
            </a:lvl1pPr>
          </a:lstStyle>
          <a:p>
            <a:r>
              <a:rPr lang="en-US"/>
              <a:t>Click to edit Master</a:t>
            </a:r>
          </a:p>
        </p:txBody>
      </p:sp>
      <p:sp>
        <p:nvSpPr>
          <p:cNvPr id="4" name="Text Placeholder 8">
            <a:extLst>
              <a:ext uri="{FF2B5EF4-FFF2-40B4-BE49-F238E27FC236}">
                <a16:creationId xmlns:a16="http://schemas.microsoft.com/office/drawing/2014/main" id="{2C201376-C40A-ABA4-4852-A1B3F4CF63CF}"/>
              </a:ext>
            </a:extLst>
          </p:cNvPr>
          <p:cNvSpPr>
            <a:spLocks noGrp="1"/>
          </p:cNvSpPr>
          <p:nvPr>
            <p:ph type="body" sz="quarter" idx="11"/>
          </p:nvPr>
        </p:nvSpPr>
        <p:spPr>
          <a:xfrm>
            <a:off x="7663568" y="4661342"/>
            <a:ext cx="4102519" cy="345896"/>
          </a:xfrm>
        </p:spPr>
        <p:txBody>
          <a:bodyPr anchor="t" anchorCtr="0"/>
          <a:lstStyle>
            <a:lvl1pPr marL="0" indent="0">
              <a:lnSpc>
                <a:spcPct val="100000"/>
              </a:lnSpc>
              <a:spcBef>
                <a:spcPts val="600"/>
              </a:spcBef>
              <a:buNone/>
              <a:defRPr kumimoji="0" lang="en-US" sz="1600" b="0" i="0" u="none" strike="noStrike" kern="1200" cap="none" spc="0" normalizeH="0" baseline="0" dirty="0">
                <a:ln>
                  <a:noFill/>
                </a:ln>
                <a:solidFill>
                  <a:srgbClr val="FFFFFF"/>
                </a:solidFill>
                <a:effectLst/>
                <a:uLnTx/>
                <a:uFillTx/>
                <a:latin typeface="+mn-lt"/>
                <a:ea typeface="+mn-ea"/>
                <a:cs typeface="+mn-cs"/>
              </a:defRPr>
            </a:lvl1pPr>
          </a:lstStyle>
          <a:p>
            <a:pPr lvl="0"/>
            <a:r>
              <a:rPr lang="en-US"/>
              <a:t>Click to edit Master text</a:t>
            </a:r>
          </a:p>
        </p:txBody>
      </p:sp>
      <p:sp>
        <p:nvSpPr>
          <p:cNvPr id="8" name="Text Placeholder 8">
            <a:extLst>
              <a:ext uri="{FF2B5EF4-FFF2-40B4-BE49-F238E27FC236}">
                <a16:creationId xmlns:a16="http://schemas.microsoft.com/office/drawing/2014/main" id="{884A4AA8-D5E5-EA21-3C78-80225E07F7E9}"/>
              </a:ext>
            </a:extLst>
          </p:cNvPr>
          <p:cNvSpPr>
            <a:spLocks noGrp="1"/>
          </p:cNvSpPr>
          <p:nvPr>
            <p:ph type="body" sz="quarter" idx="12"/>
          </p:nvPr>
        </p:nvSpPr>
        <p:spPr>
          <a:xfrm>
            <a:off x="7663569" y="5184091"/>
            <a:ext cx="4090408" cy="1164116"/>
          </a:xfrm>
        </p:spPr>
        <p:txBody>
          <a:bodyPr anchor="t" anchorCtr="0"/>
          <a:lstStyle>
            <a:lvl1pPr marL="0" indent="0">
              <a:lnSpc>
                <a:spcPct val="100000"/>
              </a:lnSpc>
              <a:spcBef>
                <a:spcPts val="600"/>
              </a:spcBef>
              <a:buNone/>
              <a:defRPr kumimoji="0" lang="en-US" sz="1600" b="0" i="0" u="none" strike="noStrike" kern="1200" cap="none" spc="0" normalizeH="0" baseline="0" dirty="0">
                <a:ln>
                  <a:noFill/>
                </a:ln>
                <a:solidFill>
                  <a:srgbClr val="FFFFFF"/>
                </a:solidFill>
                <a:effectLst/>
                <a:uLnTx/>
                <a:uFillTx/>
                <a:latin typeface="+mn-lt"/>
                <a:ea typeface="+mn-ea"/>
                <a:cs typeface="+mn-cs"/>
              </a:defRPr>
            </a:lvl1pPr>
          </a:lstStyle>
          <a:p>
            <a:pPr lvl="0"/>
            <a:r>
              <a:rPr lang="en-US"/>
              <a:t>Click to edit Master text</a:t>
            </a:r>
          </a:p>
        </p:txBody>
      </p:sp>
      <p:sp>
        <p:nvSpPr>
          <p:cNvPr id="9" name="Text Placeholder 8">
            <a:extLst>
              <a:ext uri="{FF2B5EF4-FFF2-40B4-BE49-F238E27FC236}">
                <a16:creationId xmlns:a16="http://schemas.microsoft.com/office/drawing/2014/main" id="{E3CA58E2-807C-F7AF-539D-79D10F35259E}"/>
              </a:ext>
            </a:extLst>
          </p:cNvPr>
          <p:cNvSpPr>
            <a:spLocks noGrp="1"/>
          </p:cNvSpPr>
          <p:nvPr>
            <p:ph type="body" sz="quarter" idx="13"/>
          </p:nvPr>
        </p:nvSpPr>
        <p:spPr>
          <a:xfrm>
            <a:off x="558463" y="3112583"/>
            <a:ext cx="5166152" cy="872017"/>
          </a:xfrm>
        </p:spPr>
        <p:txBody>
          <a:bodyPr anchor="t" anchorCtr="0"/>
          <a:lstStyle>
            <a:lvl1pPr marL="0" indent="0">
              <a:lnSpc>
                <a:spcPct val="100000"/>
              </a:lnSpc>
              <a:spcBef>
                <a:spcPts val="600"/>
              </a:spcBef>
              <a:buNone/>
              <a:defRPr kumimoji="0" lang="en-US" sz="1600" b="0" i="0" u="none" strike="noStrike" kern="1200" cap="none" spc="0" normalizeH="0" baseline="0" dirty="0">
                <a:ln>
                  <a:noFill/>
                </a:ln>
                <a:solidFill>
                  <a:schemeClr val="tx1"/>
                </a:solidFill>
                <a:effectLst/>
                <a:uLnTx/>
                <a:uFillTx/>
                <a:latin typeface="+mn-lt"/>
                <a:ea typeface="+mn-ea"/>
                <a:cs typeface="+mn-cs"/>
              </a:defRPr>
            </a:lvl1pPr>
          </a:lstStyle>
          <a:p>
            <a:pPr lvl="0"/>
            <a:r>
              <a:rPr lang="en-US"/>
              <a:t>Click to edit Master text</a:t>
            </a:r>
          </a:p>
        </p:txBody>
      </p:sp>
      <p:sp>
        <p:nvSpPr>
          <p:cNvPr id="10" name="Text Placeholder 8">
            <a:extLst>
              <a:ext uri="{FF2B5EF4-FFF2-40B4-BE49-F238E27FC236}">
                <a16:creationId xmlns:a16="http://schemas.microsoft.com/office/drawing/2014/main" id="{F218ED7B-4E9F-5DD5-7D5D-5BECFF1788C6}"/>
              </a:ext>
            </a:extLst>
          </p:cNvPr>
          <p:cNvSpPr>
            <a:spLocks noGrp="1"/>
          </p:cNvSpPr>
          <p:nvPr>
            <p:ph type="body" sz="quarter" idx="14"/>
          </p:nvPr>
        </p:nvSpPr>
        <p:spPr>
          <a:xfrm>
            <a:off x="558463" y="4543741"/>
            <a:ext cx="5166152" cy="1554277"/>
          </a:xfrm>
        </p:spPr>
        <p:txBody>
          <a:bodyPr anchor="t" anchorCtr="0"/>
          <a:lstStyle>
            <a:lvl1pPr marL="0" indent="0">
              <a:lnSpc>
                <a:spcPct val="100000"/>
              </a:lnSpc>
              <a:spcBef>
                <a:spcPts val="600"/>
              </a:spcBef>
              <a:buNone/>
              <a:defRPr kumimoji="0" lang="en-US" sz="1600" b="0" i="0" u="none" strike="noStrike" kern="1200" cap="none" spc="0" normalizeH="0" baseline="0" dirty="0">
                <a:ln>
                  <a:noFill/>
                </a:ln>
                <a:solidFill>
                  <a:schemeClr val="tx1"/>
                </a:solidFill>
                <a:effectLst/>
                <a:uLnTx/>
                <a:uFillTx/>
                <a:latin typeface="+mn-lt"/>
                <a:ea typeface="+mn-ea"/>
                <a:cs typeface="+mn-cs"/>
              </a:defRPr>
            </a:lvl1pPr>
          </a:lstStyle>
          <a:p>
            <a:pPr lvl="0"/>
            <a:r>
              <a:rPr lang="en-US"/>
              <a:t>Click to edit Master text</a:t>
            </a:r>
          </a:p>
        </p:txBody>
      </p:sp>
      <p:grpSp>
        <p:nvGrpSpPr>
          <p:cNvPr id="5" name="Group 4">
            <a:extLst>
              <a:ext uri="{FF2B5EF4-FFF2-40B4-BE49-F238E27FC236}">
                <a16:creationId xmlns:a16="http://schemas.microsoft.com/office/drawing/2014/main" id="{C4041803-B7F6-5587-5F62-70A24F9DC656}"/>
              </a:ext>
            </a:extLst>
          </p:cNvPr>
          <p:cNvGrpSpPr/>
          <p:nvPr userDrawn="1"/>
        </p:nvGrpSpPr>
        <p:grpSpPr>
          <a:xfrm>
            <a:off x="10839577" y="6559676"/>
            <a:ext cx="596870" cy="163968"/>
            <a:chOff x="1855788" y="3378201"/>
            <a:chExt cx="3709987" cy="1019175"/>
          </a:xfrm>
          <a:solidFill>
            <a:srgbClr val="FFFFFE"/>
          </a:solidFill>
        </p:grpSpPr>
        <p:sp>
          <p:nvSpPr>
            <p:cNvPr id="6" name="Freeform 5">
              <a:extLst>
                <a:ext uri="{FF2B5EF4-FFF2-40B4-BE49-F238E27FC236}">
                  <a16:creationId xmlns:a16="http://schemas.microsoft.com/office/drawing/2014/main" id="{8BD99D0C-1779-78A0-6F54-161A287A6587}"/>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7" name="Freeform 6">
              <a:extLst>
                <a:ext uri="{FF2B5EF4-FFF2-40B4-BE49-F238E27FC236}">
                  <a16:creationId xmlns:a16="http://schemas.microsoft.com/office/drawing/2014/main" id="{601B4D1E-C3C6-1530-139F-12235D107F79}"/>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7">
              <a:extLst>
                <a:ext uri="{FF2B5EF4-FFF2-40B4-BE49-F238E27FC236}">
                  <a16:creationId xmlns:a16="http://schemas.microsoft.com/office/drawing/2014/main" id="{B9ED5E38-136C-31C5-2ED7-82ABBEEF492C}"/>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2" name="Freeform 8">
              <a:extLst>
                <a:ext uri="{FF2B5EF4-FFF2-40B4-BE49-F238E27FC236}">
                  <a16:creationId xmlns:a16="http://schemas.microsoft.com/office/drawing/2014/main" id="{27E55E75-F4FE-0041-8BE1-885074BEC8B7}"/>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3" name="Freeform 9">
              <a:extLst>
                <a:ext uri="{FF2B5EF4-FFF2-40B4-BE49-F238E27FC236}">
                  <a16:creationId xmlns:a16="http://schemas.microsoft.com/office/drawing/2014/main" id="{715888B1-A4CB-8A85-6237-53B1D9DC2908}"/>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4" name="Freeform 10">
              <a:extLst>
                <a:ext uri="{FF2B5EF4-FFF2-40B4-BE49-F238E27FC236}">
                  <a16:creationId xmlns:a16="http://schemas.microsoft.com/office/drawing/2014/main" id="{73B035AE-4FB0-E631-5994-D8FD1BEFB847}"/>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5" name="Freeform 11">
              <a:extLst>
                <a:ext uri="{FF2B5EF4-FFF2-40B4-BE49-F238E27FC236}">
                  <a16:creationId xmlns:a16="http://schemas.microsoft.com/office/drawing/2014/main" id="{DD340D12-740B-1784-C3D9-1F8439A9945D}"/>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12">
              <a:extLst>
                <a:ext uri="{FF2B5EF4-FFF2-40B4-BE49-F238E27FC236}">
                  <a16:creationId xmlns:a16="http://schemas.microsoft.com/office/drawing/2014/main" id="{278477CE-EC32-BCA4-88BC-9A4E6CFF8313}"/>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7" name="Freeform 13">
              <a:extLst>
                <a:ext uri="{FF2B5EF4-FFF2-40B4-BE49-F238E27FC236}">
                  <a16:creationId xmlns:a16="http://schemas.microsoft.com/office/drawing/2014/main" id="{BEE73BBF-45D2-5C4E-68EE-B69F7909C607}"/>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8" name="Freeform 14">
              <a:extLst>
                <a:ext uri="{FF2B5EF4-FFF2-40B4-BE49-F238E27FC236}">
                  <a16:creationId xmlns:a16="http://schemas.microsoft.com/office/drawing/2014/main" id="{E462C6BD-B908-0D06-66BC-475F88B800BC}"/>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9" name="Freeform 15">
              <a:extLst>
                <a:ext uri="{FF2B5EF4-FFF2-40B4-BE49-F238E27FC236}">
                  <a16:creationId xmlns:a16="http://schemas.microsoft.com/office/drawing/2014/main" id="{B545C4E5-9AFD-D370-2756-800A6F36AE13}"/>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0" name="Rectangle 16">
              <a:extLst>
                <a:ext uri="{FF2B5EF4-FFF2-40B4-BE49-F238E27FC236}">
                  <a16:creationId xmlns:a16="http://schemas.microsoft.com/office/drawing/2014/main" id="{CD3FE5C9-8857-C5BB-53F3-C15BA18755F2}"/>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1" name="Freeform 17">
              <a:extLst>
                <a:ext uri="{FF2B5EF4-FFF2-40B4-BE49-F238E27FC236}">
                  <a16:creationId xmlns:a16="http://schemas.microsoft.com/office/drawing/2014/main" id="{EF258C35-71DF-FA8F-177C-168F219F9D4F}"/>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2" name="Freeform 18">
              <a:extLst>
                <a:ext uri="{FF2B5EF4-FFF2-40B4-BE49-F238E27FC236}">
                  <a16:creationId xmlns:a16="http://schemas.microsoft.com/office/drawing/2014/main" id="{CBB26044-C342-9FE7-0BE1-BA7231AE3C48}"/>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1" name="Freeform 19">
              <a:extLst>
                <a:ext uri="{FF2B5EF4-FFF2-40B4-BE49-F238E27FC236}">
                  <a16:creationId xmlns:a16="http://schemas.microsoft.com/office/drawing/2014/main" id="{2A20A111-5DB5-379E-3BEE-BB8429064765}"/>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2" name="Freeform 20">
              <a:extLst>
                <a:ext uri="{FF2B5EF4-FFF2-40B4-BE49-F238E27FC236}">
                  <a16:creationId xmlns:a16="http://schemas.microsoft.com/office/drawing/2014/main" id="{CBC85C7F-76B6-DA2D-FCD5-A450BF3C01D9}"/>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43" name="Freeform 21">
              <a:extLst>
                <a:ext uri="{FF2B5EF4-FFF2-40B4-BE49-F238E27FC236}">
                  <a16:creationId xmlns:a16="http://schemas.microsoft.com/office/drawing/2014/main" id="{4BDC7A53-736A-CB61-A8BE-54B4D0B38BFB}"/>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2553247450"/>
      </p:ext>
    </p:extLst>
  </p:cSld>
  <p:clrMapOvr>
    <a:masterClrMapping/>
  </p:clrMapOvr>
  <p:transition>
    <p:fade/>
  </p:transition>
  <p:extLst>
    <p:ext uri="{DCECCB84-F9BA-43D5-87BE-67443E8EF086}">
      <p15:sldGuideLst xmlns:p15="http://schemas.microsoft.com/office/powerpoint/2012/main">
        <p15:guide id="1" pos="3960">
          <p15:clr>
            <a:srgbClr val="FBAE40"/>
          </p15:clr>
        </p15:guide>
        <p15:guide id="2" orient="horz" pos="261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ivision Globe">
    <p:bg>
      <p:bgPr>
        <a:solidFill>
          <a:srgbClr val="000000"/>
        </a:solidFill>
        <a:effectLst/>
      </p:bgPr>
    </p:bg>
    <p:spTree>
      <p:nvGrpSpPr>
        <p:cNvPr id="1" name=""/>
        <p:cNvGrpSpPr/>
        <p:nvPr/>
      </p:nvGrpSpPr>
      <p:grpSpPr>
        <a:xfrm>
          <a:off x="0" y="0"/>
          <a:ext cx="0" cy="0"/>
          <a:chOff x="0" y="0"/>
          <a:chExt cx="0" cy="0"/>
        </a:xfrm>
      </p:grpSpPr>
      <p:pic>
        <p:nvPicPr>
          <p:cNvPr id="4" name="Picture 3" descr="A green sphere with a black background&#10;&#10;Description automatically generated">
            <a:extLst>
              <a:ext uri="{FF2B5EF4-FFF2-40B4-BE49-F238E27FC236}">
                <a16:creationId xmlns:a16="http://schemas.microsoft.com/office/drawing/2014/main" id="{4DDB67AE-579A-89EE-0446-C38F5DCCEB8C}"/>
              </a:ext>
            </a:extLst>
          </p:cNvPr>
          <p:cNvPicPr>
            <a:picLocks noChangeAspect="1"/>
          </p:cNvPicPr>
          <p:nvPr userDrawn="1"/>
        </p:nvPicPr>
        <p:blipFill rotWithShape="1">
          <a:blip r:embed="rId2">
            <a:alphaModFix amt="75000"/>
          </a:blip>
          <a:srcRect l="6504" t="7410" r="2639" b="6701"/>
          <a:stretch/>
        </p:blipFill>
        <p:spPr>
          <a:xfrm>
            <a:off x="3094265" y="489856"/>
            <a:ext cx="6270172" cy="5927273"/>
          </a:xfrm>
          <a:prstGeom prst="rect">
            <a:avLst/>
          </a:prstGeom>
        </p:spPr>
      </p:pic>
      <p:sp>
        <p:nvSpPr>
          <p:cNvPr id="5" name="Rectangle 4">
            <a:extLst>
              <a:ext uri="{FF2B5EF4-FFF2-40B4-BE49-F238E27FC236}">
                <a16:creationId xmlns:a16="http://schemas.microsoft.com/office/drawing/2014/main" id="{1A21B6B2-8548-2887-B80F-4F893E1580A0}"/>
              </a:ext>
            </a:extLst>
          </p:cNvPr>
          <p:cNvSpPr/>
          <p:nvPr userDrawn="1"/>
        </p:nvSpPr>
        <p:spPr>
          <a:xfrm>
            <a:off x="0" y="0"/>
            <a:ext cx="12192000" cy="5726349"/>
          </a:xfrm>
          <a:prstGeom prst="rect">
            <a:avLst/>
          </a:prstGeom>
          <a:solidFill>
            <a:srgbClr val="00000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52A7A03-57D2-E9AF-76D0-F8C3D424B5E9}"/>
              </a:ext>
            </a:extLst>
          </p:cNvPr>
          <p:cNvSpPr/>
          <p:nvPr userDrawn="1"/>
        </p:nvSpPr>
        <p:spPr>
          <a:xfrm>
            <a:off x="181583" y="6128426"/>
            <a:ext cx="1147864" cy="729574"/>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CA21FE1-8935-4EE6-BE25-A18F50F53F5C}"/>
              </a:ext>
            </a:extLst>
          </p:cNvPr>
          <p:cNvSpPr>
            <a:spLocks noGrp="1"/>
          </p:cNvSpPr>
          <p:nvPr>
            <p:ph type="ctrTitle"/>
          </p:nvPr>
        </p:nvSpPr>
        <p:spPr>
          <a:xfrm>
            <a:off x="505840" y="2419893"/>
            <a:ext cx="11297054" cy="1688111"/>
          </a:xfrm>
        </p:spPr>
        <p:txBody>
          <a:bodyPr anchor="ctr" anchorCtr="0">
            <a:noAutofit/>
          </a:bodyPr>
          <a:lstStyle>
            <a:lvl1pPr algn="ctr">
              <a:defRPr sz="4800">
                <a:solidFill>
                  <a:srgbClr val="FEFEFE"/>
                </a:solidFill>
                <a:effectLst/>
                <a:latin typeface="+mj-lt"/>
                <a:ea typeface="Lato Light" panose="020F0502020204030203" pitchFamily="34" charset="0"/>
                <a:cs typeface="Lato Light" panose="020F0502020204030203"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2F2430A4-2882-C137-022A-8C8E8A3544CA}"/>
              </a:ext>
            </a:extLst>
          </p:cNvPr>
          <p:cNvSpPr/>
          <p:nvPr userDrawn="1"/>
        </p:nvSpPr>
        <p:spPr>
          <a:xfrm>
            <a:off x="10162309" y="6151418"/>
            <a:ext cx="1943100" cy="633846"/>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8338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rk Green">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BB5CE4-0ACD-6D3C-A489-88335560B149}"/>
              </a:ext>
            </a:extLst>
          </p:cNvPr>
          <p:cNvSpPr/>
          <p:nvPr userDrawn="1"/>
        </p:nvSpPr>
        <p:spPr>
          <a:xfrm>
            <a:off x="0" y="0"/>
            <a:ext cx="12192000" cy="6858000"/>
          </a:xfrm>
          <a:prstGeom prst="rect">
            <a:avLst/>
          </a:prstGeom>
          <a:solidFill>
            <a:srgbClr val="2D6A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38865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rk Teal">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C2617D-72A0-5575-97E5-D508989C11ED}"/>
              </a:ext>
            </a:extLst>
          </p:cNvPr>
          <p:cNvSpPr/>
          <p:nvPr userDrawn="1"/>
        </p:nvSpPr>
        <p:spPr>
          <a:xfrm>
            <a:off x="0" y="0"/>
            <a:ext cx="12192000" cy="6858000"/>
          </a:xfrm>
          <a:prstGeom prst="rect">
            <a:avLst/>
          </a:prstGeom>
          <a:solidFill>
            <a:srgbClr val="0070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57111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ck">
    <p:bg>
      <p:bgPr>
        <a:solidFill>
          <a:srgbClr val="000000"/>
        </a:solidFill>
        <a:effectLst/>
      </p:bgPr>
    </p:bg>
    <p:spTree>
      <p:nvGrpSpPr>
        <p:cNvPr id="1" name=""/>
        <p:cNvGrpSpPr/>
        <p:nvPr/>
      </p:nvGrpSpPr>
      <p:grpSpPr>
        <a:xfrm>
          <a:off x="0" y="0"/>
          <a:ext cx="0" cy="0"/>
          <a:chOff x="0" y="0"/>
          <a:chExt cx="0" cy="0"/>
        </a:xfrm>
      </p:grpSpPr>
      <p:sp>
        <p:nvSpPr>
          <p:cNvPr id="3" name="MSIPCMContentMarking" descr="{&quot;HashCode&quot;:-290306243,&quot;Placement&quot;:&quot;Footer&quot;,&quot;Top&quot;:523.380066,&quot;Left&quot;:442.3952,&quot;SlideWidth&quot;:960,&quot;SlideHeight&quot;:540}">
            <a:extLst>
              <a:ext uri="{FF2B5EF4-FFF2-40B4-BE49-F238E27FC236}">
                <a16:creationId xmlns:a16="http://schemas.microsoft.com/office/drawing/2014/main" id="{FD5B9DD4-77B8-2A5F-DA4A-0BD3EE9C5491}"/>
              </a:ext>
            </a:extLst>
          </p:cNvPr>
          <p:cNvSpPr txBox="1"/>
          <p:nvPr userDrawn="1"/>
        </p:nvSpPr>
        <p:spPr>
          <a:xfrm>
            <a:off x="5618419" y="6698602"/>
            <a:ext cx="955162" cy="107722"/>
          </a:xfrm>
          <a:prstGeom prst="rect">
            <a:avLst/>
          </a:prstGeom>
          <a:noFill/>
        </p:spPr>
        <p:txBody>
          <a:bodyPr vert="horz" wrap="square" lIns="0" tIns="0" rIns="0" bIns="0" rtlCol="0" anchor="ctr" anchorCtr="1">
            <a:spAutoFit/>
          </a:bodyPr>
          <a:lstStyle/>
          <a:p>
            <a:pPr algn="ctr">
              <a:spcBef>
                <a:spcPts val="0"/>
              </a:spcBef>
              <a:spcAft>
                <a:spcPts val="0"/>
              </a:spcAft>
            </a:pPr>
            <a:r>
              <a:rPr lang="en-US" sz="700">
                <a:solidFill>
                  <a:schemeClr val="tx1"/>
                </a:solidFill>
                <a:latin typeface="Calibri" panose="020F0502020204030204" pitchFamily="34" charset="0"/>
              </a:rPr>
              <a:t>Juniper Confidential</a:t>
            </a:r>
          </a:p>
        </p:txBody>
      </p:sp>
      <p:grpSp>
        <p:nvGrpSpPr>
          <p:cNvPr id="2" name="Group 1">
            <a:extLst>
              <a:ext uri="{FF2B5EF4-FFF2-40B4-BE49-F238E27FC236}">
                <a16:creationId xmlns:a16="http://schemas.microsoft.com/office/drawing/2014/main" id="{1DB8988F-459C-23A6-9A89-9A4BB03CEF29}"/>
              </a:ext>
            </a:extLst>
          </p:cNvPr>
          <p:cNvGrpSpPr/>
          <p:nvPr userDrawn="1"/>
        </p:nvGrpSpPr>
        <p:grpSpPr>
          <a:xfrm>
            <a:off x="140494" y="6034088"/>
            <a:ext cx="1200150" cy="823912"/>
            <a:chOff x="140494" y="6034088"/>
            <a:chExt cx="1200150" cy="823912"/>
          </a:xfrm>
        </p:grpSpPr>
        <p:sp>
          <p:nvSpPr>
            <p:cNvPr id="4" name="Rectangle 3">
              <a:extLst>
                <a:ext uri="{FF2B5EF4-FFF2-40B4-BE49-F238E27FC236}">
                  <a16:creationId xmlns:a16="http://schemas.microsoft.com/office/drawing/2014/main" id="{8AE915F1-2589-20AB-5939-6BF1965B00BF}"/>
                </a:ext>
              </a:extLst>
            </p:cNvPr>
            <p:cNvSpPr/>
            <p:nvPr userDrawn="1"/>
          </p:nvSpPr>
          <p:spPr>
            <a:xfrm>
              <a:off x="140494" y="6034088"/>
              <a:ext cx="1200150" cy="823912"/>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4182BE0A-9A77-E0E1-F22E-6F0BD64A80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6278" y="6235013"/>
              <a:ext cx="550470" cy="493628"/>
            </a:xfrm>
            <a:prstGeom prst="rect">
              <a:avLst/>
            </a:prstGeom>
          </p:spPr>
        </p:pic>
      </p:grpSp>
      <p:sp>
        <p:nvSpPr>
          <p:cNvPr id="7" name="Rectangle 6">
            <a:extLst>
              <a:ext uri="{FF2B5EF4-FFF2-40B4-BE49-F238E27FC236}">
                <a16:creationId xmlns:a16="http://schemas.microsoft.com/office/drawing/2014/main" id="{1888F81C-0972-5E2C-2C68-02F02E2EE0CE}"/>
              </a:ext>
            </a:extLst>
          </p:cNvPr>
          <p:cNvSpPr/>
          <p:nvPr userDrawn="1"/>
        </p:nvSpPr>
        <p:spPr>
          <a:xfrm>
            <a:off x="181583" y="6128426"/>
            <a:ext cx="1147864" cy="729574"/>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BBDA80D-368B-027C-AF45-17B3A16BE5DF}"/>
              </a:ext>
            </a:extLst>
          </p:cNvPr>
          <p:cNvSpPr/>
          <p:nvPr userDrawn="1"/>
        </p:nvSpPr>
        <p:spPr>
          <a:xfrm>
            <a:off x="11493583" y="6151418"/>
            <a:ext cx="611825" cy="633846"/>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7945375"/>
      </p:ext>
    </p:extLst>
  </p:cSld>
  <p:clrMapOvr>
    <a:overrideClrMapping bg1="dk1" tx1="lt1" bg2="dk2" tx2="lt2" accent1="accent1" accent2="accent2" accent3="accent3" accent4="accent4" accent5="accent5" accent6="accent6" hlink="hlink" folHlink="folHlink"/>
  </p:clrMapOvr>
  <p:transition spd="med">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4BDFA147-C295-7486-A6C7-C1B4726FBA31}"/>
              </a:ext>
            </a:extLst>
          </p:cNvPr>
          <p:cNvGrpSpPr/>
          <p:nvPr userDrawn="1"/>
        </p:nvGrpSpPr>
        <p:grpSpPr>
          <a:xfrm>
            <a:off x="0" y="0"/>
            <a:ext cx="12192000" cy="6858000"/>
            <a:chOff x="0" y="0"/>
            <a:chExt cx="12192000" cy="6858000"/>
          </a:xfrm>
        </p:grpSpPr>
        <p:pic>
          <p:nvPicPr>
            <p:cNvPr id="33" name="Picture 32" descr="A black and white striped background&#10;&#10;Description automatically generated">
              <a:extLst>
                <a:ext uri="{FF2B5EF4-FFF2-40B4-BE49-F238E27FC236}">
                  <a16:creationId xmlns:a16="http://schemas.microsoft.com/office/drawing/2014/main" id="{F19566D5-5E15-B58F-FC09-1BA0C7054F6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4" name="Picture 33">
              <a:extLst>
                <a:ext uri="{FF2B5EF4-FFF2-40B4-BE49-F238E27FC236}">
                  <a16:creationId xmlns:a16="http://schemas.microsoft.com/office/drawing/2014/main" id="{52AEDADF-0D0B-C7C7-0715-DB333A0AE7E9}"/>
                </a:ext>
              </a:extLst>
            </p:cNvPr>
            <p:cNvPicPr>
              <a:picLocks noChangeAspect="1"/>
            </p:cNvPicPr>
            <p:nvPr userDrawn="1"/>
          </p:nvPicPr>
          <p:blipFill rotWithShape="1">
            <a:blip r:embed="rId3"/>
            <a:srcRect l="2032" t="1" r="3263" b="22024"/>
            <a:stretch/>
          </p:blipFill>
          <p:spPr>
            <a:xfrm>
              <a:off x="2308643" y="0"/>
              <a:ext cx="7459133" cy="5902734"/>
            </a:xfrm>
            <a:prstGeom prst="rect">
              <a:avLst/>
            </a:prstGeom>
            <a:effectLst/>
          </p:spPr>
        </p:pic>
      </p:grpSp>
      <p:grpSp>
        <p:nvGrpSpPr>
          <p:cNvPr id="9" name="Group 8">
            <a:extLst>
              <a:ext uri="{FF2B5EF4-FFF2-40B4-BE49-F238E27FC236}">
                <a16:creationId xmlns:a16="http://schemas.microsoft.com/office/drawing/2014/main" id="{EDE7B869-231C-5100-3FF0-7BA86EEDBB9A}"/>
              </a:ext>
            </a:extLst>
          </p:cNvPr>
          <p:cNvGrpSpPr/>
          <p:nvPr userDrawn="1"/>
        </p:nvGrpSpPr>
        <p:grpSpPr>
          <a:xfrm>
            <a:off x="0" y="3695694"/>
            <a:ext cx="12192000" cy="3170257"/>
            <a:chOff x="0" y="3687743"/>
            <a:chExt cx="12192000" cy="3170257"/>
          </a:xfrm>
        </p:grpSpPr>
        <p:sp>
          <p:nvSpPr>
            <p:cNvPr id="10" name="Rectangle 9">
              <a:extLst>
                <a:ext uri="{FF2B5EF4-FFF2-40B4-BE49-F238E27FC236}">
                  <a16:creationId xmlns:a16="http://schemas.microsoft.com/office/drawing/2014/main" id="{955DD8C6-0513-239C-42F9-278AD5286F02}"/>
                </a:ext>
              </a:extLst>
            </p:cNvPr>
            <p:cNvSpPr/>
            <p:nvPr userDrawn="1"/>
          </p:nvSpPr>
          <p:spPr>
            <a:xfrm>
              <a:off x="0" y="3687743"/>
              <a:ext cx="12192000" cy="3170257"/>
            </a:xfrm>
            <a:prstGeom prst="rect">
              <a:avLst/>
            </a:prstGeom>
            <a:solidFill>
              <a:srgbClr val="7CA631">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C618835-57A0-54A3-210F-2510A08A1097}"/>
                </a:ext>
              </a:extLst>
            </p:cNvPr>
            <p:cNvSpPr/>
            <p:nvPr userDrawn="1"/>
          </p:nvSpPr>
          <p:spPr>
            <a:xfrm>
              <a:off x="0" y="3798276"/>
              <a:ext cx="12191999" cy="3059724"/>
            </a:xfrm>
            <a:prstGeom prst="rect">
              <a:avLst/>
            </a:prstGeom>
            <a:solidFill>
              <a:srgbClr val="2D6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Graphic 11">
            <a:extLst>
              <a:ext uri="{FF2B5EF4-FFF2-40B4-BE49-F238E27FC236}">
                <a16:creationId xmlns:a16="http://schemas.microsoft.com/office/drawing/2014/main" id="{0E6A66B2-C93C-1B44-419D-0C36CA73122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31391" y="4347116"/>
            <a:ext cx="2329218" cy="469078"/>
          </a:xfrm>
          <a:prstGeom prst="rect">
            <a:avLst/>
          </a:prstGeom>
        </p:spPr>
      </p:pic>
      <p:grpSp>
        <p:nvGrpSpPr>
          <p:cNvPr id="3" name="Graphic 21">
            <a:extLst>
              <a:ext uri="{FF2B5EF4-FFF2-40B4-BE49-F238E27FC236}">
                <a16:creationId xmlns:a16="http://schemas.microsoft.com/office/drawing/2014/main" id="{D30A4A24-0819-5FDA-DF12-0BE32EF88110}"/>
              </a:ext>
            </a:extLst>
          </p:cNvPr>
          <p:cNvGrpSpPr/>
          <p:nvPr userDrawn="1"/>
        </p:nvGrpSpPr>
        <p:grpSpPr>
          <a:xfrm>
            <a:off x="6151104" y="5632579"/>
            <a:ext cx="1488924" cy="406822"/>
            <a:chOff x="9049996" y="6145201"/>
            <a:chExt cx="1271540" cy="347426"/>
          </a:xfrm>
          <a:solidFill>
            <a:srgbClr val="FFFFFE"/>
          </a:solidFill>
        </p:grpSpPr>
        <p:grpSp>
          <p:nvGrpSpPr>
            <p:cNvPr id="5" name="Graphic 21">
              <a:extLst>
                <a:ext uri="{FF2B5EF4-FFF2-40B4-BE49-F238E27FC236}">
                  <a16:creationId xmlns:a16="http://schemas.microsoft.com/office/drawing/2014/main" id="{7B9645F2-7C66-6DCD-5ADF-52A68A42247F}"/>
                </a:ext>
              </a:extLst>
            </p:cNvPr>
            <p:cNvGrpSpPr/>
            <p:nvPr/>
          </p:nvGrpSpPr>
          <p:grpSpPr>
            <a:xfrm>
              <a:off x="9673674" y="6423132"/>
              <a:ext cx="555048" cy="69495"/>
              <a:chOff x="9673674" y="6423132"/>
              <a:chExt cx="555048" cy="69495"/>
            </a:xfrm>
            <a:solidFill>
              <a:srgbClr val="FFFFFE"/>
            </a:solidFill>
          </p:grpSpPr>
          <p:sp>
            <p:nvSpPr>
              <p:cNvPr id="42" name="Freeform: Shape 41">
                <a:extLst>
                  <a:ext uri="{FF2B5EF4-FFF2-40B4-BE49-F238E27FC236}">
                    <a16:creationId xmlns:a16="http://schemas.microsoft.com/office/drawing/2014/main" id="{10986CE0-C7D9-750B-D774-C26491DAD959}"/>
                  </a:ext>
                </a:extLst>
              </p:cNvPr>
              <p:cNvSpPr/>
              <p:nvPr/>
            </p:nvSpPr>
            <p:spPr>
              <a:xfrm>
                <a:off x="9673674" y="6424252"/>
                <a:ext cx="54934" cy="67306"/>
              </a:xfrm>
              <a:custGeom>
                <a:avLst/>
                <a:gdLst>
                  <a:gd name="connsiteX0" fmla="*/ 0 w 54934"/>
                  <a:gd name="connsiteY0" fmla="*/ 0 h 67306"/>
                  <a:gd name="connsiteX1" fmla="*/ 7790 w 54934"/>
                  <a:gd name="connsiteY1" fmla="*/ 0 h 67306"/>
                  <a:gd name="connsiteX2" fmla="*/ 48010 w 54934"/>
                  <a:gd name="connsiteY2" fmla="*/ 55495 h 67306"/>
                  <a:gd name="connsiteX3" fmla="*/ 48010 w 54934"/>
                  <a:gd name="connsiteY3" fmla="*/ 0 h 67306"/>
                  <a:gd name="connsiteX4" fmla="*/ 54935 w 54934"/>
                  <a:gd name="connsiteY4" fmla="*/ 0 h 67306"/>
                  <a:gd name="connsiteX5" fmla="*/ 54935 w 54934"/>
                  <a:gd name="connsiteY5" fmla="*/ 67306 h 67306"/>
                  <a:gd name="connsiteX6" fmla="*/ 48418 w 54934"/>
                  <a:gd name="connsiteY6" fmla="*/ 67306 h 67306"/>
                  <a:gd name="connsiteX7" fmla="*/ 6924 w 54934"/>
                  <a:gd name="connsiteY7" fmla="*/ 10182 h 67306"/>
                  <a:gd name="connsiteX8" fmla="*/ 6924 w 54934"/>
                  <a:gd name="connsiteY8" fmla="*/ 67306 h 67306"/>
                  <a:gd name="connsiteX9" fmla="*/ 0 w 54934"/>
                  <a:gd name="connsiteY9" fmla="*/ 67306 h 67306"/>
                  <a:gd name="connsiteX10" fmla="*/ 0 w 54934"/>
                  <a:gd name="connsiteY10" fmla="*/ 0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934" h="67306">
                    <a:moveTo>
                      <a:pt x="0" y="0"/>
                    </a:moveTo>
                    <a:lnTo>
                      <a:pt x="7790" y="0"/>
                    </a:lnTo>
                    <a:lnTo>
                      <a:pt x="48010" y="55495"/>
                    </a:lnTo>
                    <a:lnTo>
                      <a:pt x="48010" y="0"/>
                    </a:lnTo>
                    <a:lnTo>
                      <a:pt x="54935" y="0"/>
                    </a:lnTo>
                    <a:lnTo>
                      <a:pt x="54935" y="67306"/>
                    </a:lnTo>
                    <a:lnTo>
                      <a:pt x="48418" y="67306"/>
                    </a:lnTo>
                    <a:lnTo>
                      <a:pt x="6924" y="10182"/>
                    </a:lnTo>
                    <a:lnTo>
                      <a:pt x="6924" y="67306"/>
                    </a:lnTo>
                    <a:lnTo>
                      <a:pt x="0" y="67306"/>
                    </a:lnTo>
                    <a:lnTo>
                      <a:pt x="0" y="0"/>
                    </a:lnTo>
                    <a:close/>
                  </a:path>
                </a:pathLst>
              </a:custGeom>
              <a:solidFill>
                <a:srgbClr val="FFFFFE"/>
              </a:solidFill>
              <a:ln w="5088"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0E87392-BD60-D3C3-F9CE-7468BE250354}"/>
                  </a:ext>
                </a:extLst>
              </p:cNvPr>
              <p:cNvSpPr/>
              <p:nvPr/>
            </p:nvSpPr>
            <p:spPr>
              <a:xfrm>
                <a:off x="9745766" y="6424252"/>
                <a:ext cx="44853" cy="67306"/>
              </a:xfrm>
              <a:custGeom>
                <a:avLst/>
                <a:gdLst>
                  <a:gd name="connsiteX0" fmla="*/ 0 w 44853"/>
                  <a:gd name="connsiteY0" fmla="*/ 0 h 67306"/>
                  <a:gd name="connsiteX1" fmla="*/ 44498 w 44853"/>
                  <a:gd name="connsiteY1" fmla="*/ 0 h 67306"/>
                  <a:gd name="connsiteX2" fmla="*/ 44498 w 44853"/>
                  <a:gd name="connsiteY2" fmla="*/ 6822 h 67306"/>
                  <a:gd name="connsiteX3" fmla="*/ 7179 w 44853"/>
                  <a:gd name="connsiteY3" fmla="*/ 6822 h 67306"/>
                  <a:gd name="connsiteX4" fmla="*/ 7179 w 44853"/>
                  <a:gd name="connsiteY4" fmla="*/ 29071 h 67306"/>
                  <a:gd name="connsiteX5" fmla="*/ 43581 w 44853"/>
                  <a:gd name="connsiteY5" fmla="*/ 29071 h 67306"/>
                  <a:gd name="connsiteX6" fmla="*/ 43581 w 44853"/>
                  <a:gd name="connsiteY6" fmla="*/ 35791 h 67306"/>
                  <a:gd name="connsiteX7" fmla="*/ 7179 w 44853"/>
                  <a:gd name="connsiteY7" fmla="*/ 35791 h 67306"/>
                  <a:gd name="connsiteX8" fmla="*/ 7179 w 44853"/>
                  <a:gd name="connsiteY8" fmla="*/ 60789 h 67306"/>
                  <a:gd name="connsiteX9" fmla="*/ 44854 w 44853"/>
                  <a:gd name="connsiteY9" fmla="*/ 60789 h 67306"/>
                  <a:gd name="connsiteX10" fmla="*/ 44854 w 44853"/>
                  <a:gd name="connsiteY10" fmla="*/ 67306 h 67306"/>
                  <a:gd name="connsiteX11" fmla="*/ 0 w 44853"/>
                  <a:gd name="connsiteY11" fmla="*/ 67306 h 67306"/>
                  <a:gd name="connsiteX12" fmla="*/ 0 w 44853"/>
                  <a:gd name="connsiteY12" fmla="*/ 0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53" h="67306">
                    <a:moveTo>
                      <a:pt x="0" y="0"/>
                    </a:moveTo>
                    <a:lnTo>
                      <a:pt x="44498" y="0"/>
                    </a:lnTo>
                    <a:lnTo>
                      <a:pt x="44498" y="6822"/>
                    </a:lnTo>
                    <a:lnTo>
                      <a:pt x="7179" y="6822"/>
                    </a:lnTo>
                    <a:lnTo>
                      <a:pt x="7179" y="29071"/>
                    </a:lnTo>
                    <a:lnTo>
                      <a:pt x="43581" y="29071"/>
                    </a:lnTo>
                    <a:lnTo>
                      <a:pt x="43581" y="35791"/>
                    </a:lnTo>
                    <a:lnTo>
                      <a:pt x="7179" y="35791"/>
                    </a:lnTo>
                    <a:lnTo>
                      <a:pt x="7179" y="60789"/>
                    </a:lnTo>
                    <a:lnTo>
                      <a:pt x="44854" y="60789"/>
                    </a:lnTo>
                    <a:lnTo>
                      <a:pt x="44854" y="67306"/>
                    </a:lnTo>
                    <a:lnTo>
                      <a:pt x="0" y="67306"/>
                    </a:lnTo>
                    <a:lnTo>
                      <a:pt x="0" y="0"/>
                    </a:lnTo>
                    <a:close/>
                  </a:path>
                </a:pathLst>
              </a:custGeom>
              <a:solidFill>
                <a:srgbClr val="FFFFFE"/>
              </a:solidFill>
              <a:ln w="5088"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C54318E-A7C3-9365-A7C3-EE2CA15DCF56}"/>
                  </a:ext>
                </a:extLst>
              </p:cNvPr>
              <p:cNvSpPr/>
              <p:nvPr/>
            </p:nvSpPr>
            <p:spPr>
              <a:xfrm>
                <a:off x="9801108" y="6424252"/>
                <a:ext cx="57683" cy="67306"/>
              </a:xfrm>
              <a:custGeom>
                <a:avLst/>
                <a:gdLst>
                  <a:gd name="connsiteX0" fmla="*/ 25253 w 57683"/>
                  <a:gd name="connsiteY0" fmla="*/ 6822 h 67306"/>
                  <a:gd name="connsiteX1" fmla="*/ 0 w 57683"/>
                  <a:gd name="connsiteY1" fmla="*/ 6822 h 67306"/>
                  <a:gd name="connsiteX2" fmla="*/ 0 w 57683"/>
                  <a:gd name="connsiteY2" fmla="*/ 0 h 67306"/>
                  <a:gd name="connsiteX3" fmla="*/ 57684 w 57683"/>
                  <a:gd name="connsiteY3" fmla="*/ 0 h 67306"/>
                  <a:gd name="connsiteX4" fmla="*/ 57684 w 57683"/>
                  <a:gd name="connsiteY4" fmla="*/ 6822 h 67306"/>
                  <a:gd name="connsiteX5" fmla="*/ 32431 w 57683"/>
                  <a:gd name="connsiteY5" fmla="*/ 6822 h 67306"/>
                  <a:gd name="connsiteX6" fmla="*/ 32431 w 57683"/>
                  <a:gd name="connsiteY6" fmla="*/ 67306 h 67306"/>
                  <a:gd name="connsiteX7" fmla="*/ 25253 w 57683"/>
                  <a:gd name="connsiteY7" fmla="*/ 67306 h 67306"/>
                  <a:gd name="connsiteX8" fmla="*/ 25253 w 57683"/>
                  <a:gd name="connsiteY8" fmla="*/ 6822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83" h="67306">
                    <a:moveTo>
                      <a:pt x="25253" y="6822"/>
                    </a:moveTo>
                    <a:lnTo>
                      <a:pt x="0" y="6822"/>
                    </a:lnTo>
                    <a:lnTo>
                      <a:pt x="0" y="0"/>
                    </a:lnTo>
                    <a:lnTo>
                      <a:pt x="57684" y="0"/>
                    </a:lnTo>
                    <a:lnTo>
                      <a:pt x="57684" y="6822"/>
                    </a:lnTo>
                    <a:lnTo>
                      <a:pt x="32431" y="6822"/>
                    </a:lnTo>
                    <a:lnTo>
                      <a:pt x="32431" y="67306"/>
                    </a:lnTo>
                    <a:lnTo>
                      <a:pt x="25253" y="67306"/>
                    </a:lnTo>
                    <a:lnTo>
                      <a:pt x="25253" y="6822"/>
                    </a:lnTo>
                    <a:close/>
                  </a:path>
                </a:pathLst>
              </a:custGeom>
              <a:solidFill>
                <a:srgbClr val="FFFFFE"/>
              </a:solidFill>
              <a:ln w="5088"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102F0F5D-D986-E0B3-9ADC-A7B23E0445AD}"/>
                  </a:ext>
                </a:extLst>
              </p:cNvPr>
              <p:cNvSpPr/>
              <p:nvPr/>
            </p:nvSpPr>
            <p:spPr>
              <a:xfrm>
                <a:off x="9867498" y="6424252"/>
                <a:ext cx="92049" cy="67764"/>
              </a:xfrm>
              <a:custGeom>
                <a:avLst/>
                <a:gdLst>
                  <a:gd name="connsiteX0" fmla="*/ 0 w 92049"/>
                  <a:gd name="connsiteY0" fmla="*/ 0 h 67764"/>
                  <a:gd name="connsiteX1" fmla="*/ 7382 w 92049"/>
                  <a:gd name="connsiteY1" fmla="*/ 0 h 67764"/>
                  <a:gd name="connsiteX2" fmla="*/ 25100 w 92049"/>
                  <a:gd name="connsiteY2" fmla="*/ 55647 h 67764"/>
                  <a:gd name="connsiteX3" fmla="*/ 43174 w 92049"/>
                  <a:gd name="connsiteY3" fmla="*/ 0 h 67764"/>
                  <a:gd name="connsiteX4" fmla="*/ 49334 w 92049"/>
                  <a:gd name="connsiteY4" fmla="*/ 0 h 67764"/>
                  <a:gd name="connsiteX5" fmla="*/ 67306 w 92049"/>
                  <a:gd name="connsiteY5" fmla="*/ 55647 h 67764"/>
                  <a:gd name="connsiteX6" fmla="*/ 85126 w 92049"/>
                  <a:gd name="connsiteY6" fmla="*/ 0 h 67764"/>
                  <a:gd name="connsiteX7" fmla="*/ 92050 w 92049"/>
                  <a:gd name="connsiteY7" fmla="*/ 0 h 67764"/>
                  <a:gd name="connsiteX8" fmla="*/ 70412 w 92049"/>
                  <a:gd name="connsiteY8" fmla="*/ 67764 h 67764"/>
                  <a:gd name="connsiteX9" fmla="*/ 64252 w 92049"/>
                  <a:gd name="connsiteY9" fmla="*/ 67764 h 67764"/>
                  <a:gd name="connsiteX10" fmla="*/ 46076 w 92049"/>
                  <a:gd name="connsiteY10" fmla="*/ 11710 h 67764"/>
                  <a:gd name="connsiteX11" fmla="*/ 28002 w 92049"/>
                  <a:gd name="connsiteY11" fmla="*/ 67764 h 67764"/>
                  <a:gd name="connsiteX12" fmla="*/ 21740 w 92049"/>
                  <a:gd name="connsiteY12" fmla="*/ 67764 h 67764"/>
                  <a:gd name="connsiteX13" fmla="*/ 0 w 92049"/>
                  <a:gd name="connsiteY13" fmla="*/ 0 h 6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049" h="67764">
                    <a:moveTo>
                      <a:pt x="0" y="0"/>
                    </a:moveTo>
                    <a:lnTo>
                      <a:pt x="7382" y="0"/>
                    </a:lnTo>
                    <a:lnTo>
                      <a:pt x="25100" y="55647"/>
                    </a:lnTo>
                    <a:lnTo>
                      <a:pt x="43174" y="0"/>
                    </a:lnTo>
                    <a:lnTo>
                      <a:pt x="49334" y="0"/>
                    </a:lnTo>
                    <a:lnTo>
                      <a:pt x="67306" y="55647"/>
                    </a:lnTo>
                    <a:lnTo>
                      <a:pt x="85126" y="0"/>
                    </a:lnTo>
                    <a:lnTo>
                      <a:pt x="92050" y="0"/>
                    </a:lnTo>
                    <a:lnTo>
                      <a:pt x="70412" y="67764"/>
                    </a:lnTo>
                    <a:lnTo>
                      <a:pt x="64252" y="67764"/>
                    </a:lnTo>
                    <a:lnTo>
                      <a:pt x="46076" y="11710"/>
                    </a:lnTo>
                    <a:lnTo>
                      <a:pt x="28002" y="67764"/>
                    </a:lnTo>
                    <a:lnTo>
                      <a:pt x="21740" y="67764"/>
                    </a:lnTo>
                    <a:lnTo>
                      <a:pt x="0" y="0"/>
                    </a:lnTo>
                    <a:close/>
                  </a:path>
                </a:pathLst>
              </a:custGeom>
              <a:solidFill>
                <a:srgbClr val="FFFFFE"/>
              </a:solidFill>
              <a:ln w="5088"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F8AE68DD-ECA9-DD0D-9BDF-6548A2116DE1}"/>
                  </a:ext>
                </a:extLst>
              </p:cNvPr>
              <p:cNvSpPr/>
              <p:nvPr/>
            </p:nvSpPr>
            <p:spPr>
              <a:xfrm>
                <a:off x="9965963" y="6423183"/>
                <a:ext cx="67764" cy="69444"/>
              </a:xfrm>
              <a:custGeom>
                <a:avLst/>
                <a:gdLst>
                  <a:gd name="connsiteX0" fmla="*/ 0 w 67764"/>
                  <a:gd name="connsiteY0" fmla="*/ 34671 h 69444"/>
                  <a:gd name="connsiteX1" fmla="*/ 33806 w 67764"/>
                  <a:gd name="connsiteY1" fmla="*/ 0 h 69444"/>
                  <a:gd name="connsiteX2" fmla="*/ 67765 w 67764"/>
                  <a:gd name="connsiteY2" fmla="*/ 34671 h 69444"/>
                  <a:gd name="connsiteX3" fmla="*/ 33806 w 67764"/>
                  <a:gd name="connsiteY3" fmla="*/ 69445 h 69444"/>
                  <a:gd name="connsiteX4" fmla="*/ 0 w 67764"/>
                  <a:gd name="connsiteY4" fmla="*/ 34671 h 69444"/>
                  <a:gd name="connsiteX5" fmla="*/ 60535 w 67764"/>
                  <a:gd name="connsiteY5" fmla="*/ 34773 h 69444"/>
                  <a:gd name="connsiteX6" fmla="*/ 33755 w 67764"/>
                  <a:gd name="connsiteY6" fmla="*/ 6822 h 69444"/>
                  <a:gd name="connsiteX7" fmla="*/ 7128 w 67764"/>
                  <a:gd name="connsiteY7" fmla="*/ 34773 h 69444"/>
                  <a:gd name="connsiteX8" fmla="*/ 33755 w 67764"/>
                  <a:gd name="connsiteY8" fmla="*/ 62826 h 69444"/>
                  <a:gd name="connsiteX9" fmla="*/ 60535 w 67764"/>
                  <a:gd name="connsiteY9" fmla="*/ 34773 h 6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64" h="69444">
                    <a:moveTo>
                      <a:pt x="0" y="34671"/>
                    </a:moveTo>
                    <a:cubicBezTo>
                      <a:pt x="0" y="10692"/>
                      <a:pt x="12270" y="0"/>
                      <a:pt x="33806" y="0"/>
                    </a:cubicBezTo>
                    <a:cubicBezTo>
                      <a:pt x="55444" y="0"/>
                      <a:pt x="67765" y="10743"/>
                      <a:pt x="67765" y="34671"/>
                    </a:cubicBezTo>
                    <a:cubicBezTo>
                      <a:pt x="67765" y="58753"/>
                      <a:pt x="55393" y="69445"/>
                      <a:pt x="33806" y="69445"/>
                    </a:cubicBezTo>
                    <a:cubicBezTo>
                      <a:pt x="12219" y="69495"/>
                      <a:pt x="0" y="58753"/>
                      <a:pt x="0" y="34671"/>
                    </a:cubicBezTo>
                    <a:close/>
                    <a:moveTo>
                      <a:pt x="60535" y="34773"/>
                    </a:moveTo>
                    <a:cubicBezTo>
                      <a:pt x="60535" y="16597"/>
                      <a:pt x="52083" y="6822"/>
                      <a:pt x="33755" y="6822"/>
                    </a:cubicBezTo>
                    <a:cubicBezTo>
                      <a:pt x="15477" y="6822"/>
                      <a:pt x="7128" y="16648"/>
                      <a:pt x="7128" y="34773"/>
                    </a:cubicBezTo>
                    <a:cubicBezTo>
                      <a:pt x="7128" y="53051"/>
                      <a:pt x="15477" y="62826"/>
                      <a:pt x="33755" y="62826"/>
                    </a:cubicBezTo>
                    <a:cubicBezTo>
                      <a:pt x="52134" y="62826"/>
                      <a:pt x="60535" y="53051"/>
                      <a:pt x="60535" y="34773"/>
                    </a:cubicBezTo>
                    <a:close/>
                  </a:path>
                </a:pathLst>
              </a:custGeom>
              <a:solidFill>
                <a:srgbClr val="FFFFFE"/>
              </a:solidFill>
              <a:ln w="5088"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5223ED3-0890-F26A-8E19-E6F52BE0F57C}"/>
                  </a:ext>
                </a:extLst>
              </p:cNvPr>
              <p:cNvSpPr/>
              <p:nvPr/>
            </p:nvSpPr>
            <p:spPr>
              <a:xfrm>
                <a:off x="10048339" y="6424252"/>
                <a:ext cx="51778" cy="67306"/>
              </a:xfrm>
              <a:custGeom>
                <a:avLst/>
                <a:gdLst>
                  <a:gd name="connsiteX0" fmla="*/ 27136 w 51778"/>
                  <a:gd name="connsiteY0" fmla="*/ 39864 h 67306"/>
                  <a:gd name="connsiteX1" fmla="*/ 6975 w 51778"/>
                  <a:gd name="connsiteY1" fmla="*/ 39864 h 67306"/>
                  <a:gd name="connsiteX2" fmla="*/ 6975 w 51778"/>
                  <a:gd name="connsiteY2" fmla="*/ 67306 h 67306"/>
                  <a:gd name="connsiteX3" fmla="*/ 0 w 51778"/>
                  <a:gd name="connsiteY3" fmla="*/ 67306 h 67306"/>
                  <a:gd name="connsiteX4" fmla="*/ 0 w 51778"/>
                  <a:gd name="connsiteY4" fmla="*/ 0 h 67306"/>
                  <a:gd name="connsiteX5" fmla="*/ 29071 w 51778"/>
                  <a:gd name="connsiteY5" fmla="*/ 0 h 67306"/>
                  <a:gd name="connsiteX6" fmla="*/ 51778 w 51778"/>
                  <a:gd name="connsiteY6" fmla="*/ 19601 h 67306"/>
                  <a:gd name="connsiteX7" fmla="*/ 34519 w 51778"/>
                  <a:gd name="connsiteY7" fmla="*/ 39559 h 67306"/>
                  <a:gd name="connsiteX8" fmla="*/ 50760 w 51778"/>
                  <a:gd name="connsiteY8" fmla="*/ 67255 h 67306"/>
                  <a:gd name="connsiteX9" fmla="*/ 43123 w 51778"/>
                  <a:gd name="connsiteY9" fmla="*/ 67255 h 67306"/>
                  <a:gd name="connsiteX10" fmla="*/ 27136 w 51778"/>
                  <a:gd name="connsiteY10" fmla="*/ 39864 h 67306"/>
                  <a:gd name="connsiteX11" fmla="*/ 29122 w 51778"/>
                  <a:gd name="connsiteY11" fmla="*/ 33348 h 67306"/>
                  <a:gd name="connsiteX12" fmla="*/ 44548 w 51778"/>
                  <a:gd name="connsiteY12" fmla="*/ 19805 h 67306"/>
                  <a:gd name="connsiteX13" fmla="*/ 28817 w 51778"/>
                  <a:gd name="connsiteY13" fmla="*/ 6619 h 67306"/>
                  <a:gd name="connsiteX14" fmla="*/ 6924 w 51778"/>
                  <a:gd name="connsiteY14" fmla="*/ 6619 h 67306"/>
                  <a:gd name="connsiteX15" fmla="*/ 6924 w 51778"/>
                  <a:gd name="connsiteY15" fmla="*/ 33297 h 67306"/>
                  <a:gd name="connsiteX16" fmla="*/ 29122 w 51778"/>
                  <a:gd name="connsiteY16" fmla="*/ 33297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78" h="67306">
                    <a:moveTo>
                      <a:pt x="27136" y="39864"/>
                    </a:moveTo>
                    <a:lnTo>
                      <a:pt x="6975" y="39864"/>
                    </a:lnTo>
                    <a:lnTo>
                      <a:pt x="6975" y="67306"/>
                    </a:lnTo>
                    <a:lnTo>
                      <a:pt x="0" y="67306"/>
                    </a:lnTo>
                    <a:lnTo>
                      <a:pt x="0" y="0"/>
                    </a:lnTo>
                    <a:lnTo>
                      <a:pt x="29071" y="0"/>
                    </a:lnTo>
                    <a:cubicBezTo>
                      <a:pt x="44701" y="0"/>
                      <a:pt x="51778" y="6262"/>
                      <a:pt x="51778" y="19601"/>
                    </a:cubicBezTo>
                    <a:cubicBezTo>
                      <a:pt x="51778" y="31209"/>
                      <a:pt x="46229" y="38032"/>
                      <a:pt x="34519" y="39559"/>
                    </a:cubicBezTo>
                    <a:lnTo>
                      <a:pt x="50760" y="67255"/>
                    </a:lnTo>
                    <a:lnTo>
                      <a:pt x="43123" y="67255"/>
                    </a:lnTo>
                    <a:lnTo>
                      <a:pt x="27136" y="39864"/>
                    </a:lnTo>
                    <a:close/>
                    <a:moveTo>
                      <a:pt x="29122" y="33348"/>
                    </a:moveTo>
                    <a:cubicBezTo>
                      <a:pt x="38643" y="33348"/>
                      <a:pt x="44548" y="30446"/>
                      <a:pt x="44548" y="19805"/>
                    </a:cubicBezTo>
                    <a:cubicBezTo>
                      <a:pt x="44548" y="9368"/>
                      <a:pt x="38846" y="6619"/>
                      <a:pt x="28817" y="6619"/>
                    </a:cubicBezTo>
                    <a:lnTo>
                      <a:pt x="6924" y="6619"/>
                    </a:lnTo>
                    <a:lnTo>
                      <a:pt x="6924" y="33297"/>
                    </a:lnTo>
                    <a:lnTo>
                      <a:pt x="29122" y="33297"/>
                    </a:lnTo>
                    <a:close/>
                  </a:path>
                </a:pathLst>
              </a:custGeom>
              <a:solidFill>
                <a:srgbClr val="FFFFFE"/>
              </a:solidFill>
              <a:ln w="5088"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7657B28-30E0-7A78-14F9-1389BA0F11E5}"/>
                  </a:ext>
                </a:extLst>
              </p:cNvPr>
              <p:cNvSpPr/>
              <p:nvPr/>
            </p:nvSpPr>
            <p:spPr>
              <a:xfrm>
                <a:off x="10115391" y="6424252"/>
                <a:ext cx="52592" cy="67306"/>
              </a:xfrm>
              <a:custGeom>
                <a:avLst/>
                <a:gdLst>
                  <a:gd name="connsiteX0" fmla="*/ 20416 w 52592"/>
                  <a:gd name="connsiteY0" fmla="*/ 31617 h 67306"/>
                  <a:gd name="connsiteX1" fmla="*/ 6975 w 52592"/>
                  <a:gd name="connsiteY1" fmla="*/ 46330 h 67306"/>
                  <a:gd name="connsiteX2" fmla="*/ 6975 w 52592"/>
                  <a:gd name="connsiteY2" fmla="*/ 67306 h 67306"/>
                  <a:gd name="connsiteX3" fmla="*/ 0 w 52592"/>
                  <a:gd name="connsiteY3" fmla="*/ 67306 h 67306"/>
                  <a:gd name="connsiteX4" fmla="*/ 0 w 52592"/>
                  <a:gd name="connsiteY4" fmla="*/ 0 h 67306"/>
                  <a:gd name="connsiteX5" fmla="*/ 6975 w 52592"/>
                  <a:gd name="connsiteY5" fmla="*/ 0 h 67306"/>
                  <a:gd name="connsiteX6" fmla="*/ 6975 w 52592"/>
                  <a:gd name="connsiteY6" fmla="*/ 37166 h 67306"/>
                  <a:gd name="connsiteX7" fmla="*/ 41036 w 52592"/>
                  <a:gd name="connsiteY7" fmla="*/ 0 h 67306"/>
                  <a:gd name="connsiteX8" fmla="*/ 49283 w 52592"/>
                  <a:gd name="connsiteY8" fmla="*/ 0 h 67306"/>
                  <a:gd name="connsiteX9" fmla="*/ 25151 w 52592"/>
                  <a:gd name="connsiteY9" fmla="*/ 26424 h 67306"/>
                  <a:gd name="connsiteX10" fmla="*/ 52593 w 52592"/>
                  <a:gd name="connsiteY10" fmla="*/ 67306 h 67306"/>
                  <a:gd name="connsiteX11" fmla="*/ 44498 w 52592"/>
                  <a:gd name="connsiteY11" fmla="*/ 67306 h 67306"/>
                  <a:gd name="connsiteX12" fmla="*/ 20416 w 52592"/>
                  <a:gd name="connsiteY12" fmla="*/ 31617 h 67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592" h="67306">
                    <a:moveTo>
                      <a:pt x="20416" y="31617"/>
                    </a:moveTo>
                    <a:lnTo>
                      <a:pt x="6975" y="46330"/>
                    </a:lnTo>
                    <a:lnTo>
                      <a:pt x="6975" y="67306"/>
                    </a:lnTo>
                    <a:lnTo>
                      <a:pt x="0" y="67306"/>
                    </a:lnTo>
                    <a:lnTo>
                      <a:pt x="0" y="0"/>
                    </a:lnTo>
                    <a:lnTo>
                      <a:pt x="6975" y="0"/>
                    </a:lnTo>
                    <a:lnTo>
                      <a:pt x="6975" y="37166"/>
                    </a:lnTo>
                    <a:lnTo>
                      <a:pt x="41036" y="0"/>
                    </a:lnTo>
                    <a:lnTo>
                      <a:pt x="49283" y="0"/>
                    </a:lnTo>
                    <a:lnTo>
                      <a:pt x="25151" y="26424"/>
                    </a:lnTo>
                    <a:lnTo>
                      <a:pt x="52593" y="67306"/>
                    </a:lnTo>
                    <a:lnTo>
                      <a:pt x="44498" y="67306"/>
                    </a:lnTo>
                    <a:lnTo>
                      <a:pt x="20416" y="31617"/>
                    </a:lnTo>
                    <a:close/>
                  </a:path>
                </a:pathLst>
              </a:custGeom>
              <a:solidFill>
                <a:srgbClr val="FFFFFE"/>
              </a:solidFill>
              <a:ln w="5088"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94FFC83-53BF-067B-A3CE-97C40B4FA795}"/>
                  </a:ext>
                </a:extLst>
              </p:cNvPr>
              <p:cNvSpPr/>
              <p:nvPr/>
            </p:nvSpPr>
            <p:spPr>
              <a:xfrm>
                <a:off x="10173940" y="6423132"/>
                <a:ext cx="54781" cy="69292"/>
              </a:xfrm>
              <a:custGeom>
                <a:avLst/>
                <a:gdLst>
                  <a:gd name="connsiteX0" fmla="*/ 0 w 54781"/>
                  <a:gd name="connsiteY0" fmla="*/ 61604 h 69292"/>
                  <a:gd name="connsiteX1" fmla="*/ 3615 w 54781"/>
                  <a:gd name="connsiteY1" fmla="*/ 56156 h 69292"/>
                  <a:gd name="connsiteX2" fmla="*/ 27696 w 54781"/>
                  <a:gd name="connsiteY2" fmla="*/ 62979 h 69292"/>
                  <a:gd name="connsiteX3" fmla="*/ 47756 w 54781"/>
                  <a:gd name="connsiteY3" fmla="*/ 49792 h 69292"/>
                  <a:gd name="connsiteX4" fmla="*/ 27696 w 54781"/>
                  <a:gd name="connsiteY4" fmla="*/ 36708 h 69292"/>
                  <a:gd name="connsiteX5" fmla="*/ 3360 w 54781"/>
                  <a:gd name="connsiteY5" fmla="*/ 18074 h 69292"/>
                  <a:gd name="connsiteX6" fmla="*/ 27696 w 54781"/>
                  <a:gd name="connsiteY6" fmla="*/ 0 h 69292"/>
                  <a:gd name="connsiteX7" fmla="*/ 51116 w 54781"/>
                  <a:gd name="connsiteY7" fmla="*/ 6008 h 69292"/>
                  <a:gd name="connsiteX8" fmla="*/ 47298 w 54781"/>
                  <a:gd name="connsiteY8" fmla="*/ 11812 h 69292"/>
                  <a:gd name="connsiteX9" fmla="*/ 27696 w 54781"/>
                  <a:gd name="connsiteY9" fmla="*/ 6517 h 69292"/>
                  <a:gd name="connsiteX10" fmla="*/ 10437 w 54781"/>
                  <a:gd name="connsiteY10" fmla="*/ 17870 h 69292"/>
                  <a:gd name="connsiteX11" fmla="*/ 29427 w 54781"/>
                  <a:gd name="connsiteY11" fmla="*/ 30242 h 69292"/>
                  <a:gd name="connsiteX12" fmla="*/ 54782 w 54781"/>
                  <a:gd name="connsiteY12" fmla="*/ 49487 h 69292"/>
                  <a:gd name="connsiteX13" fmla="*/ 27900 w 54781"/>
                  <a:gd name="connsiteY13" fmla="*/ 69292 h 69292"/>
                  <a:gd name="connsiteX14" fmla="*/ 0 w 54781"/>
                  <a:gd name="connsiteY14" fmla="*/ 61604 h 6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781" h="69292">
                    <a:moveTo>
                      <a:pt x="0" y="61604"/>
                    </a:moveTo>
                    <a:lnTo>
                      <a:pt x="3615" y="56156"/>
                    </a:lnTo>
                    <a:cubicBezTo>
                      <a:pt x="11710" y="61248"/>
                      <a:pt x="19601" y="62979"/>
                      <a:pt x="27696" y="62979"/>
                    </a:cubicBezTo>
                    <a:cubicBezTo>
                      <a:pt x="41596" y="62979"/>
                      <a:pt x="47756" y="59058"/>
                      <a:pt x="47756" y="49792"/>
                    </a:cubicBezTo>
                    <a:cubicBezTo>
                      <a:pt x="47756" y="40272"/>
                      <a:pt x="39763" y="38897"/>
                      <a:pt x="27696" y="36708"/>
                    </a:cubicBezTo>
                    <a:cubicBezTo>
                      <a:pt x="13186" y="34162"/>
                      <a:pt x="3360" y="31718"/>
                      <a:pt x="3360" y="18074"/>
                    </a:cubicBezTo>
                    <a:cubicBezTo>
                      <a:pt x="3360" y="5091"/>
                      <a:pt x="11710" y="0"/>
                      <a:pt x="27696" y="0"/>
                    </a:cubicBezTo>
                    <a:cubicBezTo>
                      <a:pt x="38235" y="0"/>
                      <a:pt x="45770" y="2342"/>
                      <a:pt x="51116" y="6008"/>
                    </a:cubicBezTo>
                    <a:lnTo>
                      <a:pt x="47298" y="11812"/>
                    </a:lnTo>
                    <a:cubicBezTo>
                      <a:pt x="42461" y="8655"/>
                      <a:pt x="35282" y="6517"/>
                      <a:pt x="27696" y="6517"/>
                    </a:cubicBezTo>
                    <a:cubicBezTo>
                      <a:pt x="15630" y="6517"/>
                      <a:pt x="10437" y="9877"/>
                      <a:pt x="10437" y="17870"/>
                    </a:cubicBezTo>
                    <a:cubicBezTo>
                      <a:pt x="10437" y="26424"/>
                      <a:pt x="17412" y="28053"/>
                      <a:pt x="29427" y="30242"/>
                    </a:cubicBezTo>
                    <a:cubicBezTo>
                      <a:pt x="44141" y="32889"/>
                      <a:pt x="54782" y="35079"/>
                      <a:pt x="54782" y="49487"/>
                    </a:cubicBezTo>
                    <a:cubicBezTo>
                      <a:pt x="54782" y="62826"/>
                      <a:pt x="46229" y="69292"/>
                      <a:pt x="27900" y="69292"/>
                    </a:cubicBezTo>
                    <a:cubicBezTo>
                      <a:pt x="17718" y="69343"/>
                      <a:pt x="8502" y="67255"/>
                      <a:pt x="0" y="61604"/>
                    </a:cubicBezTo>
                    <a:close/>
                  </a:path>
                </a:pathLst>
              </a:custGeom>
              <a:solidFill>
                <a:srgbClr val="FFFFFE"/>
              </a:solidFill>
              <a:ln w="5088" cap="flat">
                <a:noFill/>
                <a:prstDash val="solid"/>
                <a:miter/>
              </a:ln>
            </p:spPr>
            <p:txBody>
              <a:bodyPr rtlCol="0" anchor="ctr"/>
              <a:lstStyle/>
              <a:p>
                <a:endParaRPr lang="en-US"/>
              </a:p>
            </p:txBody>
          </p:sp>
        </p:grpSp>
        <p:grpSp>
          <p:nvGrpSpPr>
            <p:cNvPr id="6" name="Graphic 21">
              <a:extLst>
                <a:ext uri="{FF2B5EF4-FFF2-40B4-BE49-F238E27FC236}">
                  <a16:creationId xmlns:a16="http://schemas.microsoft.com/office/drawing/2014/main" id="{3805852F-76C6-AE02-EAA1-C362A2952A2F}"/>
                </a:ext>
              </a:extLst>
            </p:cNvPr>
            <p:cNvGrpSpPr/>
            <p:nvPr/>
          </p:nvGrpSpPr>
          <p:grpSpPr>
            <a:xfrm>
              <a:off x="9049996" y="6145201"/>
              <a:ext cx="1271540" cy="302776"/>
              <a:chOff x="9049996" y="6145201"/>
              <a:chExt cx="1271540" cy="302776"/>
            </a:xfrm>
            <a:solidFill>
              <a:srgbClr val="FFFFFE"/>
            </a:solidFill>
          </p:grpSpPr>
          <p:grpSp>
            <p:nvGrpSpPr>
              <p:cNvPr id="7" name="Graphic 21">
                <a:extLst>
                  <a:ext uri="{FF2B5EF4-FFF2-40B4-BE49-F238E27FC236}">
                    <a16:creationId xmlns:a16="http://schemas.microsoft.com/office/drawing/2014/main" id="{FAE85167-F65F-F78D-C8C2-EC0BD0EF2FB3}"/>
                  </a:ext>
                </a:extLst>
              </p:cNvPr>
              <p:cNvGrpSpPr/>
              <p:nvPr/>
            </p:nvGrpSpPr>
            <p:grpSpPr>
              <a:xfrm>
                <a:off x="9049996" y="6145201"/>
                <a:ext cx="1271540" cy="302776"/>
                <a:chOff x="9049996" y="6145201"/>
                <a:chExt cx="1271540" cy="302776"/>
              </a:xfrm>
              <a:solidFill>
                <a:srgbClr val="FFFFFE"/>
              </a:solidFill>
            </p:grpSpPr>
            <p:sp>
              <p:nvSpPr>
                <p:cNvPr id="35" name="Freeform: Shape 34">
                  <a:extLst>
                    <a:ext uri="{FF2B5EF4-FFF2-40B4-BE49-F238E27FC236}">
                      <a16:creationId xmlns:a16="http://schemas.microsoft.com/office/drawing/2014/main" id="{C15EB6BF-D947-6713-A295-FBDE0F857755}"/>
                    </a:ext>
                  </a:extLst>
                </p:cNvPr>
                <p:cNvSpPr/>
                <p:nvPr/>
              </p:nvSpPr>
              <p:spPr>
                <a:xfrm>
                  <a:off x="10200466" y="6146117"/>
                  <a:ext cx="121069" cy="249012"/>
                </a:xfrm>
                <a:custGeom>
                  <a:avLst/>
                  <a:gdLst>
                    <a:gd name="connsiteX0" fmla="*/ 98618 w 121069"/>
                    <a:gd name="connsiteY0" fmla="*/ 0 h 249012"/>
                    <a:gd name="connsiteX1" fmla="*/ 0 w 121069"/>
                    <a:gd name="connsiteY1" fmla="*/ 102181 h 249012"/>
                    <a:gd name="connsiteX2" fmla="*/ 0 w 121069"/>
                    <a:gd name="connsiteY2" fmla="*/ 249013 h 249012"/>
                    <a:gd name="connsiteX3" fmla="*/ 22300 w 121069"/>
                    <a:gd name="connsiteY3" fmla="*/ 249013 h 249012"/>
                    <a:gd name="connsiteX4" fmla="*/ 22300 w 121069"/>
                    <a:gd name="connsiteY4" fmla="*/ 102181 h 249012"/>
                    <a:gd name="connsiteX5" fmla="*/ 98618 w 121069"/>
                    <a:gd name="connsiteY5" fmla="*/ 20976 h 249012"/>
                    <a:gd name="connsiteX6" fmla="*/ 121070 w 121069"/>
                    <a:gd name="connsiteY6" fmla="*/ 22198 h 249012"/>
                    <a:gd name="connsiteX7" fmla="*/ 121070 w 121069"/>
                    <a:gd name="connsiteY7" fmla="*/ 916 h 249012"/>
                    <a:gd name="connsiteX8" fmla="*/ 98618 w 121069"/>
                    <a:gd name="connsiteY8" fmla="*/ 0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69" h="249012">
                      <a:moveTo>
                        <a:pt x="98618" y="0"/>
                      </a:moveTo>
                      <a:cubicBezTo>
                        <a:pt x="4022" y="0"/>
                        <a:pt x="0" y="42410"/>
                        <a:pt x="0" y="102181"/>
                      </a:cubicBezTo>
                      <a:lnTo>
                        <a:pt x="0" y="249013"/>
                      </a:lnTo>
                      <a:lnTo>
                        <a:pt x="22300" y="249013"/>
                      </a:lnTo>
                      <a:lnTo>
                        <a:pt x="22300" y="102181"/>
                      </a:lnTo>
                      <a:cubicBezTo>
                        <a:pt x="22300" y="57124"/>
                        <a:pt x="20518" y="20976"/>
                        <a:pt x="98618" y="20976"/>
                      </a:cubicBezTo>
                      <a:cubicBezTo>
                        <a:pt x="106967" y="20976"/>
                        <a:pt x="114400" y="21434"/>
                        <a:pt x="121070" y="22198"/>
                      </a:cubicBezTo>
                      <a:lnTo>
                        <a:pt x="121070" y="916"/>
                      </a:lnTo>
                      <a:cubicBezTo>
                        <a:pt x="114197" y="305"/>
                        <a:pt x="106713" y="0"/>
                        <a:pt x="98618" y="0"/>
                      </a:cubicBezTo>
                      <a:close/>
                    </a:path>
                  </a:pathLst>
                </a:custGeom>
                <a:solidFill>
                  <a:srgbClr val="FFFFFE"/>
                </a:solidFill>
                <a:ln w="5088"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DF63EE7-7F89-27A2-4A2E-65B1D8B0C485}"/>
                    </a:ext>
                  </a:extLst>
                </p:cNvPr>
                <p:cNvSpPr/>
                <p:nvPr/>
              </p:nvSpPr>
              <p:spPr>
                <a:xfrm>
                  <a:off x="9195504" y="6151005"/>
                  <a:ext cx="199475" cy="249012"/>
                </a:xfrm>
                <a:custGeom>
                  <a:avLst/>
                  <a:gdLst>
                    <a:gd name="connsiteX0" fmla="*/ 0 w 199475"/>
                    <a:gd name="connsiteY0" fmla="*/ 148613 h 249012"/>
                    <a:gd name="connsiteX1" fmla="*/ 0 w 199475"/>
                    <a:gd name="connsiteY1" fmla="*/ 0 h 249012"/>
                    <a:gd name="connsiteX2" fmla="*/ 22758 w 199475"/>
                    <a:gd name="connsiteY2" fmla="*/ 0 h 249012"/>
                    <a:gd name="connsiteX3" fmla="*/ 22758 w 199475"/>
                    <a:gd name="connsiteY3" fmla="*/ 149072 h 249012"/>
                    <a:gd name="connsiteX4" fmla="*/ 100858 w 199475"/>
                    <a:gd name="connsiteY4" fmla="*/ 228088 h 249012"/>
                    <a:gd name="connsiteX5" fmla="*/ 177176 w 199475"/>
                    <a:gd name="connsiteY5" fmla="*/ 146882 h 249012"/>
                    <a:gd name="connsiteX6" fmla="*/ 177176 w 199475"/>
                    <a:gd name="connsiteY6" fmla="*/ 0 h 249012"/>
                    <a:gd name="connsiteX7" fmla="*/ 199475 w 199475"/>
                    <a:gd name="connsiteY7" fmla="*/ 0 h 249012"/>
                    <a:gd name="connsiteX8" fmla="*/ 199475 w 199475"/>
                    <a:gd name="connsiteY8" fmla="*/ 146831 h 249012"/>
                    <a:gd name="connsiteX9" fmla="*/ 100858 w 199475"/>
                    <a:gd name="connsiteY9" fmla="*/ 249013 h 249012"/>
                    <a:gd name="connsiteX10" fmla="*/ 0 w 199475"/>
                    <a:gd name="connsiteY10" fmla="*/ 148613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75" h="249012">
                      <a:moveTo>
                        <a:pt x="0" y="148613"/>
                      </a:moveTo>
                      <a:lnTo>
                        <a:pt x="0" y="0"/>
                      </a:lnTo>
                      <a:lnTo>
                        <a:pt x="22758" y="0"/>
                      </a:lnTo>
                      <a:lnTo>
                        <a:pt x="22758" y="149072"/>
                      </a:lnTo>
                      <a:cubicBezTo>
                        <a:pt x="22758" y="191940"/>
                        <a:pt x="22300" y="228088"/>
                        <a:pt x="100858" y="228088"/>
                      </a:cubicBezTo>
                      <a:cubicBezTo>
                        <a:pt x="178958" y="228088"/>
                        <a:pt x="177176" y="191940"/>
                        <a:pt x="177176" y="146882"/>
                      </a:cubicBezTo>
                      <a:lnTo>
                        <a:pt x="177176" y="0"/>
                      </a:lnTo>
                      <a:lnTo>
                        <a:pt x="199475" y="0"/>
                      </a:lnTo>
                      <a:lnTo>
                        <a:pt x="199475" y="146831"/>
                      </a:lnTo>
                      <a:cubicBezTo>
                        <a:pt x="199475" y="206654"/>
                        <a:pt x="195453" y="249013"/>
                        <a:pt x="100858" y="249013"/>
                      </a:cubicBezTo>
                      <a:cubicBezTo>
                        <a:pt x="5804" y="249013"/>
                        <a:pt x="0" y="206654"/>
                        <a:pt x="0" y="148613"/>
                      </a:cubicBezTo>
                      <a:close/>
                    </a:path>
                  </a:pathLst>
                </a:custGeom>
                <a:solidFill>
                  <a:srgbClr val="FFFFFE"/>
                </a:solidFill>
                <a:ln w="5088"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1A8B46B-C315-56E3-B457-2535DD076889}"/>
                    </a:ext>
                  </a:extLst>
                </p:cNvPr>
                <p:cNvSpPr/>
                <p:nvPr/>
              </p:nvSpPr>
              <p:spPr>
                <a:xfrm>
                  <a:off x="9432756" y="6146117"/>
                  <a:ext cx="199475" cy="249012"/>
                </a:xfrm>
                <a:custGeom>
                  <a:avLst/>
                  <a:gdLst>
                    <a:gd name="connsiteX0" fmla="*/ 199475 w 199475"/>
                    <a:gd name="connsiteY0" fmla="*/ 100399 h 249012"/>
                    <a:gd name="connsiteX1" fmla="*/ 199475 w 199475"/>
                    <a:gd name="connsiteY1" fmla="*/ 249013 h 249012"/>
                    <a:gd name="connsiteX2" fmla="*/ 176717 w 199475"/>
                    <a:gd name="connsiteY2" fmla="*/ 249013 h 249012"/>
                    <a:gd name="connsiteX3" fmla="*/ 176717 w 199475"/>
                    <a:gd name="connsiteY3" fmla="*/ 99941 h 249012"/>
                    <a:gd name="connsiteX4" fmla="*/ 98618 w 199475"/>
                    <a:gd name="connsiteY4" fmla="*/ 20925 h 249012"/>
                    <a:gd name="connsiteX5" fmla="*/ 22300 w 199475"/>
                    <a:gd name="connsiteY5" fmla="*/ 102130 h 249012"/>
                    <a:gd name="connsiteX6" fmla="*/ 22300 w 199475"/>
                    <a:gd name="connsiteY6" fmla="*/ 248962 h 249012"/>
                    <a:gd name="connsiteX7" fmla="*/ 0 w 199475"/>
                    <a:gd name="connsiteY7" fmla="*/ 248962 h 249012"/>
                    <a:gd name="connsiteX8" fmla="*/ 0 w 199475"/>
                    <a:gd name="connsiteY8" fmla="*/ 102181 h 249012"/>
                    <a:gd name="connsiteX9" fmla="*/ 98618 w 199475"/>
                    <a:gd name="connsiteY9" fmla="*/ 0 h 249012"/>
                    <a:gd name="connsiteX10" fmla="*/ 199475 w 199475"/>
                    <a:gd name="connsiteY10" fmla="*/ 100399 h 24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75" h="249012">
                      <a:moveTo>
                        <a:pt x="199475" y="100399"/>
                      </a:moveTo>
                      <a:lnTo>
                        <a:pt x="199475" y="249013"/>
                      </a:lnTo>
                      <a:lnTo>
                        <a:pt x="176717" y="249013"/>
                      </a:lnTo>
                      <a:lnTo>
                        <a:pt x="176717" y="99941"/>
                      </a:lnTo>
                      <a:cubicBezTo>
                        <a:pt x="176717" y="57124"/>
                        <a:pt x="177176" y="20925"/>
                        <a:pt x="98618" y="20925"/>
                      </a:cubicBezTo>
                      <a:cubicBezTo>
                        <a:pt x="20518" y="20925"/>
                        <a:pt x="22300" y="57073"/>
                        <a:pt x="22300" y="102130"/>
                      </a:cubicBezTo>
                      <a:lnTo>
                        <a:pt x="22300" y="248962"/>
                      </a:lnTo>
                      <a:lnTo>
                        <a:pt x="0" y="248962"/>
                      </a:lnTo>
                      <a:lnTo>
                        <a:pt x="0" y="102181"/>
                      </a:lnTo>
                      <a:cubicBezTo>
                        <a:pt x="0" y="42359"/>
                        <a:pt x="4022" y="0"/>
                        <a:pt x="98618" y="0"/>
                      </a:cubicBezTo>
                      <a:cubicBezTo>
                        <a:pt x="193671" y="0"/>
                        <a:pt x="199475" y="42359"/>
                        <a:pt x="199475" y="100399"/>
                      </a:cubicBezTo>
                      <a:close/>
                    </a:path>
                  </a:pathLst>
                </a:custGeom>
                <a:solidFill>
                  <a:srgbClr val="FFFFFE"/>
                </a:solidFill>
                <a:ln w="5088"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FDD4864-57CD-683D-97C7-F28F26BD4C29}"/>
                    </a:ext>
                  </a:extLst>
                </p:cNvPr>
                <p:cNvSpPr/>
                <p:nvPr/>
              </p:nvSpPr>
              <p:spPr>
                <a:xfrm>
                  <a:off x="9673674" y="6151463"/>
                  <a:ext cx="21841" cy="243666"/>
                </a:xfrm>
                <a:custGeom>
                  <a:avLst/>
                  <a:gdLst>
                    <a:gd name="connsiteX0" fmla="*/ 0 w 21841"/>
                    <a:gd name="connsiteY0" fmla="*/ 0 h 243666"/>
                    <a:gd name="connsiteX1" fmla="*/ 21841 w 21841"/>
                    <a:gd name="connsiteY1" fmla="*/ 0 h 243666"/>
                    <a:gd name="connsiteX2" fmla="*/ 21841 w 21841"/>
                    <a:gd name="connsiteY2" fmla="*/ 243667 h 243666"/>
                    <a:gd name="connsiteX3" fmla="*/ 0 w 21841"/>
                    <a:gd name="connsiteY3" fmla="*/ 243667 h 243666"/>
                    <a:gd name="connsiteX4" fmla="*/ 0 w 21841"/>
                    <a:gd name="connsiteY4" fmla="*/ 0 h 243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1" h="243666">
                      <a:moveTo>
                        <a:pt x="0" y="0"/>
                      </a:moveTo>
                      <a:lnTo>
                        <a:pt x="21841" y="0"/>
                      </a:lnTo>
                      <a:lnTo>
                        <a:pt x="21841" y="243667"/>
                      </a:lnTo>
                      <a:lnTo>
                        <a:pt x="0" y="243667"/>
                      </a:lnTo>
                      <a:lnTo>
                        <a:pt x="0" y="0"/>
                      </a:lnTo>
                      <a:close/>
                    </a:path>
                  </a:pathLst>
                </a:custGeom>
                <a:solidFill>
                  <a:srgbClr val="FFFFFE"/>
                </a:solidFill>
                <a:ln w="5088"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7818AC2-045C-C7A7-DEDF-F8F54DB52982}"/>
                    </a:ext>
                  </a:extLst>
                </p:cNvPr>
                <p:cNvSpPr/>
                <p:nvPr/>
              </p:nvSpPr>
              <p:spPr>
                <a:xfrm>
                  <a:off x="9736398" y="6151463"/>
                  <a:ext cx="196318" cy="243666"/>
                </a:xfrm>
                <a:custGeom>
                  <a:avLst/>
                  <a:gdLst>
                    <a:gd name="connsiteX0" fmla="*/ 0 w 196318"/>
                    <a:gd name="connsiteY0" fmla="*/ 0 h 243666"/>
                    <a:gd name="connsiteX1" fmla="*/ 114095 w 196318"/>
                    <a:gd name="connsiteY1" fmla="*/ 0 h 243666"/>
                    <a:gd name="connsiteX2" fmla="*/ 196319 w 196318"/>
                    <a:gd name="connsiteY2" fmla="*/ 78100 h 243666"/>
                    <a:gd name="connsiteX3" fmla="*/ 113789 w 196318"/>
                    <a:gd name="connsiteY3" fmla="*/ 159000 h 243666"/>
                    <a:gd name="connsiteX4" fmla="*/ 21892 w 196318"/>
                    <a:gd name="connsiteY4" fmla="*/ 159000 h 243666"/>
                    <a:gd name="connsiteX5" fmla="*/ 21892 w 196318"/>
                    <a:gd name="connsiteY5" fmla="*/ 243667 h 243666"/>
                    <a:gd name="connsiteX6" fmla="*/ 51 w 196318"/>
                    <a:gd name="connsiteY6" fmla="*/ 243667 h 243666"/>
                    <a:gd name="connsiteX7" fmla="*/ 51 w 196318"/>
                    <a:gd name="connsiteY7" fmla="*/ 0 h 243666"/>
                    <a:gd name="connsiteX8" fmla="*/ 114400 w 196318"/>
                    <a:gd name="connsiteY8" fmla="*/ 137107 h 243666"/>
                    <a:gd name="connsiteX9" fmla="*/ 173408 w 196318"/>
                    <a:gd name="connsiteY9" fmla="*/ 79118 h 243666"/>
                    <a:gd name="connsiteX10" fmla="*/ 113433 w 196318"/>
                    <a:gd name="connsiteY10" fmla="*/ 21892 h 243666"/>
                    <a:gd name="connsiteX11" fmla="*/ 21841 w 196318"/>
                    <a:gd name="connsiteY11" fmla="*/ 21892 h 243666"/>
                    <a:gd name="connsiteX12" fmla="*/ 21841 w 196318"/>
                    <a:gd name="connsiteY12" fmla="*/ 137107 h 243666"/>
                    <a:gd name="connsiteX13" fmla="*/ 114400 w 196318"/>
                    <a:gd name="connsiteY13" fmla="*/ 137107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18" h="243666">
                      <a:moveTo>
                        <a:pt x="0" y="0"/>
                      </a:moveTo>
                      <a:lnTo>
                        <a:pt x="114095" y="0"/>
                      </a:lnTo>
                      <a:cubicBezTo>
                        <a:pt x="170659" y="0"/>
                        <a:pt x="196319" y="28104"/>
                        <a:pt x="196319" y="78100"/>
                      </a:cubicBezTo>
                      <a:cubicBezTo>
                        <a:pt x="196319" y="128401"/>
                        <a:pt x="171015" y="159000"/>
                        <a:pt x="113789" y="159000"/>
                      </a:cubicBezTo>
                      <a:lnTo>
                        <a:pt x="21892" y="159000"/>
                      </a:lnTo>
                      <a:lnTo>
                        <a:pt x="21892" y="243667"/>
                      </a:lnTo>
                      <a:lnTo>
                        <a:pt x="51" y="243667"/>
                      </a:lnTo>
                      <a:lnTo>
                        <a:pt x="51" y="0"/>
                      </a:lnTo>
                      <a:close/>
                      <a:moveTo>
                        <a:pt x="114400" y="137107"/>
                      </a:moveTo>
                      <a:cubicBezTo>
                        <a:pt x="153807" y="137107"/>
                        <a:pt x="173408" y="117913"/>
                        <a:pt x="173408" y="79118"/>
                      </a:cubicBezTo>
                      <a:cubicBezTo>
                        <a:pt x="173408" y="40323"/>
                        <a:pt x="152279" y="21892"/>
                        <a:pt x="113433" y="21892"/>
                      </a:cubicBezTo>
                      <a:lnTo>
                        <a:pt x="21841" y="21892"/>
                      </a:lnTo>
                      <a:lnTo>
                        <a:pt x="21841" y="137107"/>
                      </a:lnTo>
                      <a:lnTo>
                        <a:pt x="114400" y="137107"/>
                      </a:lnTo>
                      <a:close/>
                    </a:path>
                  </a:pathLst>
                </a:custGeom>
                <a:solidFill>
                  <a:srgbClr val="FFFFFE"/>
                </a:solidFill>
                <a:ln w="5088"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9F2B9D35-192D-0A4C-5E01-36B5537A0BB7}"/>
                    </a:ext>
                  </a:extLst>
                </p:cNvPr>
                <p:cNvSpPr/>
                <p:nvPr/>
              </p:nvSpPr>
              <p:spPr>
                <a:xfrm>
                  <a:off x="9958122" y="6145201"/>
                  <a:ext cx="210244" cy="254816"/>
                </a:xfrm>
                <a:custGeom>
                  <a:avLst/>
                  <a:gdLst>
                    <a:gd name="connsiteX0" fmla="*/ 0 w 210244"/>
                    <a:gd name="connsiteY0" fmla="*/ 127179 h 254816"/>
                    <a:gd name="connsiteX1" fmla="*/ 112466 w 210244"/>
                    <a:gd name="connsiteY1" fmla="*/ 0 h 254816"/>
                    <a:gd name="connsiteX2" fmla="*/ 210218 w 210244"/>
                    <a:gd name="connsiteY2" fmla="*/ 131201 h 254816"/>
                    <a:gd name="connsiteX3" fmla="*/ 21892 w 210244"/>
                    <a:gd name="connsiteY3" fmla="*/ 131201 h 254816"/>
                    <a:gd name="connsiteX4" fmla="*/ 114248 w 210244"/>
                    <a:gd name="connsiteY4" fmla="*/ 234757 h 254816"/>
                    <a:gd name="connsiteX5" fmla="*/ 194130 w 210244"/>
                    <a:gd name="connsiteY5" fmla="*/ 208843 h 254816"/>
                    <a:gd name="connsiteX6" fmla="*/ 206603 w 210244"/>
                    <a:gd name="connsiteY6" fmla="*/ 225338 h 254816"/>
                    <a:gd name="connsiteX7" fmla="*/ 114248 w 210244"/>
                    <a:gd name="connsiteY7" fmla="*/ 254817 h 254816"/>
                    <a:gd name="connsiteX8" fmla="*/ 0 w 210244"/>
                    <a:gd name="connsiteY8" fmla="*/ 127179 h 254816"/>
                    <a:gd name="connsiteX9" fmla="*/ 22351 w 210244"/>
                    <a:gd name="connsiteY9" fmla="*/ 110684 h 254816"/>
                    <a:gd name="connsiteX10" fmla="*/ 188376 w 210244"/>
                    <a:gd name="connsiteY10" fmla="*/ 110684 h 254816"/>
                    <a:gd name="connsiteX11" fmla="*/ 112008 w 210244"/>
                    <a:gd name="connsiteY11" fmla="*/ 20518 h 254816"/>
                    <a:gd name="connsiteX12" fmla="*/ 22351 w 210244"/>
                    <a:gd name="connsiteY12" fmla="*/ 110684 h 25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0244" h="254816">
                      <a:moveTo>
                        <a:pt x="0" y="127179"/>
                      </a:moveTo>
                      <a:cubicBezTo>
                        <a:pt x="0" y="55342"/>
                        <a:pt x="20518" y="0"/>
                        <a:pt x="112466" y="0"/>
                      </a:cubicBezTo>
                      <a:cubicBezTo>
                        <a:pt x="207520" y="0"/>
                        <a:pt x="210625" y="63793"/>
                        <a:pt x="210218" y="131201"/>
                      </a:cubicBezTo>
                      <a:lnTo>
                        <a:pt x="21892" y="131201"/>
                      </a:lnTo>
                      <a:cubicBezTo>
                        <a:pt x="22351" y="190565"/>
                        <a:pt x="37064" y="234757"/>
                        <a:pt x="114248" y="234757"/>
                      </a:cubicBezTo>
                      <a:cubicBezTo>
                        <a:pt x="155283" y="234757"/>
                        <a:pt x="174070" y="223607"/>
                        <a:pt x="194130" y="208843"/>
                      </a:cubicBezTo>
                      <a:lnTo>
                        <a:pt x="206603" y="225338"/>
                      </a:lnTo>
                      <a:cubicBezTo>
                        <a:pt x="184303" y="241834"/>
                        <a:pt x="157982" y="254817"/>
                        <a:pt x="114248" y="254817"/>
                      </a:cubicBezTo>
                      <a:cubicBezTo>
                        <a:pt x="17870" y="254817"/>
                        <a:pt x="0" y="199017"/>
                        <a:pt x="0" y="127179"/>
                      </a:cubicBezTo>
                      <a:close/>
                      <a:moveTo>
                        <a:pt x="22351" y="110684"/>
                      </a:moveTo>
                      <a:lnTo>
                        <a:pt x="188376" y="110684"/>
                      </a:lnTo>
                      <a:cubicBezTo>
                        <a:pt x="186136" y="62062"/>
                        <a:pt x="182980" y="20518"/>
                        <a:pt x="112008" y="20518"/>
                      </a:cubicBezTo>
                      <a:cubicBezTo>
                        <a:pt x="43734" y="20518"/>
                        <a:pt x="24998" y="57582"/>
                        <a:pt x="22351" y="110684"/>
                      </a:cubicBezTo>
                      <a:close/>
                    </a:path>
                  </a:pathLst>
                </a:custGeom>
                <a:solidFill>
                  <a:srgbClr val="FFFFFE"/>
                </a:solidFill>
                <a:ln w="5088"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C33AB33-DF88-B242-A0C6-38A7EC6BEE7B}"/>
                    </a:ext>
                  </a:extLst>
                </p:cNvPr>
                <p:cNvSpPr/>
                <p:nvPr/>
              </p:nvSpPr>
              <p:spPr>
                <a:xfrm>
                  <a:off x="9049996" y="6151005"/>
                  <a:ext cx="107119" cy="296972"/>
                </a:xfrm>
                <a:custGeom>
                  <a:avLst/>
                  <a:gdLst>
                    <a:gd name="connsiteX0" fmla="*/ 8502 w 107119"/>
                    <a:gd name="connsiteY0" fmla="*/ 296972 h 296972"/>
                    <a:gd name="connsiteX1" fmla="*/ 107120 w 107119"/>
                    <a:gd name="connsiteY1" fmla="*/ 194791 h 296972"/>
                    <a:gd name="connsiteX2" fmla="*/ 107120 w 107119"/>
                    <a:gd name="connsiteY2" fmla="*/ 0 h 296972"/>
                    <a:gd name="connsiteX3" fmla="*/ 84820 w 107119"/>
                    <a:gd name="connsiteY3" fmla="*/ 0 h 296972"/>
                    <a:gd name="connsiteX4" fmla="*/ 84820 w 107119"/>
                    <a:gd name="connsiteY4" fmla="*/ 194791 h 296972"/>
                    <a:gd name="connsiteX5" fmla="*/ 8502 w 107119"/>
                    <a:gd name="connsiteY5" fmla="*/ 275996 h 296972"/>
                    <a:gd name="connsiteX6" fmla="*/ 0 w 107119"/>
                    <a:gd name="connsiteY6" fmla="*/ 275793 h 296972"/>
                    <a:gd name="connsiteX7" fmla="*/ 0 w 107119"/>
                    <a:gd name="connsiteY7" fmla="*/ 296820 h 296972"/>
                    <a:gd name="connsiteX8" fmla="*/ 8502 w 107119"/>
                    <a:gd name="connsiteY8" fmla="*/ 296972 h 29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19" h="296972">
                      <a:moveTo>
                        <a:pt x="8502" y="296972"/>
                      </a:moveTo>
                      <a:cubicBezTo>
                        <a:pt x="103098" y="296972"/>
                        <a:pt x="107120" y="254562"/>
                        <a:pt x="107120" y="194791"/>
                      </a:cubicBezTo>
                      <a:lnTo>
                        <a:pt x="107120" y="0"/>
                      </a:lnTo>
                      <a:lnTo>
                        <a:pt x="84820" y="0"/>
                      </a:lnTo>
                      <a:lnTo>
                        <a:pt x="84820" y="194791"/>
                      </a:lnTo>
                      <a:cubicBezTo>
                        <a:pt x="84820" y="239849"/>
                        <a:pt x="86602" y="275996"/>
                        <a:pt x="8502" y="275996"/>
                      </a:cubicBezTo>
                      <a:cubicBezTo>
                        <a:pt x="5549" y="275996"/>
                        <a:pt x="2749" y="275945"/>
                        <a:pt x="0" y="275793"/>
                      </a:cubicBezTo>
                      <a:lnTo>
                        <a:pt x="0" y="296820"/>
                      </a:lnTo>
                      <a:cubicBezTo>
                        <a:pt x="2749" y="296972"/>
                        <a:pt x="5549" y="296972"/>
                        <a:pt x="8502" y="296972"/>
                      </a:cubicBezTo>
                      <a:close/>
                    </a:path>
                  </a:pathLst>
                </a:custGeom>
                <a:solidFill>
                  <a:srgbClr val="FFFFFE"/>
                </a:solidFill>
                <a:ln w="5088" cap="flat">
                  <a:noFill/>
                  <a:prstDash val="solid"/>
                  <a:miter/>
                </a:ln>
              </p:spPr>
              <p:txBody>
                <a:bodyPr rtlCol="0" anchor="ctr"/>
                <a:lstStyle/>
                <a:p>
                  <a:endParaRPr lang="en-US"/>
                </a:p>
              </p:txBody>
            </p:sp>
          </p:grpSp>
          <p:grpSp>
            <p:nvGrpSpPr>
              <p:cNvPr id="28" name="Graphic 21">
                <a:extLst>
                  <a:ext uri="{FF2B5EF4-FFF2-40B4-BE49-F238E27FC236}">
                    <a16:creationId xmlns:a16="http://schemas.microsoft.com/office/drawing/2014/main" id="{7E48D81B-5DB8-DFA1-B821-64CC8A2EAC0D}"/>
                  </a:ext>
                </a:extLst>
              </p:cNvPr>
              <p:cNvGrpSpPr/>
              <p:nvPr/>
            </p:nvGrpSpPr>
            <p:grpSpPr>
              <a:xfrm>
                <a:off x="10256164" y="6365346"/>
                <a:ext cx="30802" cy="30852"/>
                <a:chOff x="10256164" y="6365346"/>
                <a:chExt cx="30802" cy="30852"/>
              </a:xfrm>
              <a:solidFill>
                <a:srgbClr val="FFFFFE"/>
              </a:solidFill>
            </p:grpSpPr>
            <p:sp>
              <p:nvSpPr>
                <p:cNvPr id="29" name="Freeform: Shape 28">
                  <a:extLst>
                    <a:ext uri="{FF2B5EF4-FFF2-40B4-BE49-F238E27FC236}">
                      <a16:creationId xmlns:a16="http://schemas.microsoft.com/office/drawing/2014/main" id="{37BCC57E-19DC-A13A-91BF-8C0DBDEDCA4F}"/>
                    </a:ext>
                  </a:extLst>
                </p:cNvPr>
                <p:cNvSpPr/>
                <p:nvPr/>
              </p:nvSpPr>
              <p:spPr>
                <a:xfrm>
                  <a:off x="10256164" y="6365346"/>
                  <a:ext cx="30802" cy="30852"/>
                </a:xfrm>
                <a:custGeom>
                  <a:avLst/>
                  <a:gdLst>
                    <a:gd name="connsiteX0" fmla="*/ 15426 w 30802"/>
                    <a:gd name="connsiteY0" fmla="*/ 30853 h 30852"/>
                    <a:gd name="connsiteX1" fmla="*/ 0 w 30802"/>
                    <a:gd name="connsiteY1" fmla="*/ 15426 h 30852"/>
                    <a:gd name="connsiteX2" fmla="*/ 15426 w 30802"/>
                    <a:gd name="connsiteY2" fmla="*/ 0 h 30852"/>
                    <a:gd name="connsiteX3" fmla="*/ 30802 w 30802"/>
                    <a:gd name="connsiteY3" fmla="*/ 15426 h 30852"/>
                    <a:gd name="connsiteX4" fmla="*/ 15426 w 30802"/>
                    <a:gd name="connsiteY4" fmla="*/ 30853 h 30852"/>
                    <a:gd name="connsiteX5" fmla="*/ 15426 w 30802"/>
                    <a:gd name="connsiteY5" fmla="*/ 30853 h 30852"/>
                    <a:gd name="connsiteX6" fmla="*/ 15426 w 30802"/>
                    <a:gd name="connsiteY6" fmla="*/ 2037 h 30852"/>
                    <a:gd name="connsiteX7" fmla="*/ 1986 w 30802"/>
                    <a:gd name="connsiteY7" fmla="*/ 15426 h 30852"/>
                    <a:gd name="connsiteX8" fmla="*/ 15426 w 30802"/>
                    <a:gd name="connsiteY8" fmla="*/ 28816 h 30852"/>
                    <a:gd name="connsiteX9" fmla="*/ 28817 w 30802"/>
                    <a:gd name="connsiteY9" fmla="*/ 15426 h 30852"/>
                    <a:gd name="connsiteX10" fmla="*/ 15426 w 30802"/>
                    <a:gd name="connsiteY10" fmla="*/ 2037 h 30852"/>
                    <a:gd name="connsiteX11" fmla="*/ 15426 w 30802"/>
                    <a:gd name="connsiteY11" fmla="*/ 2037 h 3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02" h="30852">
                      <a:moveTo>
                        <a:pt x="15426" y="30853"/>
                      </a:moveTo>
                      <a:cubicBezTo>
                        <a:pt x="6924" y="30853"/>
                        <a:pt x="0" y="23929"/>
                        <a:pt x="0" y="15426"/>
                      </a:cubicBezTo>
                      <a:cubicBezTo>
                        <a:pt x="0" y="6924"/>
                        <a:pt x="6924" y="0"/>
                        <a:pt x="15426" y="0"/>
                      </a:cubicBezTo>
                      <a:cubicBezTo>
                        <a:pt x="23929" y="0"/>
                        <a:pt x="30802" y="6924"/>
                        <a:pt x="30802" y="15426"/>
                      </a:cubicBezTo>
                      <a:cubicBezTo>
                        <a:pt x="30802" y="23929"/>
                        <a:pt x="23929" y="30853"/>
                        <a:pt x="15426" y="30853"/>
                      </a:cubicBezTo>
                      <a:lnTo>
                        <a:pt x="15426" y="30853"/>
                      </a:lnTo>
                      <a:close/>
                      <a:moveTo>
                        <a:pt x="15426" y="2037"/>
                      </a:moveTo>
                      <a:cubicBezTo>
                        <a:pt x="8044" y="2037"/>
                        <a:pt x="1986" y="8044"/>
                        <a:pt x="1986" y="15426"/>
                      </a:cubicBezTo>
                      <a:cubicBezTo>
                        <a:pt x="1986" y="22809"/>
                        <a:pt x="7993" y="28816"/>
                        <a:pt x="15426" y="28816"/>
                      </a:cubicBezTo>
                      <a:cubicBezTo>
                        <a:pt x="22809" y="28816"/>
                        <a:pt x="28817" y="22809"/>
                        <a:pt x="28817" y="15426"/>
                      </a:cubicBezTo>
                      <a:cubicBezTo>
                        <a:pt x="28817" y="8044"/>
                        <a:pt x="22809" y="2037"/>
                        <a:pt x="15426" y="2037"/>
                      </a:cubicBezTo>
                      <a:lnTo>
                        <a:pt x="15426" y="2037"/>
                      </a:lnTo>
                      <a:close/>
                    </a:path>
                  </a:pathLst>
                </a:custGeom>
                <a:solidFill>
                  <a:srgbClr val="FFFFFE"/>
                </a:solidFill>
                <a:ln w="5088"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C0CAA9C3-A906-284C-4594-C7B6BCF1AC37}"/>
                    </a:ext>
                  </a:extLst>
                </p:cNvPr>
                <p:cNvSpPr/>
                <p:nvPr/>
              </p:nvSpPr>
              <p:spPr>
                <a:xfrm>
                  <a:off x="10265278" y="6371914"/>
                  <a:ext cx="14102" cy="17717"/>
                </a:xfrm>
                <a:custGeom>
                  <a:avLst/>
                  <a:gdLst>
                    <a:gd name="connsiteX0" fmla="*/ 7281 w 14102"/>
                    <a:gd name="connsiteY0" fmla="*/ 10895 h 17717"/>
                    <a:gd name="connsiteX1" fmla="*/ 2342 w 14102"/>
                    <a:gd name="connsiteY1" fmla="*/ 10895 h 17717"/>
                    <a:gd name="connsiteX2" fmla="*/ 2342 w 14102"/>
                    <a:gd name="connsiteY2" fmla="*/ 17718 h 17717"/>
                    <a:gd name="connsiteX3" fmla="*/ 0 w 14102"/>
                    <a:gd name="connsiteY3" fmla="*/ 17718 h 17717"/>
                    <a:gd name="connsiteX4" fmla="*/ 0 w 14102"/>
                    <a:gd name="connsiteY4" fmla="*/ 0 h 17717"/>
                    <a:gd name="connsiteX5" fmla="*/ 7891 w 14102"/>
                    <a:gd name="connsiteY5" fmla="*/ 0 h 17717"/>
                    <a:gd name="connsiteX6" fmla="*/ 14103 w 14102"/>
                    <a:gd name="connsiteY6" fmla="*/ 5346 h 17717"/>
                    <a:gd name="connsiteX7" fmla="*/ 9826 w 14102"/>
                    <a:gd name="connsiteY7" fmla="*/ 10743 h 17717"/>
                    <a:gd name="connsiteX8" fmla="*/ 13848 w 14102"/>
                    <a:gd name="connsiteY8" fmla="*/ 17718 h 17717"/>
                    <a:gd name="connsiteX9" fmla="*/ 11303 w 14102"/>
                    <a:gd name="connsiteY9" fmla="*/ 17718 h 17717"/>
                    <a:gd name="connsiteX10" fmla="*/ 7281 w 14102"/>
                    <a:gd name="connsiteY10" fmla="*/ 10895 h 17717"/>
                    <a:gd name="connsiteX11" fmla="*/ 7841 w 14102"/>
                    <a:gd name="connsiteY11" fmla="*/ 8706 h 17717"/>
                    <a:gd name="connsiteX12" fmla="*/ 11659 w 14102"/>
                    <a:gd name="connsiteY12" fmla="*/ 5448 h 17717"/>
                    <a:gd name="connsiteX13" fmla="*/ 7790 w 14102"/>
                    <a:gd name="connsiteY13" fmla="*/ 2291 h 17717"/>
                    <a:gd name="connsiteX14" fmla="*/ 2393 w 14102"/>
                    <a:gd name="connsiteY14" fmla="*/ 2291 h 17717"/>
                    <a:gd name="connsiteX15" fmla="*/ 2393 w 14102"/>
                    <a:gd name="connsiteY15" fmla="*/ 8706 h 17717"/>
                    <a:gd name="connsiteX16" fmla="*/ 7841 w 14102"/>
                    <a:gd name="connsiteY16" fmla="*/ 8706 h 1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02" h="17717">
                      <a:moveTo>
                        <a:pt x="7281" y="10895"/>
                      </a:moveTo>
                      <a:lnTo>
                        <a:pt x="2342" y="10895"/>
                      </a:lnTo>
                      <a:lnTo>
                        <a:pt x="2342" y="17718"/>
                      </a:lnTo>
                      <a:lnTo>
                        <a:pt x="0" y="17718"/>
                      </a:lnTo>
                      <a:lnTo>
                        <a:pt x="0" y="0"/>
                      </a:lnTo>
                      <a:lnTo>
                        <a:pt x="7891" y="0"/>
                      </a:lnTo>
                      <a:cubicBezTo>
                        <a:pt x="12372" y="0"/>
                        <a:pt x="14103" y="1833"/>
                        <a:pt x="14103" y="5346"/>
                      </a:cubicBezTo>
                      <a:cubicBezTo>
                        <a:pt x="14103" y="8197"/>
                        <a:pt x="12881" y="10182"/>
                        <a:pt x="9826" y="10743"/>
                      </a:cubicBezTo>
                      <a:lnTo>
                        <a:pt x="13848" y="17718"/>
                      </a:lnTo>
                      <a:lnTo>
                        <a:pt x="11303" y="17718"/>
                      </a:lnTo>
                      <a:lnTo>
                        <a:pt x="7281" y="10895"/>
                      </a:lnTo>
                      <a:close/>
                      <a:moveTo>
                        <a:pt x="7841" y="8706"/>
                      </a:moveTo>
                      <a:cubicBezTo>
                        <a:pt x="10233" y="8706"/>
                        <a:pt x="11659" y="7993"/>
                        <a:pt x="11659" y="5448"/>
                      </a:cubicBezTo>
                      <a:cubicBezTo>
                        <a:pt x="11659" y="2902"/>
                        <a:pt x="10335" y="2291"/>
                        <a:pt x="7790" y="2291"/>
                      </a:cubicBezTo>
                      <a:lnTo>
                        <a:pt x="2393" y="2291"/>
                      </a:lnTo>
                      <a:lnTo>
                        <a:pt x="2393" y="8706"/>
                      </a:lnTo>
                      <a:lnTo>
                        <a:pt x="7841" y="8706"/>
                      </a:lnTo>
                      <a:close/>
                    </a:path>
                  </a:pathLst>
                </a:custGeom>
                <a:solidFill>
                  <a:srgbClr val="FFFFFE"/>
                </a:solidFill>
                <a:ln w="5088" cap="flat">
                  <a:noFill/>
                  <a:prstDash val="solid"/>
                  <a:miter/>
                </a:ln>
              </p:spPr>
              <p:txBody>
                <a:bodyPr rtlCol="0" anchor="ctr"/>
                <a:lstStyle/>
                <a:p>
                  <a:endParaRPr lang="en-US"/>
                </a:p>
              </p:txBody>
            </p:sp>
          </p:grpSp>
        </p:grpSp>
      </p:grpSp>
      <p:pic>
        <p:nvPicPr>
          <p:cNvPr id="50" name="Graphic 49">
            <a:extLst>
              <a:ext uri="{FF2B5EF4-FFF2-40B4-BE49-F238E27FC236}">
                <a16:creationId xmlns:a16="http://schemas.microsoft.com/office/drawing/2014/main" id="{C7FC4ABD-D9E2-4008-7B00-0A61FB0CE44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56111" y="5464749"/>
            <a:ext cx="850482" cy="742482"/>
          </a:xfrm>
          <a:prstGeom prst="rect">
            <a:avLst/>
          </a:prstGeom>
        </p:spPr>
      </p:pic>
      <p:cxnSp>
        <p:nvCxnSpPr>
          <p:cNvPr id="51" name="Straight Connector 50">
            <a:extLst>
              <a:ext uri="{FF2B5EF4-FFF2-40B4-BE49-F238E27FC236}">
                <a16:creationId xmlns:a16="http://schemas.microsoft.com/office/drawing/2014/main" id="{52C370D5-A9A8-BE53-7CBE-32905DE5882D}"/>
              </a:ext>
            </a:extLst>
          </p:cNvPr>
          <p:cNvCxnSpPr>
            <a:cxnSpLocks/>
          </p:cNvCxnSpPr>
          <p:nvPr userDrawn="1"/>
        </p:nvCxnSpPr>
        <p:spPr>
          <a:xfrm>
            <a:off x="5823273" y="5424839"/>
            <a:ext cx="0" cy="822302"/>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026419"/>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5AA63-AD3A-E4C7-2350-033DF62B8FB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D3C69BC8-CC01-2F2A-7A6F-8A7B36EC0D85}"/>
              </a:ext>
            </a:extLst>
          </p:cNvPr>
          <p:cNvSpPr>
            <a:spLocks noGrp="1"/>
          </p:cNvSpPr>
          <p:nvPr>
            <p:ph type="dt" sz="half" idx="10"/>
          </p:nvPr>
        </p:nvSpPr>
        <p:spPr/>
        <p:txBody>
          <a:bodyPr/>
          <a:lstStyle/>
          <a:p>
            <a:fld id="{3072B874-81DE-E543-93D8-E6FF4ABA2DF8}" type="datetimeFigureOut">
              <a:rPr lang="en-US" smtClean="0"/>
              <a:t>5/27/2024</a:t>
            </a:fld>
            <a:endParaRPr lang="en-US"/>
          </a:p>
        </p:txBody>
      </p:sp>
      <p:sp>
        <p:nvSpPr>
          <p:cNvPr id="4" name="Footer Placeholder 3">
            <a:extLst>
              <a:ext uri="{FF2B5EF4-FFF2-40B4-BE49-F238E27FC236}">
                <a16:creationId xmlns:a16="http://schemas.microsoft.com/office/drawing/2014/main" id="{7ED98ACC-0299-02BD-3C27-B00A840D3CE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0C0244-842A-895C-2611-4BD85886B68D}"/>
              </a:ext>
            </a:extLst>
          </p:cNvPr>
          <p:cNvSpPr>
            <a:spLocks noGrp="1"/>
          </p:cNvSpPr>
          <p:nvPr>
            <p:ph type="sldNum" sz="quarter" idx="12"/>
          </p:nvPr>
        </p:nvSpPr>
        <p:spPr/>
        <p:txBody>
          <a:bodyPr/>
          <a:lstStyle/>
          <a:p>
            <a:fld id="{90DE9AAC-E4E3-5B46-AAEC-3F46CE1957E3}" type="slidenum">
              <a:rPr lang="en-US" smtClean="0"/>
              <a:t>‹#›</a:t>
            </a:fld>
            <a:endParaRPr lang="en-US"/>
          </a:p>
        </p:txBody>
      </p:sp>
    </p:spTree>
    <p:extLst>
      <p:ext uri="{BB962C8B-B14F-4D97-AF65-F5344CB8AC3E}">
        <p14:creationId xmlns:p14="http://schemas.microsoft.com/office/powerpoint/2010/main" val="523174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CCBC6-DAF5-3ACB-A961-AC8D009653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19407F-8433-BFE4-4097-7ADBABBC4F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22B87C-892B-E068-5F23-E7075CA35A0F}"/>
              </a:ext>
            </a:extLst>
          </p:cNvPr>
          <p:cNvSpPr>
            <a:spLocks noGrp="1"/>
          </p:cNvSpPr>
          <p:nvPr>
            <p:ph type="dt" sz="half" idx="10"/>
          </p:nvPr>
        </p:nvSpPr>
        <p:spPr/>
        <p:txBody>
          <a:bodyPr/>
          <a:lstStyle/>
          <a:p>
            <a:fld id="{16C9B734-8874-41E9-94BC-E2343DDED4E2}" type="datetimeFigureOut">
              <a:rPr lang="en-US" smtClean="0"/>
              <a:t>5/27/2024</a:t>
            </a:fld>
            <a:endParaRPr lang="en-US"/>
          </a:p>
        </p:txBody>
      </p:sp>
      <p:sp>
        <p:nvSpPr>
          <p:cNvPr id="5" name="Footer Placeholder 4">
            <a:extLst>
              <a:ext uri="{FF2B5EF4-FFF2-40B4-BE49-F238E27FC236}">
                <a16:creationId xmlns:a16="http://schemas.microsoft.com/office/drawing/2014/main" id="{6DE03502-C753-5D52-35A9-8F41B99A6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F143D-0EB0-8664-E004-17888F43D07B}"/>
              </a:ext>
            </a:extLst>
          </p:cNvPr>
          <p:cNvSpPr>
            <a:spLocks noGrp="1"/>
          </p:cNvSpPr>
          <p:nvPr>
            <p:ph type="sldNum" sz="quarter" idx="12"/>
          </p:nvPr>
        </p:nvSpPr>
        <p:spPr/>
        <p:txBody>
          <a:bodyPr/>
          <a:lstStyle/>
          <a:p>
            <a:fld id="{B69D839C-EE54-4A52-9992-6C00EB08CA8B}" type="slidenum">
              <a:rPr lang="en-US" smtClean="0"/>
              <a:t>‹#›</a:t>
            </a:fld>
            <a:endParaRPr lang="en-US"/>
          </a:p>
        </p:txBody>
      </p:sp>
    </p:spTree>
    <p:extLst>
      <p:ext uri="{BB962C8B-B14F-4D97-AF65-F5344CB8AC3E}">
        <p14:creationId xmlns:p14="http://schemas.microsoft.com/office/powerpoint/2010/main" val="4434876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218"/>
        <p:cNvGrpSpPr/>
        <p:nvPr/>
      </p:nvGrpSpPr>
      <p:grpSpPr>
        <a:xfrm>
          <a:off x="0" y="0"/>
          <a:ext cx="0" cy="0"/>
          <a:chOff x="0" y="0"/>
          <a:chExt cx="0" cy="0"/>
        </a:xfrm>
      </p:grpSpPr>
      <p:pic>
        <p:nvPicPr>
          <p:cNvPr id="3" name="Picture 2">
            <a:extLst>
              <a:ext uri="{FF2B5EF4-FFF2-40B4-BE49-F238E27FC236}">
                <a16:creationId xmlns:a16="http://schemas.microsoft.com/office/drawing/2014/main" id="{8F5A408F-BD7F-9DBE-3345-6182A0F4A7CE}"/>
              </a:ext>
            </a:extLst>
          </p:cNvPr>
          <p:cNvPicPr>
            <a:picLocks noChangeAspect="1"/>
          </p:cNvPicPr>
          <p:nvPr userDrawn="1"/>
        </p:nvPicPr>
        <p:blipFill>
          <a:blip r:embed="rId2"/>
          <a:srcRect l="3498" r="3498"/>
          <a:stretch/>
        </p:blipFill>
        <p:spPr>
          <a:xfrm>
            <a:off x="-196878" y="-165608"/>
            <a:ext cx="12559566" cy="7224776"/>
          </a:xfrm>
          <a:prstGeom prst="rect">
            <a:avLst/>
          </a:prstGeom>
        </p:spPr>
      </p:pic>
      <p:sp>
        <p:nvSpPr>
          <p:cNvPr id="5" name="Rectangle 4">
            <a:extLst>
              <a:ext uri="{FF2B5EF4-FFF2-40B4-BE49-F238E27FC236}">
                <a16:creationId xmlns:a16="http://schemas.microsoft.com/office/drawing/2014/main" id="{76321684-64C6-6964-F17D-E782F7F8C83E}"/>
              </a:ext>
            </a:extLst>
          </p:cNvPr>
          <p:cNvSpPr/>
          <p:nvPr userDrawn="1"/>
        </p:nvSpPr>
        <p:spPr>
          <a:xfrm>
            <a:off x="0" y="0"/>
            <a:ext cx="12192000" cy="6858000"/>
          </a:xfrm>
          <a:prstGeom prst="rect">
            <a:avLst/>
          </a:prstGeom>
          <a:noFill/>
          <a:ln w="3810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schemeClr>
              </a:solidFill>
            </a:endParaRPr>
          </a:p>
        </p:txBody>
      </p:sp>
      <p:sp>
        <p:nvSpPr>
          <p:cNvPr id="11" name="Title 1">
            <a:extLst>
              <a:ext uri="{FF2B5EF4-FFF2-40B4-BE49-F238E27FC236}">
                <a16:creationId xmlns:a16="http://schemas.microsoft.com/office/drawing/2014/main" id="{1BBEE2F4-B642-4080-7BEE-5B76E0766DE8}"/>
              </a:ext>
            </a:extLst>
          </p:cNvPr>
          <p:cNvSpPr>
            <a:spLocks noGrp="1"/>
          </p:cNvSpPr>
          <p:nvPr>
            <p:ph type="title"/>
          </p:nvPr>
        </p:nvSpPr>
        <p:spPr>
          <a:xfrm>
            <a:off x="867660" y="1643785"/>
            <a:ext cx="6967863" cy="2119831"/>
          </a:xfrm>
          <a:prstGeom prst="rect">
            <a:avLst/>
          </a:prstGeom>
        </p:spPr>
        <p:txBody>
          <a:bodyPr/>
          <a:lstStyle>
            <a:lvl1pPr>
              <a:defRPr sz="6000" b="1" i="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p>
        </p:txBody>
      </p:sp>
      <p:pic>
        <p:nvPicPr>
          <p:cNvPr id="12" name="Picture 11">
            <a:extLst>
              <a:ext uri="{FF2B5EF4-FFF2-40B4-BE49-F238E27FC236}">
                <a16:creationId xmlns:a16="http://schemas.microsoft.com/office/drawing/2014/main" id="{B3A3131D-52A3-979D-2DF3-6E78F76D8FCB}"/>
              </a:ext>
            </a:extLst>
          </p:cNvPr>
          <p:cNvPicPr>
            <a:picLocks noChangeAspect="1"/>
          </p:cNvPicPr>
          <p:nvPr userDrawn="1"/>
        </p:nvPicPr>
        <p:blipFill>
          <a:blip r:embed="rId3"/>
          <a:stretch>
            <a:fillRect/>
          </a:stretch>
        </p:blipFill>
        <p:spPr>
          <a:xfrm>
            <a:off x="9470183" y="5770612"/>
            <a:ext cx="2263509" cy="600688"/>
          </a:xfrm>
          <a:prstGeom prst="rect">
            <a:avLst/>
          </a:prstGeom>
        </p:spPr>
      </p:pic>
    </p:spTree>
    <p:extLst>
      <p:ext uri="{BB962C8B-B14F-4D97-AF65-F5344CB8AC3E}">
        <p14:creationId xmlns:p14="http://schemas.microsoft.com/office/powerpoint/2010/main" val="6752010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ADBD4-DC13-83BD-EBBC-CDF821E1E8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408E79-80CB-3FFB-F1AE-420008EAED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AD991-85B8-275F-219B-DFC2C9C390BF}"/>
              </a:ext>
            </a:extLst>
          </p:cNvPr>
          <p:cNvSpPr>
            <a:spLocks noGrp="1"/>
          </p:cNvSpPr>
          <p:nvPr>
            <p:ph type="dt" sz="half" idx="10"/>
          </p:nvPr>
        </p:nvSpPr>
        <p:spPr/>
        <p:txBody>
          <a:bodyPr/>
          <a:lstStyle/>
          <a:p>
            <a:fld id="{5C1FD3B3-B58C-8749-9CF3-46C1C458A488}" type="datetimeFigureOut">
              <a:rPr lang="en-US" smtClean="0"/>
              <a:t>5/27/2024</a:t>
            </a:fld>
            <a:endParaRPr lang="en-US"/>
          </a:p>
        </p:txBody>
      </p:sp>
      <p:sp>
        <p:nvSpPr>
          <p:cNvPr id="5" name="Footer Placeholder 4">
            <a:extLst>
              <a:ext uri="{FF2B5EF4-FFF2-40B4-BE49-F238E27FC236}">
                <a16:creationId xmlns:a16="http://schemas.microsoft.com/office/drawing/2014/main" id="{342554EF-5EE0-341D-22BE-E7E8017AC7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3F9550-6BDD-79C4-CF91-521EF90AAEA3}"/>
              </a:ext>
            </a:extLst>
          </p:cNvPr>
          <p:cNvSpPr>
            <a:spLocks noGrp="1"/>
          </p:cNvSpPr>
          <p:nvPr>
            <p:ph type="sldNum" sz="quarter" idx="12"/>
          </p:nvPr>
        </p:nvSpPr>
        <p:spPr/>
        <p:txBody>
          <a:bodyPr/>
          <a:lstStyle/>
          <a:p>
            <a:fld id="{FC9AC109-FA40-BC4C-91D9-749273FF8E3F}" type="slidenum">
              <a:rPr lang="en-US" smtClean="0"/>
              <a:t>‹#›</a:t>
            </a:fld>
            <a:endParaRPr lang="en-US"/>
          </a:p>
        </p:txBody>
      </p:sp>
    </p:spTree>
    <p:extLst>
      <p:ext uri="{BB962C8B-B14F-4D97-AF65-F5344CB8AC3E}">
        <p14:creationId xmlns:p14="http://schemas.microsoft.com/office/powerpoint/2010/main" val="1488580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vision">
    <p:bg>
      <p:bgRef idx="1001">
        <a:schemeClr val="bg1"/>
      </p:bgRef>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1DE9F09B-71E5-AE4A-2310-DBCF69406CA6}"/>
              </a:ext>
            </a:extLst>
          </p:cNvPr>
          <p:cNvSpPr>
            <a:spLocks noGrp="1"/>
          </p:cNvSpPr>
          <p:nvPr>
            <p:ph type="body" sz="quarter" idx="10" hasCustomPrompt="1"/>
          </p:nvPr>
        </p:nvSpPr>
        <p:spPr>
          <a:xfrm>
            <a:off x="5791200" y="1619249"/>
            <a:ext cx="5928220" cy="3486151"/>
          </a:xfrm>
        </p:spPr>
        <p:txBody>
          <a:bodyPr anchor="ctr" anchorCtr="0"/>
          <a:lstStyle>
            <a:lvl1pPr marL="0" indent="0">
              <a:lnSpc>
                <a:spcPct val="100000"/>
              </a:lnSpc>
              <a:buNone/>
              <a:defRPr sz="4800" b="0" cap="none" baseline="0">
                <a:solidFill>
                  <a:schemeClr val="tx1"/>
                </a:solidFill>
                <a:latin typeface="+mj-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p:txBody>
      </p:sp>
      <p:pic>
        <p:nvPicPr>
          <p:cNvPr id="3" name="Picture 2">
            <a:extLst>
              <a:ext uri="{FF2B5EF4-FFF2-40B4-BE49-F238E27FC236}">
                <a16:creationId xmlns:a16="http://schemas.microsoft.com/office/drawing/2014/main" id="{1E552F76-9299-46E7-D0FA-EAF40356164F}"/>
              </a:ext>
            </a:extLst>
          </p:cNvPr>
          <p:cNvPicPr>
            <a:picLocks noChangeAspect="1"/>
          </p:cNvPicPr>
          <p:nvPr userDrawn="1"/>
        </p:nvPicPr>
        <p:blipFill rotWithShape="1">
          <a:blip r:embed="rId2"/>
          <a:srcRect l="13276" r="1244" b="20925"/>
          <a:stretch/>
        </p:blipFill>
        <p:spPr>
          <a:xfrm>
            <a:off x="0" y="2309018"/>
            <a:ext cx="5116286" cy="4548982"/>
          </a:xfrm>
          <a:prstGeom prst="rect">
            <a:avLst/>
          </a:prstGeom>
          <a:effectLst/>
        </p:spPr>
      </p:pic>
    </p:spTree>
    <p:extLst>
      <p:ext uri="{BB962C8B-B14F-4D97-AF65-F5344CB8AC3E}">
        <p14:creationId xmlns:p14="http://schemas.microsoft.com/office/powerpoint/2010/main" val="2569315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2" name="Picture 11" descr="A body of water with trees and a path&#10;&#10;Description automatically generated">
            <a:extLst>
              <a:ext uri="{FF2B5EF4-FFF2-40B4-BE49-F238E27FC236}">
                <a16:creationId xmlns:a16="http://schemas.microsoft.com/office/drawing/2014/main" id="{F4FDDD0E-6BDD-00CE-7FA2-EA7AC8F90E44}"/>
              </a:ext>
            </a:extLst>
          </p:cNvPr>
          <p:cNvPicPr>
            <a:picLocks noChangeAspect="1"/>
          </p:cNvPicPr>
          <p:nvPr userDrawn="1"/>
        </p:nvPicPr>
        <p:blipFill>
          <a:blip r:embed="rId2"/>
          <a:stretch>
            <a:fillRect/>
          </a:stretch>
        </p:blipFill>
        <p:spPr>
          <a:xfrm>
            <a:off x="0" y="0"/>
            <a:ext cx="12192000" cy="4015220"/>
          </a:xfrm>
          <a:prstGeom prst="rect">
            <a:avLst/>
          </a:prstGeom>
        </p:spPr>
      </p:pic>
      <p:grpSp>
        <p:nvGrpSpPr>
          <p:cNvPr id="8" name="Group 7">
            <a:extLst>
              <a:ext uri="{FF2B5EF4-FFF2-40B4-BE49-F238E27FC236}">
                <a16:creationId xmlns:a16="http://schemas.microsoft.com/office/drawing/2014/main" id="{BFD82E9F-CD19-10FC-2426-80B2F6DC7DAC}"/>
              </a:ext>
            </a:extLst>
          </p:cNvPr>
          <p:cNvGrpSpPr/>
          <p:nvPr userDrawn="1"/>
        </p:nvGrpSpPr>
        <p:grpSpPr>
          <a:xfrm>
            <a:off x="0" y="3687743"/>
            <a:ext cx="12192000" cy="3170257"/>
            <a:chOff x="0" y="3687743"/>
            <a:chExt cx="12192000" cy="3170257"/>
          </a:xfrm>
        </p:grpSpPr>
        <p:sp>
          <p:nvSpPr>
            <p:cNvPr id="9" name="Rectangle 8">
              <a:extLst>
                <a:ext uri="{FF2B5EF4-FFF2-40B4-BE49-F238E27FC236}">
                  <a16:creationId xmlns:a16="http://schemas.microsoft.com/office/drawing/2014/main" id="{06CC478C-350D-694A-35B7-343AF57D0DA6}"/>
                </a:ext>
              </a:extLst>
            </p:cNvPr>
            <p:cNvSpPr/>
            <p:nvPr userDrawn="1"/>
          </p:nvSpPr>
          <p:spPr>
            <a:xfrm>
              <a:off x="0" y="3687743"/>
              <a:ext cx="12192000" cy="3170257"/>
            </a:xfrm>
            <a:prstGeom prst="rect">
              <a:avLst/>
            </a:pr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11E5BD-E242-32FA-899C-14CE442E8886}"/>
                </a:ext>
              </a:extLst>
            </p:cNvPr>
            <p:cNvSpPr/>
            <p:nvPr userDrawn="1"/>
          </p:nvSpPr>
          <p:spPr>
            <a:xfrm>
              <a:off x="0" y="3798276"/>
              <a:ext cx="12191999" cy="30597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Graphic 19">
            <a:extLst>
              <a:ext uri="{FF2B5EF4-FFF2-40B4-BE49-F238E27FC236}">
                <a16:creationId xmlns:a16="http://schemas.microsoft.com/office/drawing/2014/main" id="{9EB4AF4F-C295-CC64-135E-BBAFD19B38B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049996" y="6104624"/>
            <a:ext cx="2535444" cy="397117"/>
          </a:xfrm>
          <a:prstGeom prst="rect">
            <a:avLst/>
          </a:prstGeom>
          <a:effectLst/>
        </p:spPr>
      </p:pic>
      <p:sp>
        <p:nvSpPr>
          <p:cNvPr id="22" name="Subtitle 2">
            <a:extLst>
              <a:ext uri="{FF2B5EF4-FFF2-40B4-BE49-F238E27FC236}">
                <a16:creationId xmlns:a16="http://schemas.microsoft.com/office/drawing/2014/main" id="{63C52EB3-854F-40C9-E6A3-C28E63A9F2EC}"/>
              </a:ext>
            </a:extLst>
          </p:cNvPr>
          <p:cNvSpPr>
            <a:spLocks noGrp="1"/>
          </p:cNvSpPr>
          <p:nvPr>
            <p:ph type="subTitle" idx="1" hasCustomPrompt="1"/>
          </p:nvPr>
        </p:nvSpPr>
        <p:spPr>
          <a:xfrm>
            <a:off x="847724" y="5544439"/>
            <a:ext cx="5943600" cy="365760"/>
          </a:xfrm>
        </p:spPr>
        <p:txBody>
          <a:bodyPr>
            <a:noAutofit/>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er’s name</a:t>
            </a:r>
          </a:p>
        </p:txBody>
      </p:sp>
      <p:sp>
        <p:nvSpPr>
          <p:cNvPr id="23" name="Text Placeholder 12">
            <a:extLst>
              <a:ext uri="{FF2B5EF4-FFF2-40B4-BE49-F238E27FC236}">
                <a16:creationId xmlns:a16="http://schemas.microsoft.com/office/drawing/2014/main" id="{AA9A0386-7380-604E-F61C-43864370507A}"/>
              </a:ext>
            </a:extLst>
          </p:cNvPr>
          <p:cNvSpPr>
            <a:spLocks noGrp="1"/>
          </p:cNvSpPr>
          <p:nvPr>
            <p:ph type="body" sz="quarter" idx="10" hasCustomPrompt="1"/>
          </p:nvPr>
        </p:nvSpPr>
        <p:spPr>
          <a:xfrm>
            <a:off x="847725" y="5943450"/>
            <a:ext cx="5943600" cy="365760"/>
          </a:xfrm>
        </p:spPr>
        <p:txBody>
          <a:bodyPr>
            <a:noAutofit/>
          </a:bodyPr>
          <a:lstStyle>
            <a:lvl1pPr marL="0" indent="0">
              <a:buNone/>
              <a:defRPr sz="2000">
                <a:solidFill>
                  <a:schemeClr val="bg1"/>
                </a:solidFill>
              </a:defRPr>
            </a:lvl1pPr>
            <a:lvl2pPr marL="346075" indent="0">
              <a:buNone/>
              <a:defRPr/>
            </a:lvl2pPr>
          </a:lstStyle>
          <a:p>
            <a:pPr lvl="0"/>
            <a:r>
              <a:rPr lang="en-US"/>
              <a:t>Click to edit presenter’s position</a:t>
            </a:r>
          </a:p>
        </p:txBody>
      </p:sp>
      <p:sp>
        <p:nvSpPr>
          <p:cNvPr id="2" name="Title 1">
            <a:extLst>
              <a:ext uri="{FF2B5EF4-FFF2-40B4-BE49-F238E27FC236}">
                <a16:creationId xmlns:a16="http://schemas.microsoft.com/office/drawing/2014/main" id="{B97C0FDC-54E6-438C-9F26-179A4EC645BE}"/>
              </a:ext>
            </a:extLst>
          </p:cNvPr>
          <p:cNvSpPr>
            <a:spLocks noGrp="1"/>
          </p:cNvSpPr>
          <p:nvPr>
            <p:ph type="ctrTitle" hasCustomPrompt="1"/>
          </p:nvPr>
        </p:nvSpPr>
        <p:spPr>
          <a:xfrm>
            <a:off x="847724" y="3935896"/>
            <a:ext cx="10789920" cy="1262269"/>
          </a:xfrm>
        </p:spPr>
        <p:txBody>
          <a:bodyPr anchor="ctr" anchorCtr="0">
            <a:noAutofit/>
          </a:bodyPr>
          <a:lstStyle>
            <a:lvl1pPr algn="l">
              <a:defRPr sz="4800" cap="none"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81480880"/>
      </p:ext>
    </p:extLst>
  </p:cSld>
  <p:clrMapOvr>
    <a:masterClrMapping/>
  </p:clrMapOvr>
  <p:transition>
    <p:fade/>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0_Conten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80ECE26-8344-36C0-D939-A605420C4E90}"/>
              </a:ext>
            </a:extLst>
          </p:cNvPr>
          <p:cNvSpPr>
            <a:spLocks noGrp="1"/>
          </p:cNvSpPr>
          <p:nvPr>
            <p:ph type="ctrTitle" hasCustomPrompt="1"/>
          </p:nvPr>
        </p:nvSpPr>
        <p:spPr>
          <a:xfrm>
            <a:off x="719137" y="502928"/>
            <a:ext cx="10753726" cy="1095375"/>
          </a:xfrm>
        </p:spPr>
        <p:txBody>
          <a:bodyPr anchor="b">
            <a:normAutofit/>
          </a:bodyPr>
          <a:lstStyle>
            <a:lvl1pPr algn="l">
              <a:defRPr sz="4000" b="1" i="1" cap="all" baseline="0">
                <a:solidFill>
                  <a:schemeClr val="tx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title</a:t>
            </a:r>
          </a:p>
        </p:txBody>
      </p:sp>
      <p:pic>
        <p:nvPicPr>
          <p:cNvPr id="5" name="Graphic 4">
            <a:extLst>
              <a:ext uri="{FF2B5EF4-FFF2-40B4-BE49-F238E27FC236}">
                <a16:creationId xmlns:a16="http://schemas.microsoft.com/office/drawing/2014/main" id="{484F34CA-66C5-7B40-0CC5-C32495C9A2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94334" y="6390981"/>
            <a:ext cx="2178529" cy="186906"/>
          </a:xfrm>
          <a:prstGeom prst="rect">
            <a:avLst/>
          </a:prstGeom>
        </p:spPr>
      </p:pic>
      <p:sp>
        <p:nvSpPr>
          <p:cNvPr id="6" name="Rectangle 5">
            <a:extLst>
              <a:ext uri="{FF2B5EF4-FFF2-40B4-BE49-F238E27FC236}">
                <a16:creationId xmlns:a16="http://schemas.microsoft.com/office/drawing/2014/main" id="{A5E34114-CCA1-E7A9-E5DA-11ACB453005D}"/>
              </a:ext>
            </a:extLst>
          </p:cNvPr>
          <p:cNvSpPr/>
          <p:nvPr userDrawn="1"/>
        </p:nvSpPr>
        <p:spPr>
          <a:xfrm>
            <a:off x="5561814" y="6577887"/>
            <a:ext cx="1112363" cy="124571"/>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54763795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3_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6D4F13-D3A7-AA72-87F8-F7F1333C62F6}"/>
              </a:ext>
            </a:extLst>
          </p:cNvPr>
          <p:cNvSpPr>
            <a:spLocks noGrp="1"/>
          </p:cNvSpPr>
          <p:nvPr>
            <p:ph type="body" sz="quarter" idx="11"/>
          </p:nvPr>
        </p:nvSpPr>
        <p:spPr>
          <a:xfrm>
            <a:off x="719137" y="1775462"/>
            <a:ext cx="10753726" cy="2892130"/>
          </a:xfrm>
        </p:spPr>
        <p:txBody>
          <a:bodyPr/>
          <a:lstStyle>
            <a:lvl1pPr>
              <a:defRPr b="0" i="0">
                <a:latin typeface="Lato" panose="020F0502020204030203" pitchFamily="34" charset="0"/>
                <a:ea typeface="Lato" panose="020F0502020204030203" pitchFamily="34" charset="0"/>
                <a:cs typeface="Lato" panose="020F0502020204030203" pitchFamily="34" charset="0"/>
              </a:defRPr>
            </a:lvl1pPr>
            <a:lvl2pPr>
              <a:defRPr b="0" i="0">
                <a:latin typeface="Lato" panose="020F0502020204030203" pitchFamily="34" charset="0"/>
                <a:ea typeface="Lato" panose="020F0502020204030203" pitchFamily="34" charset="0"/>
                <a:cs typeface="Lato" panose="020F0502020204030203" pitchFamily="34" charset="0"/>
              </a:defRPr>
            </a:lvl2pPr>
            <a:lvl3pPr>
              <a:defRPr b="0" i="0">
                <a:latin typeface="Lato" panose="020F0502020204030203" pitchFamily="34" charset="0"/>
                <a:ea typeface="Lato" panose="020F0502020204030203" pitchFamily="34" charset="0"/>
                <a:cs typeface="Lato" panose="020F0502020204030203" pitchFamily="34" charset="0"/>
              </a:defRPr>
            </a:lvl3pPr>
            <a:lvl4pPr>
              <a:defRPr b="0" i="0">
                <a:latin typeface="Lato" panose="020F0502020204030203" pitchFamily="34" charset="0"/>
                <a:ea typeface="Lato" panose="020F0502020204030203" pitchFamily="34" charset="0"/>
                <a:cs typeface="Lato" panose="020F0502020204030203" pitchFamily="34" charset="0"/>
              </a:defRPr>
            </a:lvl4pPr>
            <a:lvl5pPr>
              <a:defRPr b="0" i="0">
                <a:latin typeface="Lato" panose="020F0502020204030203" pitchFamily="34" charset="0"/>
                <a:ea typeface="Lato" panose="020F0502020204030203" pitchFamily="34" charset="0"/>
                <a:cs typeface="Lato"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353AD950-1BA7-AB69-9661-05F0542C086E}"/>
              </a:ext>
            </a:extLst>
          </p:cNvPr>
          <p:cNvSpPr>
            <a:spLocks noGrp="1"/>
          </p:cNvSpPr>
          <p:nvPr>
            <p:ph type="ctrTitle" hasCustomPrompt="1"/>
          </p:nvPr>
        </p:nvSpPr>
        <p:spPr>
          <a:xfrm>
            <a:off x="719137" y="502928"/>
            <a:ext cx="10753726" cy="1095375"/>
          </a:xfrm>
        </p:spPr>
        <p:txBody>
          <a:bodyPr anchor="b">
            <a:normAutofit/>
          </a:bodyPr>
          <a:lstStyle>
            <a:lvl1pPr algn="l">
              <a:defRPr sz="4000" b="1" i="1" cap="all" baseline="0">
                <a:solidFill>
                  <a:schemeClr val="tx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title</a:t>
            </a:r>
          </a:p>
        </p:txBody>
      </p:sp>
      <p:sp>
        <p:nvSpPr>
          <p:cNvPr id="4" name="Rectangle 3">
            <a:extLst>
              <a:ext uri="{FF2B5EF4-FFF2-40B4-BE49-F238E27FC236}">
                <a16:creationId xmlns:a16="http://schemas.microsoft.com/office/drawing/2014/main" id="{158A3726-16CE-10BD-E914-558DF995993B}"/>
              </a:ext>
            </a:extLst>
          </p:cNvPr>
          <p:cNvSpPr/>
          <p:nvPr userDrawn="1"/>
        </p:nvSpPr>
        <p:spPr>
          <a:xfrm>
            <a:off x="5561814" y="6577887"/>
            <a:ext cx="1112363" cy="124571"/>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5" name="Graphic 4">
            <a:extLst>
              <a:ext uri="{FF2B5EF4-FFF2-40B4-BE49-F238E27FC236}">
                <a16:creationId xmlns:a16="http://schemas.microsoft.com/office/drawing/2014/main" id="{FB9DAEEB-009E-6386-9A35-363E54AFC0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94334" y="6390981"/>
            <a:ext cx="2178529" cy="186906"/>
          </a:xfrm>
          <a:prstGeom prst="rect">
            <a:avLst/>
          </a:prstGeom>
        </p:spPr>
      </p:pic>
    </p:spTree>
    <p:extLst>
      <p:ext uri="{BB962C8B-B14F-4D97-AF65-F5344CB8AC3E}">
        <p14:creationId xmlns:p14="http://schemas.microsoft.com/office/powerpoint/2010/main" val="358854257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vision">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2E712C4-39C9-4742-B9E7-132A9A3AF5FE}"/>
              </a:ext>
            </a:extLst>
          </p:cNvPr>
          <p:cNvSpPr/>
          <p:nvPr userDrawn="1"/>
        </p:nvSpPr>
        <p:spPr>
          <a:xfrm>
            <a:off x="1" y="-9235"/>
            <a:ext cx="12193588" cy="68733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2" name="Text Placeholder 2">
            <a:extLst>
              <a:ext uri="{FF2B5EF4-FFF2-40B4-BE49-F238E27FC236}">
                <a16:creationId xmlns:a16="http://schemas.microsoft.com/office/drawing/2014/main" id="{1DE9F09B-71E5-AE4A-2310-DBCF69406CA6}"/>
              </a:ext>
            </a:extLst>
          </p:cNvPr>
          <p:cNvSpPr>
            <a:spLocks noGrp="1"/>
          </p:cNvSpPr>
          <p:nvPr>
            <p:ph type="body" sz="quarter" idx="10" hasCustomPrompt="1"/>
          </p:nvPr>
        </p:nvSpPr>
        <p:spPr>
          <a:xfrm>
            <a:off x="5791200" y="1619249"/>
            <a:ext cx="5928220" cy="3486151"/>
          </a:xfrm>
        </p:spPr>
        <p:txBody>
          <a:bodyPr anchor="ctr" anchorCtr="0"/>
          <a:lstStyle>
            <a:lvl1pPr marL="0" indent="0">
              <a:lnSpc>
                <a:spcPct val="100000"/>
              </a:lnSpc>
              <a:buNone/>
              <a:defRPr sz="4800" b="0" cap="none" baseline="0">
                <a:solidFill>
                  <a:srgbClr val="FEFEFE"/>
                </a:solidFill>
                <a:latin typeface="+mj-lt"/>
                <a:ea typeface="Lato Light" panose="020F0502020204030203" pitchFamily="34" charset="0"/>
                <a:cs typeface="Lato Light" panose="020F0502020204030203" pitchFamily="34" charset="0"/>
              </a:defRPr>
            </a:lvl1pPr>
            <a:lvl2pPr marL="685800" indent="-339725">
              <a:defRPr sz="3200">
                <a:solidFill>
                  <a:srgbClr val="FEFEFE"/>
                </a:solidFill>
                <a:latin typeface="+mn-lt"/>
                <a:ea typeface="Lato Light" panose="020F0502020204030203" pitchFamily="34" charset="0"/>
                <a:cs typeface="Lato Light" panose="020F0502020204030203" pitchFamily="34" charset="0"/>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US"/>
              <a:t>Click to edit master text styles</a:t>
            </a:r>
          </a:p>
        </p:txBody>
      </p:sp>
      <p:grpSp>
        <p:nvGrpSpPr>
          <p:cNvPr id="7" name="Group 6">
            <a:extLst>
              <a:ext uri="{FF2B5EF4-FFF2-40B4-BE49-F238E27FC236}">
                <a16:creationId xmlns:a16="http://schemas.microsoft.com/office/drawing/2014/main" id="{CD636556-8FF0-25F1-54FF-BB19E014DB01}"/>
              </a:ext>
            </a:extLst>
          </p:cNvPr>
          <p:cNvGrpSpPr/>
          <p:nvPr userDrawn="1"/>
        </p:nvGrpSpPr>
        <p:grpSpPr>
          <a:xfrm>
            <a:off x="10842866" y="6524864"/>
            <a:ext cx="867564" cy="238330"/>
            <a:chOff x="1855788" y="3378201"/>
            <a:chExt cx="3709987" cy="1019175"/>
          </a:xfrm>
          <a:solidFill>
            <a:schemeClr val="bg1"/>
          </a:solidFill>
        </p:grpSpPr>
        <p:sp>
          <p:nvSpPr>
            <p:cNvPr id="8" name="Freeform 5">
              <a:extLst>
                <a:ext uri="{FF2B5EF4-FFF2-40B4-BE49-F238E27FC236}">
                  <a16:creationId xmlns:a16="http://schemas.microsoft.com/office/drawing/2014/main" id="{F3C693B5-2998-7AF2-FE43-50E89DE4E303}"/>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9" name="Freeform 6">
              <a:extLst>
                <a:ext uri="{FF2B5EF4-FFF2-40B4-BE49-F238E27FC236}">
                  <a16:creationId xmlns:a16="http://schemas.microsoft.com/office/drawing/2014/main" id="{2F3F5235-DF4C-7B52-B372-993C2B7C81A7}"/>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7">
              <a:extLst>
                <a:ext uri="{FF2B5EF4-FFF2-40B4-BE49-F238E27FC236}">
                  <a16:creationId xmlns:a16="http://schemas.microsoft.com/office/drawing/2014/main" id="{7509AD04-7CB1-604D-B9EE-4B38665B4ABC}"/>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8">
              <a:extLst>
                <a:ext uri="{FF2B5EF4-FFF2-40B4-BE49-F238E27FC236}">
                  <a16:creationId xmlns:a16="http://schemas.microsoft.com/office/drawing/2014/main" id="{A9FE6A59-1E04-4EAC-DDA7-B26647035E88}"/>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2" name="Freeform 9">
              <a:extLst>
                <a:ext uri="{FF2B5EF4-FFF2-40B4-BE49-F238E27FC236}">
                  <a16:creationId xmlns:a16="http://schemas.microsoft.com/office/drawing/2014/main" id="{394A6309-4CEB-D05D-9F17-A527A94121AA}"/>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3" name="Freeform 10">
              <a:extLst>
                <a:ext uri="{FF2B5EF4-FFF2-40B4-BE49-F238E27FC236}">
                  <a16:creationId xmlns:a16="http://schemas.microsoft.com/office/drawing/2014/main" id="{09363045-3170-E3C8-008B-C45398C82E4A}"/>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4" name="Freeform 11">
              <a:extLst>
                <a:ext uri="{FF2B5EF4-FFF2-40B4-BE49-F238E27FC236}">
                  <a16:creationId xmlns:a16="http://schemas.microsoft.com/office/drawing/2014/main" id="{95048948-5D63-2C20-1FC9-B3F8A1CB34B5}"/>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5" name="Freeform 12">
              <a:extLst>
                <a:ext uri="{FF2B5EF4-FFF2-40B4-BE49-F238E27FC236}">
                  <a16:creationId xmlns:a16="http://schemas.microsoft.com/office/drawing/2014/main" id="{AC4C1BBB-F17F-C189-D02F-397BC32D714F}"/>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13">
              <a:extLst>
                <a:ext uri="{FF2B5EF4-FFF2-40B4-BE49-F238E27FC236}">
                  <a16:creationId xmlns:a16="http://schemas.microsoft.com/office/drawing/2014/main" id="{01E85D35-8209-17F4-C448-90D62E613648}"/>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7" name="Freeform 14">
              <a:extLst>
                <a:ext uri="{FF2B5EF4-FFF2-40B4-BE49-F238E27FC236}">
                  <a16:creationId xmlns:a16="http://schemas.microsoft.com/office/drawing/2014/main" id="{C7F2F7ED-5DA8-52D0-03DF-11BA08136E19}"/>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8" name="Freeform 15">
              <a:extLst>
                <a:ext uri="{FF2B5EF4-FFF2-40B4-BE49-F238E27FC236}">
                  <a16:creationId xmlns:a16="http://schemas.microsoft.com/office/drawing/2014/main" id="{E83A000B-438A-C995-B5E1-D83221915EC5}"/>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9" name="Rectangle 16">
              <a:extLst>
                <a:ext uri="{FF2B5EF4-FFF2-40B4-BE49-F238E27FC236}">
                  <a16:creationId xmlns:a16="http://schemas.microsoft.com/office/drawing/2014/main" id="{B50794EC-BDEF-8CE6-6EA4-05BB9E646ED3}"/>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0" name="Freeform 17">
              <a:extLst>
                <a:ext uri="{FF2B5EF4-FFF2-40B4-BE49-F238E27FC236}">
                  <a16:creationId xmlns:a16="http://schemas.microsoft.com/office/drawing/2014/main" id="{E9F4BF39-D485-3BF9-688E-6DF1BD19F520}"/>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1" name="Freeform 18">
              <a:extLst>
                <a:ext uri="{FF2B5EF4-FFF2-40B4-BE49-F238E27FC236}">
                  <a16:creationId xmlns:a16="http://schemas.microsoft.com/office/drawing/2014/main" id="{2A55AA5D-D58A-AECA-1F53-172B130C69D5}"/>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2" name="Freeform 19">
              <a:extLst>
                <a:ext uri="{FF2B5EF4-FFF2-40B4-BE49-F238E27FC236}">
                  <a16:creationId xmlns:a16="http://schemas.microsoft.com/office/drawing/2014/main" id="{D039CDF6-59F2-9D26-F16E-AC619A050AC0}"/>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3" name="Freeform 20">
              <a:extLst>
                <a:ext uri="{FF2B5EF4-FFF2-40B4-BE49-F238E27FC236}">
                  <a16:creationId xmlns:a16="http://schemas.microsoft.com/office/drawing/2014/main" id="{6B580AC7-971C-FAC3-A136-E20F8002A565}"/>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21">
              <a:extLst>
                <a:ext uri="{FF2B5EF4-FFF2-40B4-BE49-F238E27FC236}">
                  <a16:creationId xmlns:a16="http://schemas.microsoft.com/office/drawing/2014/main" id="{0D9AC722-491E-6A32-AACD-8BA81A3290D8}"/>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pic>
        <p:nvPicPr>
          <p:cNvPr id="3" name="Picture 2">
            <a:extLst>
              <a:ext uri="{FF2B5EF4-FFF2-40B4-BE49-F238E27FC236}">
                <a16:creationId xmlns:a16="http://schemas.microsoft.com/office/drawing/2014/main" id="{D572FFA5-CA63-15B2-2AE1-7540DB43EC11}"/>
              </a:ext>
            </a:extLst>
          </p:cNvPr>
          <p:cNvPicPr>
            <a:picLocks noChangeAspect="1"/>
          </p:cNvPicPr>
          <p:nvPr userDrawn="1"/>
        </p:nvPicPr>
        <p:blipFill rotWithShape="1">
          <a:blip r:embed="rId2"/>
          <a:srcRect l="13276" r="1244" b="20925"/>
          <a:stretch/>
        </p:blipFill>
        <p:spPr>
          <a:xfrm>
            <a:off x="0" y="2309018"/>
            <a:ext cx="5116286" cy="4548982"/>
          </a:xfrm>
          <a:prstGeom prst="rect">
            <a:avLst/>
          </a:prstGeom>
          <a:effectLst/>
        </p:spPr>
      </p:pic>
    </p:spTree>
    <p:extLst>
      <p:ext uri="{BB962C8B-B14F-4D97-AF65-F5344CB8AC3E}">
        <p14:creationId xmlns:p14="http://schemas.microsoft.com/office/powerpoint/2010/main" val="281928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image" Target="../media/image17.sv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1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image" Target="../media/image70.sv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69.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69BD9F-EB35-416C-A36A-048D2DFEC1B5}"/>
              </a:ext>
            </a:extLst>
          </p:cNvPr>
          <p:cNvSpPr>
            <a:spLocks noGrp="1"/>
          </p:cNvSpPr>
          <p:nvPr>
            <p:ph type="title"/>
          </p:nvPr>
        </p:nvSpPr>
        <p:spPr>
          <a:xfrm>
            <a:off x="604011" y="115057"/>
            <a:ext cx="11277178" cy="1108180"/>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EC8B1A5-CCD1-4F18-B737-A7EC38F8DC8D}"/>
              </a:ext>
            </a:extLst>
          </p:cNvPr>
          <p:cNvSpPr>
            <a:spLocks noGrp="1"/>
          </p:cNvSpPr>
          <p:nvPr>
            <p:ph type="body" idx="1"/>
          </p:nvPr>
        </p:nvSpPr>
        <p:spPr>
          <a:xfrm>
            <a:off x="606391" y="1450975"/>
            <a:ext cx="11274753" cy="28389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53A26C65-5E9D-4B0D-AC12-4EBEC46EDCDE}"/>
              </a:ext>
            </a:extLst>
          </p:cNvPr>
          <p:cNvSpPr txBox="1"/>
          <p:nvPr/>
        </p:nvSpPr>
        <p:spPr>
          <a:xfrm>
            <a:off x="603497" y="6695171"/>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sp>
        <p:nvSpPr>
          <p:cNvPr id="4" name="TextBox 3">
            <a:extLst>
              <a:ext uri="{FF2B5EF4-FFF2-40B4-BE49-F238E27FC236}">
                <a16:creationId xmlns:a16="http://schemas.microsoft.com/office/drawing/2014/main" id="{CC67ABBA-0ACE-80CA-0C7D-8822B8B66E4C}"/>
              </a:ext>
            </a:extLst>
          </p:cNvPr>
          <p:cNvSpPr txBox="1"/>
          <p:nvPr>
            <p:extLst>
              <p:ext uri="{1162E1C5-73C7-4A58-AE30-91384D911F3F}">
                <p184:classification xmlns:p184="http://schemas.microsoft.com/office/powerpoint/2018/4/main" val="ftr"/>
              </p:ext>
            </p:extLst>
          </p:nvPr>
        </p:nvSpPr>
        <p:spPr>
          <a:xfrm>
            <a:off x="5627688" y="6699618"/>
            <a:ext cx="957262" cy="106680"/>
          </a:xfrm>
          <a:prstGeom prst="rect">
            <a:avLst/>
          </a:prstGeom>
        </p:spPr>
        <p:txBody>
          <a:bodyPr horzOverflow="overflow" lIns="0" tIns="0" rIns="0" bIns="0">
            <a:spAutoFit/>
          </a:bodyPr>
          <a:lstStyle/>
          <a:p>
            <a:pPr algn="l"/>
            <a:r>
              <a:rPr lang="en-US" sz="700">
                <a:solidFill>
                  <a:schemeClr val="tx1"/>
                </a:solidFill>
                <a:latin typeface="Calibri" panose="020F0502020204030204" pitchFamily="34" charset="0"/>
                <a:cs typeface="Calibri" panose="020F0502020204030204" pitchFamily="34" charset="0"/>
              </a:rPr>
              <a:t>Juniper Business Use Only</a:t>
            </a:r>
          </a:p>
        </p:txBody>
      </p:sp>
      <p:pic>
        <p:nvPicPr>
          <p:cNvPr id="5" name="Graphic 4">
            <a:extLst>
              <a:ext uri="{FF2B5EF4-FFF2-40B4-BE49-F238E27FC236}">
                <a16:creationId xmlns:a16="http://schemas.microsoft.com/office/drawing/2014/main" id="{65C03236-0B7B-C2BE-042D-1CDD64C47F2F}"/>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10810372" y="6463201"/>
            <a:ext cx="991372" cy="300537"/>
          </a:xfrm>
          <a:prstGeom prst="rect">
            <a:avLst/>
          </a:prstGeom>
        </p:spPr>
      </p:pic>
    </p:spTree>
    <p:extLst>
      <p:ext uri="{BB962C8B-B14F-4D97-AF65-F5344CB8AC3E}">
        <p14:creationId xmlns:p14="http://schemas.microsoft.com/office/powerpoint/2010/main" val="4007574616"/>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3" r:id="rId13"/>
    <p:sldLayoutId id="2147483904" r:id="rId14"/>
    <p:sldLayoutId id="2147483905" r:id="rId15"/>
    <p:sldLayoutId id="2147483906" r:id="rId16"/>
    <p:sldLayoutId id="2147483907" r:id="rId17"/>
    <p:sldLayoutId id="2147483908" r:id="rId18"/>
    <p:sldLayoutId id="2147483910" r:id="rId19"/>
    <p:sldLayoutId id="2147483911" r:id="rId20"/>
    <p:sldLayoutId id="2147483912" r:id="rId21"/>
    <p:sldLayoutId id="2147483913" r:id="rId22"/>
    <p:sldLayoutId id="2147483914" r:id="rId23"/>
    <p:sldLayoutId id="2147483946"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5000"/>
        </a:lnSpc>
        <a:spcBef>
          <a:spcPct val="0"/>
        </a:spcBef>
        <a:buNone/>
        <a:defRPr sz="4000" b="1" kern="1200" cap="none" baseline="0">
          <a:solidFill>
            <a:schemeClr val="tx1"/>
          </a:solidFill>
          <a:latin typeface="+mj-lt"/>
          <a:ea typeface="Lato Light" panose="020F0302020204030203" pitchFamily="34" charset="0"/>
          <a:cs typeface="Lato Light" panose="020F0302020204030203" pitchFamily="34" charset="0"/>
        </a:defRPr>
      </a:lvl1pPr>
    </p:titleStyle>
    <p:bodyStyle>
      <a:lvl1pPr marL="173038" indent="-173038" algn="l" defTabSz="914377" rtl="0" eaLnBrk="1" latinLnBrk="0" hangingPunct="1">
        <a:lnSpc>
          <a:spcPct val="110000"/>
        </a:lnSpc>
        <a:spcBef>
          <a:spcPts val="1600"/>
        </a:spcBef>
        <a:buFont typeface="Arial" panose="020B0604020202020204" pitchFamily="34" charset="0"/>
        <a:buChar char="•"/>
        <a:defRPr sz="1800" kern="1200">
          <a:solidFill>
            <a:schemeClr val="tx1"/>
          </a:solidFill>
          <a:latin typeface="+mn-lt"/>
          <a:ea typeface="+mn-ea"/>
          <a:cs typeface="+mn-cs"/>
        </a:defRPr>
      </a:lvl1pPr>
      <a:lvl2pPr marL="574675" indent="-228600" algn="l" defTabSz="914377" rtl="0" eaLnBrk="1" latinLnBrk="0" hangingPunct="1">
        <a:lnSpc>
          <a:spcPct val="95000"/>
        </a:lnSpc>
        <a:spcBef>
          <a:spcPts val="500"/>
        </a:spcBef>
        <a:buFont typeface="Lato" panose="020F0502020204030203"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orient="horz" pos="4320">
          <p15:clr>
            <a:srgbClr val="F26B43"/>
          </p15:clr>
        </p15:guide>
        <p15:guide id="3" pos="7680">
          <p15:clr>
            <a:srgbClr val="F26B43"/>
          </p15:clr>
        </p15:guide>
        <p15:guide id="4" orient="horz">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7740587-8E63-4DFE-9AF5-EE9B927E84A9}"/>
              </a:ext>
            </a:extLst>
          </p:cNvPr>
          <p:cNvSpPr/>
          <p:nvPr/>
        </p:nvSpPr>
        <p:spPr>
          <a:xfrm>
            <a:off x="0" y="0"/>
            <a:ext cx="12192000" cy="108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900" tIns="60951" rIns="121900" bIns="60951" rtlCol="0" anchor="ctr"/>
          <a:lstStyle/>
          <a:p>
            <a:pPr algn="ctr"/>
            <a:endParaRPr lang="en-US" sz="1867">
              <a:latin typeface="Arial"/>
              <a:cs typeface="Arial"/>
            </a:endParaRPr>
          </a:p>
        </p:txBody>
      </p:sp>
      <p:sp>
        <p:nvSpPr>
          <p:cNvPr id="2" name="Title Placeholder 1">
            <a:extLst>
              <a:ext uri="{FF2B5EF4-FFF2-40B4-BE49-F238E27FC236}">
                <a16:creationId xmlns:a16="http://schemas.microsoft.com/office/drawing/2014/main" id="{CD69BD9F-EB35-416C-A36A-048D2DFEC1B5}"/>
              </a:ext>
            </a:extLst>
          </p:cNvPr>
          <p:cNvSpPr>
            <a:spLocks noGrp="1"/>
          </p:cNvSpPr>
          <p:nvPr>
            <p:ph type="title"/>
          </p:nvPr>
        </p:nvSpPr>
        <p:spPr>
          <a:xfrm>
            <a:off x="604011" y="125771"/>
            <a:ext cx="11071242" cy="1064051"/>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EC8B1A5-CCD1-4F18-B737-A7EC38F8DC8D}"/>
              </a:ext>
            </a:extLst>
          </p:cNvPr>
          <p:cNvSpPr>
            <a:spLocks noGrp="1"/>
          </p:cNvSpPr>
          <p:nvPr>
            <p:ph type="body" idx="1"/>
          </p:nvPr>
        </p:nvSpPr>
        <p:spPr>
          <a:xfrm>
            <a:off x="606391" y="1450975"/>
            <a:ext cx="11068861" cy="28389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53A26C65-5E9D-4B0D-AC12-4EBEC46EDCDE}"/>
              </a:ext>
            </a:extLst>
          </p:cNvPr>
          <p:cNvSpPr txBox="1"/>
          <p:nvPr/>
        </p:nvSpPr>
        <p:spPr>
          <a:xfrm>
            <a:off x="603497" y="6670004"/>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3 Juniper Networks</a:t>
            </a:r>
          </a:p>
        </p:txBody>
      </p:sp>
      <p:sp>
        <p:nvSpPr>
          <p:cNvPr id="4" name="MSIPCMContentMarking" descr="{&quot;HashCode&quot;:-290306243,&quot;Placement&quot;:&quot;Footer&quot;,&quot;Top&quot;:523.380066,&quot;Left&quot;:442.3952,&quot;SlideWidth&quot;:960,&quot;SlideHeight&quot;:540}">
            <a:extLst>
              <a:ext uri="{FF2B5EF4-FFF2-40B4-BE49-F238E27FC236}">
                <a16:creationId xmlns:a16="http://schemas.microsoft.com/office/drawing/2014/main" id="{CC67ABBA-0ACE-80CA-0C7D-8822B8B66E4C}"/>
              </a:ext>
            </a:extLst>
          </p:cNvPr>
          <p:cNvSpPr txBox="1"/>
          <p:nvPr userDrawn="1"/>
        </p:nvSpPr>
        <p:spPr>
          <a:xfrm>
            <a:off x="5618419" y="6646927"/>
            <a:ext cx="955162" cy="211073"/>
          </a:xfrm>
          <a:prstGeom prst="rect">
            <a:avLst/>
          </a:prstGeom>
          <a:noFill/>
        </p:spPr>
        <p:txBody>
          <a:bodyPr vert="horz" wrap="square" lIns="0" tIns="0" rIns="0" bIns="0" rtlCol="0" anchor="ctr" anchorCtr="1">
            <a:spAutoFit/>
          </a:bodyPr>
          <a:lstStyle/>
          <a:p>
            <a:pPr algn="ctr">
              <a:spcBef>
                <a:spcPts val="0"/>
              </a:spcBef>
              <a:spcAft>
                <a:spcPts val="0"/>
              </a:spcAft>
            </a:pPr>
            <a:r>
              <a:rPr lang="en-US" sz="700">
                <a:solidFill>
                  <a:srgbClr val="000000"/>
                </a:solidFill>
                <a:latin typeface="Calibri" panose="020F0502020204030204" pitchFamily="34" charset="0"/>
              </a:rPr>
              <a:t>Juniper Confidential</a:t>
            </a:r>
          </a:p>
        </p:txBody>
      </p:sp>
      <p:pic>
        <p:nvPicPr>
          <p:cNvPr id="6" name="Graphic 5">
            <a:extLst>
              <a:ext uri="{FF2B5EF4-FFF2-40B4-BE49-F238E27FC236}">
                <a16:creationId xmlns:a16="http://schemas.microsoft.com/office/drawing/2014/main" id="{ACDB7E99-9183-5C08-2049-3493A56FB958}"/>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10902999" y="6478922"/>
            <a:ext cx="961698" cy="254782"/>
          </a:xfrm>
          <a:prstGeom prst="rect">
            <a:avLst/>
          </a:prstGeom>
        </p:spPr>
      </p:pic>
    </p:spTree>
    <p:extLst>
      <p:ext uri="{BB962C8B-B14F-4D97-AF65-F5344CB8AC3E}">
        <p14:creationId xmlns:p14="http://schemas.microsoft.com/office/powerpoint/2010/main" val="1444101171"/>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8" r:id="rId22"/>
    <p:sldLayoutId id="2147483939" r:id="rId23"/>
    <p:sldLayoutId id="2147483940" r:id="rId24"/>
    <p:sldLayoutId id="2147483941" r:id="rId25"/>
    <p:sldLayoutId id="2147483942" r:id="rId26"/>
    <p:sldLayoutId id="2147483943" r:id="rId27"/>
    <p:sldLayoutId id="2147483944" r:id="rId28"/>
    <p:sldLayoutId id="2147483945" r:id="rId29"/>
  </p:sldLayoutIdLst>
  <p:transition>
    <p:fade/>
  </p:transition>
  <p:txStyles>
    <p:titleStyle>
      <a:lvl1pPr algn="l" defTabSz="914377" rtl="0" eaLnBrk="1" latinLnBrk="0" hangingPunct="1">
        <a:lnSpc>
          <a:spcPct val="90000"/>
        </a:lnSpc>
        <a:spcBef>
          <a:spcPct val="0"/>
        </a:spcBef>
        <a:buNone/>
        <a:defRPr sz="4000" b="1" kern="1200" cap="none" baseline="0">
          <a:solidFill>
            <a:schemeClr val="tx1"/>
          </a:solidFill>
          <a:latin typeface="+mn-lt"/>
          <a:ea typeface="Lato Light" panose="020F0302020204030203" pitchFamily="34" charset="0"/>
          <a:cs typeface="Lato Light" panose="020F0302020204030203" pitchFamily="34" charset="0"/>
        </a:defRPr>
      </a:lvl1pPr>
    </p:titleStyle>
    <p:bodyStyle>
      <a:lvl1pPr marL="173038" indent="-173038" algn="l" defTabSz="914377" rtl="0" eaLnBrk="1" latinLnBrk="0" hangingPunct="1">
        <a:lnSpc>
          <a:spcPct val="110000"/>
        </a:lnSpc>
        <a:spcBef>
          <a:spcPts val="1600"/>
        </a:spcBef>
        <a:buFont typeface="Arial" panose="020B0604020202020204" pitchFamily="34" charset="0"/>
        <a:buChar char="•"/>
        <a:defRPr sz="1800" kern="1200">
          <a:solidFill>
            <a:schemeClr val="tx1"/>
          </a:solidFill>
          <a:latin typeface="+mn-lt"/>
          <a:ea typeface="+mn-ea"/>
          <a:cs typeface="+mn-cs"/>
        </a:defRPr>
      </a:lvl1pPr>
      <a:lvl2pPr marL="574675" indent="-228600" algn="l" defTabSz="914377" rtl="0" eaLnBrk="1" latinLnBrk="0" hangingPunct="1">
        <a:lnSpc>
          <a:spcPct val="95000"/>
        </a:lnSpc>
        <a:spcBef>
          <a:spcPts val="500"/>
        </a:spcBef>
        <a:buFont typeface="Lato" panose="020F0502020204030203"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15:clr>
            <a:srgbClr val="F26B43"/>
          </p15:clr>
        </p15:guide>
        <p15:guide id="6">
          <p15:clr>
            <a:srgbClr val="F26B43"/>
          </p15:clr>
        </p15:guide>
        <p15:guide id="7" pos="7680">
          <p15:clr>
            <a:srgbClr val="F26B43"/>
          </p15:clr>
        </p15:guide>
        <p15:guide id="10" orient="horz" pos="43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7A0F645-1EEC-057A-4984-33C0B6418301}"/>
              </a:ext>
            </a:extLst>
          </p:cNvPr>
          <p:cNvSpPr txBox="1"/>
          <p:nvPr userDrawn="1">
            <p:extLst>
              <p:ext uri="{1162E1C5-73C7-4A58-AE30-91384D911F3F}">
                <p184:classification xmlns:p184="http://schemas.microsoft.com/office/powerpoint/2018/4/main" val="ftr"/>
              </p:ext>
            </p:extLst>
          </p:nvPr>
        </p:nvSpPr>
        <p:spPr>
          <a:xfrm>
            <a:off x="5783792" y="6659881"/>
            <a:ext cx="638175" cy="71879"/>
          </a:xfrm>
          <a:prstGeom prst="rect">
            <a:avLst/>
          </a:prstGeom>
        </p:spPr>
        <p:txBody>
          <a:bodyPr horzOverflow="overflow" lIns="0" tIns="0" rIns="0" bIns="0">
            <a:spAutoFit/>
          </a:bodyPr>
          <a:lstStyle/>
          <a:p>
            <a:pPr algn="l"/>
            <a:r>
              <a:rPr lang="en-US" sz="467">
                <a:solidFill>
                  <a:srgbClr val="000000"/>
                </a:solidFill>
                <a:latin typeface="Calibri" panose="020F0502020204030204" pitchFamily="34" charset="0"/>
                <a:cs typeface="Calibri" panose="020F0502020204030204" pitchFamily="34" charset="0"/>
              </a:rPr>
              <a:t>Juniper Business Use Only</a:t>
            </a:r>
          </a:p>
        </p:txBody>
      </p:sp>
    </p:spTree>
    <p:extLst>
      <p:ext uri="{BB962C8B-B14F-4D97-AF65-F5344CB8AC3E}">
        <p14:creationId xmlns:p14="http://schemas.microsoft.com/office/powerpoint/2010/main" val="2201149575"/>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69BD9F-EB35-416C-A36A-048D2DFEC1B5}"/>
              </a:ext>
            </a:extLst>
          </p:cNvPr>
          <p:cNvSpPr>
            <a:spLocks noGrp="1"/>
          </p:cNvSpPr>
          <p:nvPr>
            <p:ph type="title"/>
          </p:nvPr>
        </p:nvSpPr>
        <p:spPr>
          <a:xfrm>
            <a:off x="604011" y="60972"/>
            <a:ext cx="11071242" cy="950706"/>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EC8B1A5-CCD1-4F18-B737-A7EC38F8DC8D}"/>
              </a:ext>
            </a:extLst>
          </p:cNvPr>
          <p:cNvSpPr>
            <a:spLocks noGrp="1"/>
          </p:cNvSpPr>
          <p:nvPr>
            <p:ph type="body" idx="1"/>
          </p:nvPr>
        </p:nvSpPr>
        <p:spPr>
          <a:xfrm>
            <a:off x="606391" y="1450975"/>
            <a:ext cx="11068861" cy="28389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53A26C65-5E9D-4B0D-AC12-4EBEC46EDCDE}"/>
              </a:ext>
            </a:extLst>
          </p:cNvPr>
          <p:cNvSpPr txBox="1"/>
          <p:nvPr/>
        </p:nvSpPr>
        <p:spPr>
          <a:xfrm>
            <a:off x="1503149" y="6704646"/>
            <a:ext cx="1080759" cy="83100"/>
          </a:xfrm>
          <a:prstGeom prst="rect">
            <a:avLst/>
          </a:prstGeom>
          <a:ln>
            <a:noFill/>
          </a:ln>
        </p:spPr>
        <p:txBody>
          <a:bodyPr wrap="square" lIns="0" tIns="0" rIns="0" bIns="0" rtlCol="0">
            <a:spAutoFit/>
          </a:bodyPr>
          <a:lstStyle/>
          <a:p>
            <a:pPr algn="l">
              <a:lnSpc>
                <a:spcPct val="90000"/>
              </a:lnSpc>
            </a:pPr>
            <a:r>
              <a:rPr lang="en-US" sz="600" kern="1200">
                <a:solidFill>
                  <a:schemeClr val="tx1"/>
                </a:solidFill>
                <a:latin typeface="+mn-lt"/>
                <a:ea typeface="+mn-ea"/>
                <a:cs typeface="Calibri" panose="020F0502020204030204" pitchFamily="34" charset="0"/>
              </a:rPr>
              <a:t>© 2024 Juniper Networks</a:t>
            </a:r>
          </a:p>
        </p:txBody>
      </p:sp>
      <p:sp>
        <p:nvSpPr>
          <p:cNvPr id="4" name="TextBox 3">
            <a:extLst>
              <a:ext uri="{FF2B5EF4-FFF2-40B4-BE49-F238E27FC236}">
                <a16:creationId xmlns:a16="http://schemas.microsoft.com/office/drawing/2014/main" id="{CC67ABBA-0ACE-80CA-0C7D-8822B8B66E4C}"/>
              </a:ext>
            </a:extLst>
          </p:cNvPr>
          <p:cNvSpPr txBox="1"/>
          <p:nvPr>
            <p:extLst>
              <p:ext uri="{1162E1C5-73C7-4A58-AE30-91384D911F3F}">
                <p184:classification xmlns:p184="http://schemas.microsoft.com/office/powerpoint/2018/4/main" val="ftr"/>
              </p:ext>
            </p:extLst>
          </p:nvPr>
        </p:nvSpPr>
        <p:spPr>
          <a:xfrm>
            <a:off x="5734050" y="6663766"/>
            <a:ext cx="744538" cy="106680"/>
          </a:xfrm>
          <a:prstGeom prst="rect">
            <a:avLst/>
          </a:prstGeom>
        </p:spPr>
        <p:txBody>
          <a:bodyPr horzOverflow="overflow" lIns="0" tIns="0" rIns="0" bIns="0">
            <a:spAutoFit/>
          </a:bodyPr>
          <a:lstStyle/>
          <a:p>
            <a:pPr algn="l"/>
            <a:r>
              <a:rPr lang="en-US" sz="700">
                <a:solidFill>
                  <a:srgbClr val="000000"/>
                </a:solidFill>
                <a:latin typeface="Calibri" panose="020F0502020204030204" pitchFamily="34" charset="0"/>
                <a:cs typeface="Calibri" panose="020F0502020204030204" pitchFamily="34" charset="0"/>
              </a:rPr>
              <a:t>Juniper Confidential</a:t>
            </a:r>
          </a:p>
        </p:txBody>
      </p:sp>
      <p:sp>
        <p:nvSpPr>
          <p:cNvPr id="12" name="TextBox 11">
            <a:extLst>
              <a:ext uri="{FF2B5EF4-FFF2-40B4-BE49-F238E27FC236}">
                <a16:creationId xmlns:a16="http://schemas.microsoft.com/office/drawing/2014/main" id="{8B140634-3F22-D4D7-27C9-B9ADD384A2D5}"/>
              </a:ext>
            </a:extLst>
          </p:cNvPr>
          <p:cNvSpPr txBox="1"/>
          <p:nvPr userDrawn="1"/>
        </p:nvSpPr>
        <p:spPr>
          <a:xfrm>
            <a:off x="242226" y="6697527"/>
            <a:ext cx="914400" cy="923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600" b="0">
                <a:solidFill>
                  <a:schemeClr val="tx1"/>
                </a:solidFill>
                <a:latin typeface="Lato" panose="020F0502020204030203" pitchFamily="34" charset="77"/>
                <a:cs typeface="Calibri" panose="020F0502020204030204" pitchFamily="34" charset="0"/>
              </a:rPr>
              <a:t>#MFD11 and #MistAI</a:t>
            </a:r>
            <a:endParaRPr lang="en-US" sz="600" b="0">
              <a:solidFill>
                <a:schemeClr val="tx1"/>
              </a:solidFill>
              <a:latin typeface="Lato" panose="020F0502020204030203" pitchFamily="34" charset="77"/>
            </a:endParaRPr>
          </a:p>
        </p:txBody>
      </p:sp>
      <p:grpSp>
        <p:nvGrpSpPr>
          <p:cNvPr id="57" name="Group 56">
            <a:extLst>
              <a:ext uri="{FF2B5EF4-FFF2-40B4-BE49-F238E27FC236}">
                <a16:creationId xmlns:a16="http://schemas.microsoft.com/office/drawing/2014/main" id="{81520E41-D83D-C93F-D83C-183A60259F63}"/>
              </a:ext>
            </a:extLst>
          </p:cNvPr>
          <p:cNvGrpSpPr/>
          <p:nvPr userDrawn="1"/>
        </p:nvGrpSpPr>
        <p:grpSpPr>
          <a:xfrm>
            <a:off x="10839577" y="6517487"/>
            <a:ext cx="1025099" cy="217190"/>
            <a:chOff x="10839577" y="6517487"/>
            <a:chExt cx="1025099" cy="217190"/>
          </a:xfrm>
        </p:grpSpPr>
        <p:grpSp>
          <p:nvGrpSpPr>
            <p:cNvPr id="18" name="Group 17">
              <a:extLst>
                <a:ext uri="{FF2B5EF4-FFF2-40B4-BE49-F238E27FC236}">
                  <a16:creationId xmlns:a16="http://schemas.microsoft.com/office/drawing/2014/main" id="{1F63D106-9C81-2C7A-6848-21DCB8EFB3B3}"/>
                </a:ext>
              </a:extLst>
            </p:cNvPr>
            <p:cNvGrpSpPr/>
            <p:nvPr userDrawn="1"/>
          </p:nvGrpSpPr>
          <p:grpSpPr>
            <a:xfrm>
              <a:off x="10839577" y="6559676"/>
              <a:ext cx="596870" cy="163968"/>
              <a:chOff x="1855788" y="3378201"/>
              <a:chExt cx="3709987" cy="1019175"/>
            </a:xfrm>
            <a:solidFill>
              <a:schemeClr val="tx1"/>
            </a:solidFill>
          </p:grpSpPr>
          <p:sp>
            <p:nvSpPr>
              <p:cNvPr id="21" name="Freeform 5">
                <a:extLst>
                  <a:ext uri="{FF2B5EF4-FFF2-40B4-BE49-F238E27FC236}">
                    <a16:creationId xmlns:a16="http://schemas.microsoft.com/office/drawing/2014/main" id="{0660189D-87FC-0889-538C-849E7801821F}"/>
                  </a:ext>
                </a:extLst>
              </p:cNvPr>
              <p:cNvSpPr>
                <a:spLocks/>
              </p:cNvSpPr>
              <p:nvPr/>
            </p:nvSpPr>
            <p:spPr bwMode="auto">
              <a:xfrm>
                <a:off x="3676650" y="4197351"/>
                <a:ext cx="160337" cy="196850"/>
              </a:xfrm>
              <a:custGeom>
                <a:avLst/>
                <a:gdLst>
                  <a:gd name="T0" fmla="*/ 0 w 101"/>
                  <a:gd name="T1" fmla="*/ 0 h 124"/>
                  <a:gd name="T2" fmla="*/ 13 w 101"/>
                  <a:gd name="T3" fmla="*/ 0 h 124"/>
                  <a:gd name="T4" fmla="*/ 87 w 101"/>
                  <a:gd name="T5" fmla="*/ 101 h 124"/>
                  <a:gd name="T6" fmla="*/ 87 w 101"/>
                  <a:gd name="T7" fmla="*/ 0 h 124"/>
                  <a:gd name="T8" fmla="*/ 101 w 101"/>
                  <a:gd name="T9" fmla="*/ 0 h 124"/>
                  <a:gd name="T10" fmla="*/ 101 w 101"/>
                  <a:gd name="T11" fmla="*/ 124 h 124"/>
                  <a:gd name="T12" fmla="*/ 89 w 101"/>
                  <a:gd name="T13" fmla="*/ 124 h 124"/>
                  <a:gd name="T14" fmla="*/ 12 w 101"/>
                  <a:gd name="T15" fmla="*/ 18 h 124"/>
                  <a:gd name="T16" fmla="*/ 12 w 101"/>
                  <a:gd name="T17" fmla="*/ 124 h 124"/>
                  <a:gd name="T18" fmla="*/ 0 w 101"/>
                  <a:gd name="T19" fmla="*/ 124 h 124"/>
                  <a:gd name="T20" fmla="*/ 0 w 101"/>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24">
                    <a:moveTo>
                      <a:pt x="0" y="0"/>
                    </a:moveTo>
                    <a:lnTo>
                      <a:pt x="13" y="0"/>
                    </a:lnTo>
                    <a:lnTo>
                      <a:pt x="87" y="101"/>
                    </a:lnTo>
                    <a:lnTo>
                      <a:pt x="87" y="0"/>
                    </a:lnTo>
                    <a:lnTo>
                      <a:pt x="101" y="0"/>
                    </a:lnTo>
                    <a:lnTo>
                      <a:pt x="101" y="124"/>
                    </a:lnTo>
                    <a:lnTo>
                      <a:pt x="89" y="124"/>
                    </a:lnTo>
                    <a:lnTo>
                      <a:pt x="12" y="18"/>
                    </a:lnTo>
                    <a:lnTo>
                      <a:pt x="1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2" name="Freeform 6">
                <a:extLst>
                  <a:ext uri="{FF2B5EF4-FFF2-40B4-BE49-F238E27FC236}">
                    <a16:creationId xmlns:a16="http://schemas.microsoft.com/office/drawing/2014/main" id="{95B97982-9766-82DD-17CA-F4719C1FDCB9}"/>
                  </a:ext>
                </a:extLst>
              </p:cNvPr>
              <p:cNvSpPr>
                <a:spLocks/>
              </p:cNvSpPr>
              <p:nvPr/>
            </p:nvSpPr>
            <p:spPr bwMode="auto">
              <a:xfrm>
                <a:off x="3886200" y="4197351"/>
                <a:ext cx="130175" cy="196850"/>
              </a:xfrm>
              <a:custGeom>
                <a:avLst/>
                <a:gdLst>
                  <a:gd name="T0" fmla="*/ 0 w 82"/>
                  <a:gd name="T1" fmla="*/ 0 h 124"/>
                  <a:gd name="T2" fmla="*/ 82 w 82"/>
                  <a:gd name="T3" fmla="*/ 0 h 124"/>
                  <a:gd name="T4" fmla="*/ 82 w 82"/>
                  <a:gd name="T5" fmla="*/ 12 h 124"/>
                  <a:gd name="T6" fmla="*/ 13 w 82"/>
                  <a:gd name="T7" fmla="*/ 12 h 124"/>
                  <a:gd name="T8" fmla="*/ 13 w 82"/>
                  <a:gd name="T9" fmla="*/ 53 h 124"/>
                  <a:gd name="T10" fmla="*/ 80 w 82"/>
                  <a:gd name="T11" fmla="*/ 53 h 124"/>
                  <a:gd name="T12" fmla="*/ 80 w 82"/>
                  <a:gd name="T13" fmla="*/ 65 h 124"/>
                  <a:gd name="T14" fmla="*/ 13 w 82"/>
                  <a:gd name="T15" fmla="*/ 65 h 124"/>
                  <a:gd name="T16" fmla="*/ 13 w 82"/>
                  <a:gd name="T17" fmla="*/ 112 h 124"/>
                  <a:gd name="T18" fmla="*/ 82 w 82"/>
                  <a:gd name="T19" fmla="*/ 112 h 124"/>
                  <a:gd name="T20" fmla="*/ 82 w 82"/>
                  <a:gd name="T21" fmla="*/ 124 h 124"/>
                  <a:gd name="T22" fmla="*/ 0 w 82"/>
                  <a:gd name="T23" fmla="*/ 124 h 124"/>
                  <a:gd name="T24" fmla="*/ 0 w 82"/>
                  <a:gd name="T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4">
                    <a:moveTo>
                      <a:pt x="0" y="0"/>
                    </a:moveTo>
                    <a:lnTo>
                      <a:pt x="82" y="0"/>
                    </a:lnTo>
                    <a:lnTo>
                      <a:pt x="82" y="12"/>
                    </a:lnTo>
                    <a:lnTo>
                      <a:pt x="13" y="12"/>
                    </a:lnTo>
                    <a:lnTo>
                      <a:pt x="13" y="53"/>
                    </a:lnTo>
                    <a:lnTo>
                      <a:pt x="80" y="53"/>
                    </a:lnTo>
                    <a:lnTo>
                      <a:pt x="80" y="65"/>
                    </a:lnTo>
                    <a:lnTo>
                      <a:pt x="13" y="65"/>
                    </a:lnTo>
                    <a:lnTo>
                      <a:pt x="13" y="112"/>
                    </a:lnTo>
                    <a:lnTo>
                      <a:pt x="82" y="112"/>
                    </a:lnTo>
                    <a:lnTo>
                      <a:pt x="82" y="124"/>
                    </a:lnTo>
                    <a:lnTo>
                      <a:pt x="0"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3" name="Freeform 7">
                <a:extLst>
                  <a:ext uri="{FF2B5EF4-FFF2-40B4-BE49-F238E27FC236}">
                    <a16:creationId xmlns:a16="http://schemas.microsoft.com/office/drawing/2014/main" id="{BD9E7736-9288-677E-D673-D88E2189E466}"/>
                  </a:ext>
                </a:extLst>
              </p:cNvPr>
              <p:cNvSpPr>
                <a:spLocks/>
              </p:cNvSpPr>
              <p:nvPr/>
            </p:nvSpPr>
            <p:spPr bwMode="auto">
              <a:xfrm>
                <a:off x="4048125" y="4197351"/>
                <a:ext cx="166687" cy="196850"/>
              </a:xfrm>
              <a:custGeom>
                <a:avLst/>
                <a:gdLst>
                  <a:gd name="T0" fmla="*/ 46 w 105"/>
                  <a:gd name="T1" fmla="*/ 12 h 124"/>
                  <a:gd name="T2" fmla="*/ 0 w 105"/>
                  <a:gd name="T3" fmla="*/ 12 h 124"/>
                  <a:gd name="T4" fmla="*/ 0 w 105"/>
                  <a:gd name="T5" fmla="*/ 0 h 124"/>
                  <a:gd name="T6" fmla="*/ 105 w 105"/>
                  <a:gd name="T7" fmla="*/ 0 h 124"/>
                  <a:gd name="T8" fmla="*/ 105 w 105"/>
                  <a:gd name="T9" fmla="*/ 12 h 124"/>
                  <a:gd name="T10" fmla="*/ 59 w 105"/>
                  <a:gd name="T11" fmla="*/ 12 h 124"/>
                  <a:gd name="T12" fmla="*/ 59 w 105"/>
                  <a:gd name="T13" fmla="*/ 124 h 124"/>
                  <a:gd name="T14" fmla="*/ 46 w 105"/>
                  <a:gd name="T15" fmla="*/ 124 h 124"/>
                  <a:gd name="T16" fmla="*/ 46 w 105"/>
                  <a:gd name="T1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4">
                    <a:moveTo>
                      <a:pt x="46" y="12"/>
                    </a:moveTo>
                    <a:lnTo>
                      <a:pt x="0" y="12"/>
                    </a:lnTo>
                    <a:lnTo>
                      <a:pt x="0" y="0"/>
                    </a:lnTo>
                    <a:lnTo>
                      <a:pt x="105" y="0"/>
                    </a:lnTo>
                    <a:lnTo>
                      <a:pt x="105" y="12"/>
                    </a:lnTo>
                    <a:lnTo>
                      <a:pt x="59" y="12"/>
                    </a:lnTo>
                    <a:lnTo>
                      <a:pt x="59" y="124"/>
                    </a:lnTo>
                    <a:lnTo>
                      <a:pt x="46" y="124"/>
                    </a:lnTo>
                    <a:lnTo>
                      <a:pt x="46" y="1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4" name="Freeform 8">
                <a:extLst>
                  <a:ext uri="{FF2B5EF4-FFF2-40B4-BE49-F238E27FC236}">
                    <a16:creationId xmlns:a16="http://schemas.microsoft.com/office/drawing/2014/main" id="{BB90A98A-6855-81CB-CDB8-58DB77AD7979}"/>
                  </a:ext>
                </a:extLst>
              </p:cNvPr>
              <p:cNvSpPr>
                <a:spLocks/>
              </p:cNvSpPr>
              <p:nvPr/>
            </p:nvSpPr>
            <p:spPr bwMode="auto">
              <a:xfrm>
                <a:off x="4241800" y="4197351"/>
                <a:ext cx="268287" cy="196850"/>
              </a:xfrm>
              <a:custGeom>
                <a:avLst/>
                <a:gdLst>
                  <a:gd name="T0" fmla="*/ 0 w 169"/>
                  <a:gd name="T1" fmla="*/ 0 h 124"/>
                  <a:gd name="T2" fmla="*/ 14 w 169"/>
                  <a:gd name="T3" fmla="*/ 0 h 124"/>
                  <a:gd name="T4" fmla="*/ 45 w 169"/>
                  <a:gd name="T5" fmla="*/ 101 h 124"/>
                  <a:gd name="T6" fmla="*/ 78 w 169"/>
                  <a:gd name="T7" fmla="*/ 0 h 124"/>
                  <a:gd name="T8" fmla="*/ 91 w 169"/>
                  <a:gd name="T9" fmla="*/ 0 h 124"/>
                  <a:gd name="T10" fmla="*/ 124 w 169"/>
                  <a:gd name="T11" fmla="*/ 101 h 124"/>
                  <a:gd name="T12" fmla="*/ 155 w 169"/>
                  <a:gd name="T13" fmla="*/ 0 h 124"/>
                  <a:gd name="T14" fmla="*/ 169 w 169"/>
                  <a:gd name="T15" fmla="*/ 0 h 124"/>
                  <a:gd name="T16" fmla="*/ 128 w 169"/>
                  <a:gd name="T17" fmla="*/ 124 h 124"/>
                  <a:gd name="T18" fmla="*/ 118 w 169"/>
                  <a:gd name="T19" fmla="*/ 124 h 124"/>
                  <a:gd name="T20" fmla="*/ 85 w 169"/>
                  <a:gd name="T21" fmla="*/ 21 h 124"/>
                  <a:gd name="T22" fmla="*/ 51 w 169"/>
                  <a:gd name="T23" fmla="*/ 124 h 124"/>
                  <a:gd name="T24" fmla="*/ 39 w 169"/>
                  <a:gd name="T25" fmla="*/ 124 h 124"/>
                  <a:gd name="T26" fmla="*/ 0 w 169"/>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24">
                    <a:moveTo>
                      <a:pt x="0" y="0"/>
                    </a:moveTo>
                    <a:lnTo>
                      <a:pt x="14" y="0"/>
                    </a:lnTo>
                    <a:lnTo>
                      <a:pt x="45" y="101"/>
                    </a:lnTo>
                    <a:lnTo>
                      <a:pt x="78" y="0"/>
                    </a:lnTo>
                    <a:lnTo>
                      <a:pt x="91" y="0"/>
                    </a:lnTo>
                    <a:lnTo>
                      <a:pt x="124" y="101"/>
                    </a:lnTo>
                    <a:lnTo>
                      <a:pt x="155" y="0"/>
                    </a:lnTo>
                    <a:lnTo>
                      <a:pt x="169" y="0"/>
                    </a:lnTo>
                    <a:lnTo>
                      <a:pt x="128" y="124"/>
                    </a:lnTo>
                    <a:lnTo>
                      <a:pt x="118" y="124"/>
                    </a:lnTo>
                    <a:lnTo>
                      <a:pt x="85" y="21"/>
                    </a:lnTo>
                    <a:lnTo>
                      <a:pt x="51" y="124"/>
                    </a:lnTo>
                    <a:lnTo>
                      <a:pt x="39" y="12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9">
                <a:extLst>
                  <a:ext uri="{FF2B5EF4-FFF2-40B4-BE49-F238E27FC236}">
                    <a16:creationId xmlns:a16="http://schemas.microsoft.com/office/drawing/2014/main" id="{1EB79AD0-469C-83A5-6F18-58490475AF2B}"/>
                  </a:ext>
                </a:extLst>
              </p:cNvPr>
              <p:cNvSpPr>
                <a:spLocks noEditPoints="1"/>
              </p:cNvSpPr>
              <p:nvPr/>
            </p:nvSpPr>
            <p:spPr bwMode="auto">
              <a:xfrm>
                <a:off x="4527550" y="4192588"/>
                <a:ext cx="198437" cy="204788"/>
              </a:xfrm>
              <a:custGeom>
                <a:avLst/>
                <a:gdLst>
                  <a:gd name="T0" fmla="*/ 0 w 83"/>
                  <a:gd name="T1" fmla="*/ 43 h 85"/>
                  <a:gd name="T2" fmla="*/ 42 w 83"/>
                  <a:gd name="T3" fmla="*/ 0 h 85"/>
                  <a:gd name="T4" fmla="*/ 83 w 83"/>
                  <a:gd name="T5" fmla="*/ 43 h 85"/>
                  <a:gd name="T6" fmla="*/ 42 w 83"/>
                  <a:gd name="T7" fmla="*/ 85 h 85"/>
                  <a:gd name="T8" fmla="*/ 0 w 83"/>
                  <a:gd name="T9" fmla="*/ 43 h 85"/>
                  <a:gd name="T10" fmla="*/ 74 w 83"/>
                  <a:gd name="T11" fmla="*/ 43 h 85"/>
                  <a:gd name="T12" fmla="*/ 42 w 83"/>
                  <a:gd name="T13" fmla="*/ 9 h 85"/>
                  <a:gd name="T14" fmla="*/ 9 w 83"/>
                  <a:gd name="T15" fmla="*/ 43 h 85"/>
                  <a:gd name="T16" fmla="*/ 42 w 83"/>
                  <a:gd name="T17" fmla="*/ 77 h 85"/>
                  <a:gd name="T18" fmla="*/ 74 w 83"/>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5">
                    <a:moveTo>
                      <a:pt x="0" y="43"/>
                    </a:moveTo>
                    <a:cubicBezTo>
                      <a:pt x="0" y="13"/>
                      <a:pt x="15" y="0"/>
                      <a:pt x="42" y="0"/>
                    </a:cubicBezTo>
                    <a:cubicBezTo>
                      <a:pt x="68" y="0"/>
                      <a:pt x="83" y="13"/>
                      <a:pt x="83" y="43"/>
                    </a:cubicBezTo>
                    <a:cubicBezTo>
                      <a:pt x="83" y="72"/>
                      <a:pt x="68" y="85"/>
                      <a:pt x="42" y="85"/>
                    </a:cubicBezTo>
                    <a:cubicBezTo>
                      <a:pt x="15" y="85"/>
                      <a:pt x="0" y="72"/>
                      <a:pt x="0" y="43"/>
                    </a:cubicBezTo>
                    <a:close/>
                    <a:moveTo>
                      <a:pt x="74" y="43"/>
                    </a:moveTo>
                    <a:cubicBezTo>
                      <a:pt x="74" y="21"/>
                      <a:pt x="64" y="9"/>
                      <a:pt x="42" y="9"/>
                    </a:cubicBezTo>
                    <a:cubicBezTo>
                      <a:pt x="19" y="9"/>
                      <a:pt x="9" y="21"/>
                      <a:pt x="9" y="43"/>
                    </a:cubicBezTo>
                    <a:cubicBezTo>
                      <a:pt x="9" y="65"/>
                      <a:pt x="19" y="77"/>
                      <a:pt x="42" y="77"/>
                    </a:cubicBezTo>
                    <a:cubicBezTo>
                      <a:pt x="64" y="77"/>
                      <a:pt x="74" y="65"/>
                      <a:pt x="74"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10">
                <a:extLst>
                  <a:ext uri="{FF2B5EF4-FFF2-40B4-BE49-F238E27FC236}">
                    <a16:creationId xmlns:a16="http://schemas.microsoft.com/office/drawing/2014/main" id="{81465CE5-B25C-C7CE-9A1F-6AFF6D2F65B1}"/>
                  </a:ext>
                </a:extLst>
              </p:cNvPr>
              <p:cNvSpPr>
                <a:spLocks noEditPoints="1"/>
              </p:cNvSpPr>
              <p:nvPr/>
            </p:nvSpPr>
            <p:spPr bwMode="auto">
              <a:xfrm>
                <a:off x="4768850" y="4197351"/>
                <a:ext cx="150812" cy="196850"/>
              </a:xfrm>
              <a:custGeom>
                <a:avLst/>
                <a:gdLst>
                  <a:gd name="T0" fmla="*/ 33 w 63"/>
                  <a:gd name="T1" fmla="*/ 48 h 82"/>
                  <a:gd name="T2" fmla="*/ 8 w 63"/>
                  <a:gd name="T3" fmla="*/ 48 h 82"/>
                  <a:gd name="T4" fmla="*/ 8 w 63"/>
                  <a:gd name="T5" fmla="*/ 82 h 82"/>
                  <a:gd name="T6" fmla="*/ 0 w 63"/>
                  <a:gd name="T7" fmla="*/ 82 h 82"/>
                  <a:gd name="T8" fmla="*/ 0 w 63"/>
                  <a:gd name="T9" fmla="*/ 0 h 82"/>
                  <a:gd name="T10" fmla="*/ 35 w 63"/>
                  <a:gd name="T11" fmla="*/ 0 h 82"/>
                  <a:gd name="T12" fmla="*/ 63 w 63"/>
                  <a:gd name="T13" fmla="*/ 24 h 82"/>
                  <a:gd name="T14" fmla="*/ 42 w 63"/>
                  <a:gd name="T15" fmla="*/ 48 h 82"/>
                  <a:gd name="T16" fmla="*/ 61 w 63"/>
                  <a:gd name="T17" fmla="*/ 82 h 82"/>
                  <a:gd name="T18" fmla="*/ 52 w 63"/>
                  <a:gd name="T19" fmla="*/ 82 h 82"/>
                  <a:gd name="T20" fmla="*/ 33 w 63"/>
                  <a:gd name="T21" fmla="*/ 48 h 82"/>
                  <a:gd name="T22" fmla="*/ 35 w 63"/>
                  <a:gd name="T23" fmla="*/ 40 h 82"/>
                  <a:gd name="T24" fmla="*/ 54 w 63"/>
                  <a:gd name="T25" fmla="*/ 24 h 82"/>
                  <a:gd name="T26" fmla="*/ 35 w 63"/>
                  <a:gd name="T27" fmla="*/ 8 h 82"/>
                  <a:gd name="T28" fmla="*/ 8 w 63"/>
                  <a:gd name="T29" fmla="*/ 8 h 82"/>
                  <a:gd name="T30" fmla="*/ 8 w 63"/>
                  <a:gd name="T31" fmla="*/ 40 h 82"/>
                  <a:gd name="T32" fmla="*/ 35 w 63"/>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82">
                    <a:moveTo>
                      <a:pt x="33" y="48"/>
                    </a:moveTo>
                    <a:cubicBezTo>
                      <a:pt x="8" y="48"/>
                      <a:pt x="8" y="48"/>
                      <a:pt x="8" y="48"/>
                    </a:cubicBezTo>
                    <a:cubicBezTo>
                      <a:pt x="8" y="82"/>
                      <a:pt x="8" y="82"/>
                      <a:pt x="8" y="82"/>
                    </a:cubicBezTo>
                    <a:cubicBezTo>
                      <a:pt x="0" y="82"/>
                      <a:pt x="0" y="82"/>
                      <a:pt x="0" y="82"/>
                    </a:cubicBezTo>
                    <a:cubicBezTo>
                      <a:pt x="0" y="0"/>
                      <a:pt x="0" y="0"/>
                      <a:pt x="0" y="0"/>
                    </a:cubicBezTo>
                    <a:cubicBezTo>
                      <a:pt x="35" y="0"/>
                      <a:pt x="35" y="0"/>
                      <a:pt x="35" y="0"/>
                    </a:cubicBezTo>
                    <a:cubicBezTo>
                      <a:pt x="54" y="0"/>
                      <a:pt x="63" y="7"/>
                      <a:pt x="63" y="24"/>
                    </a:cubicBezTo>
                    <a:cubicBezTo>
                      <a:pt x="63" y="38"/>
                      <a:pt x="56" y="46"/>
                      <a:pt x="42" y="48"/>
                    </a:cubicBezTo>
                    <a:cubicBezTo>
                      <a:pt x="61" y="82"/>
                      <a:pt x="61" y="82"/>
                      <a:pt x="61" y="82"/>
                    </a:cubicBezTo>
                    <a:cubicBezTo>
                      <a:pt x="52" y="82"/>
                      <a:pt x="52" y="82"/>
                      <a:pt x="52" y="82"/>
                    </a:cubicBezTo>
                    <a:lnTo>
                      <a:pt x="33" y="48"/>
                    </a:lnTo>
                    <a:close/>
                    <a:moveTo>
                      <a:pt x="35" y="40"/>
                    </a:moveTo>
                    <a:cubicBezTo>
                      <a:pt x="47" y="40"/>
                      <a:pt x="54" y="37"/>
                      <a:pt x="54" y="24"/>
                    </a:cubicBezTo>
                    <a:cubicBezTo>
                      <a:pt x="54" y="11"/>
                      <a:pt x="47" y="8"/>
                      <a:pt x="35" y="8"/>
                    </a:cubicBezTo>
                    <a:cubicBezTo>
                      <a:pt x="8" y="8"/>
                      <a:pt x="8" y="8"/>
                      <a:pt x="8" y="8"/>
                    </a:cubicBezTo>
                    <a:cubicBezTo>
                      <a:pt x="8" y="40"/>
                      <a:pt x="8" y="40"/>
                      <a:pt x="8" y="40"/>
                    </a:cubicBezTo>
                    <a:lnTo>
                      <a:pt x="35" y="4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7" name="Freeform 11">
                <a:extLst>
                  <a:ext uri="{FF2B5EF4-FFF2-40B4-BE49-F238E27FC236}">
                    <a16:creationId xmlns:a16="http://schemas.microsoft.com/office/drawing/2014/main" id="{45EFBFE2-3988-63FE-3713-47A872DDECF9}"/>
                  </a:ext>
                </a:extLst>
              </p:cNvPr>
              <p:cNvSpPr>
                <a:spLocks/>
              </p:cNvSpPr>
              <p:nvPr/>
            </p:nvSpPr>
            <p:spPr bwMode="auto">
              <a:xfrm>
                <a:off x="4962525" y="4197351"/>
                <a:ext cx="153987" cy="196850"/>
              </a:xfrm>
              <a:custGeom>
                <a:avLst/>
                <a:gdLst>
                  <a:gd name="T0" fmla="*/ 38 w 97"/>
                  <a:gd name="T1" fmla="*/ 57 h 124"/>
                  <a:gd name="T2" fmla="*/ 14 w 97"/>
                  <a:gd name="T3" fmla="*/ 85 h 124"/>
                  <a:gd name="T4" fmla="*/ 14 w 97"/>
                  <a:gd name="T5" fmla="*/ 124 h 124"/>
                  <a:gd name="T6" fmla="*/ 0 w 97"/>
                  <a:gd name="T7" fmla="*/ 124 h 124"/>
                  <a:gd name="T8" fmla="*/ 0 w 97"/>
                  <a:gd name="T9" fmla="*/ 0 h 124"/>
                  <a:gd name="T10" fmla="*/ 14 w 97"/>
                  <a:gd name="T11" fmla="*/ 0 h 124"/>
                  <a:gd name="T12" fmla="*/ 14 w 97"/>
                  <a:gd name="T13" fmla="*/ 68 h 124"/>
                  <a:gd name="T14" fmla="*/ 76 w 97"/>
                  <a:gd name="T15" fmla="*/ 0 h 124"/>
                  <a:gd name="T16" fmla="*/ 91 w 97"/>
                  <a:gd name="T17" fmla="*/ 0 h 124"/>
                  <a:gd name="T18" fmla="*/ 47 w 97"/>
                  <a:gd name="T19" fmla="*/ 48 h 124"/>
                  <a:gd name="T20" fmla="*/ 97 w 97"/>
                  <a:gd name="T21" fmla="*/ 124 h 124"/>
                  <a:gd name="T22" fmla="*/ 82 w 97"/>
                  <a:gd name="T23" fmla="*/ 124 h 124"/>
                  <a:gd name="T24" fmla="*/ 38 w 97"/>
                  <a:gd name="T25" fmla="*/ 5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24">
                    <a:moveTo>
                      <a:pt x="38" y="57"/>
                    </a:moveTo>
                    <a:lnTo>
                      <a:pt x="14" y="85"/>
                    </a:lnTo>
                    <a:lnTo>
                      <a:pt x="14" y="124"/>
                    </a:lnTo>
                    <a:lnTo>
                      <a:pt x="0" y="124"/>
                    </a:lnTo>
                    <a:lnTo>
                      <a:pt x="0" y="0"/>
                    </a:lnTo>
                    <a:lnTo>
                      <a:pt x="14" y="0"/>
                    </a:lnTo>
                    <a:lnTo>
                      <a:pt x="14" y="68"/>
                    </a:lnTo>
                    <a:lnTo>
                      <a:pt x="76" y="0"/>
                    </a:lnTo>
                    <a:lnTo>
                      <a:pt x="91" y="0"/>
                    </a:lnTo>
                    <a:lnTo>
                      <a:pt x="47" y="48"/>
                    </a:lnTo>
                    <a:lnTo>
                      <a:pt x="97" y="124"/>
                    </a:lnTo>
                    <a:lnTo>
                      <a:pt x="82" y="124"/>
                    </a:lnTo>
                    <a:lnTo>
                      <a:pt x="38" y="5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8" name="Freeform 12">
                <a:extLst>
                  <a:ext uri="{FF2B5EF4-FFF2-40B4-BE49-F238E27FC236}">
                    <a16:creationId xmlns:a16="http://schemas.microsoft.com/office/drawing/2014/main" id="{785A04BF-9BE1-721D-306A-033C88FDD883}"/>
                  </a:ext>
                </a:extLst>
              </p:cNvPr>
              <p:cNvSpPr>
                <a:spLocks/>
              </p:cNvSpPr>
              <p:nvPr/>
            </p:nvSpPr>
            <p:spPr bwMode="auto">
              <a:xfrm>
                <a:off x="5133975" y="4192588"/>
                <a:ext cx="160337" cy="204788"/>
              </a:xfrm>
              <a:custGeom>
                <a:avLst/>
                <a:gdLst>
                  <a:gd name="T0" fmla="*/ 0 w 67"/>
                  <a:gd name="T1" fmla="*/ 75 h 85"/>
                  <a:gd name="T2" fmla="*/ 5 w 67"/>
                  <a:gd name="T3" fmla="*/ 69 h 85"/>
                  <a:gd name="T4" fmla="*/ 34 w 67"/>
                  <a:gd name="T5" fmla="*/ 77 h 85"/>
                  <a:gd name="T6" fmla="*/ 59 w 67"/>
                  <a:gd name="T7" fmla="*/ 61 h 85"/>
                  <a:gd name="T8" fmla="*/ 34 w 67"/>
                  <a:gd name="T9" fmla="*/ 45 h 85"/>
                  <a:gd name="T10" fmla="*/ 5 w 67"/>
                  <a:gd name="T11" fmla="*/ 22 h 85"/>
                  <a:gd name="T12" fmla="*/ 34 w 67"/>
                  <a:gd name="T13" fmla="*/ 0 h 85"/>
                  <a:gd name="T14" fmla="*/ 63 w 67"/>
                  <a:gd name="T15" fmla="*/ 8 h 85"/>
                  <a:gd name="T16" fmla="*/ 58 w 67"/>
                  <a:gd name="T17" fmla="*/ 15 h 85"/>
                  <a:gd name="T18" fmla="*/ 34 w 67"/>
                  <a:gd name="T19" fmla="*/ 8 h 85"/>
                  <a:gd name="T20" fmla="*/ 13 w 67"/>
                  <a:gd name="T21" fmla="*/ 22 h 85"/>
                  <a:gd name="T22" fmla="*/ 36 w 67"/>
                  <a:gd name="T23" fmla="*/ 37 h 85"/>
                  <a:gd name="T24" fmla="*/ 67 w 67"/>
                  <a:gd name="T25" fmla="*/ 61 h 85"/>
                  <a:gd name="T26" fmla="*/ 34 w 67"/>
                  <a:gd name="T27" fmla="*/ 85 h 85"/>
                  <a:gd name="T28" fmla="*/ 0 w 67"/>
                  <a:gd name="T2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5">
                    <a:moveTo>
                      <a:pt x="0" y="75"/>
                    </a:moveTo>
                    <a:cubicBezTo>
                      <a:pt x="5" y="69"/>
                      <a:pt x="5" y="69"/>
                      <a:pt x="5" y="69"/>
                    </a:cubicBezTo>
                    <a:cubicBezTo>
                      <a:pt x="15" y="75"/>
                      <a:pt x="24" y="77"/>
                      <a:pt x="34" y="77"/>
                    </a:cubicBezTo>
                    <a:cubicBezTo>
                      <a:pt x="51" y="77"/>
                      <a:pt x="59" y="72"/>
                      <a:pt x="59" y="61"/>
                    </a:cubicBezTo>
                    <a:cubicBezTo>
                      <a:pt x="59" y="49"/>
                      <a:pt x="49" y="48"/>
                      <a:pt x="34" y="45"/>
                    </a:cubicBezTo>
                    <a:cubicBezTo>
                      <a:pt x="16" y="42"/>
                      <a:pt x="5" y="39"/>
                      <a:pt x="5" y="22"/>
                    </a:cubicBezTo>
                    <a:cubicBezTo>
                      <a:pt x="5" y="7"/>
                      <a:pt x="15" y="0"/>
                      <a:pt x="34" y="0"/>
                    </a:cubicBezTo>
                    <a:cubicBezTo>
                      <a:pt x="47" y="0"/>
                      <a:pt x="56" y="3"/>
                      <a:pt x="63" y="8"/>
                    </a:cubicBezTo>
                    <a:cubicBezTo>
                      <a:pt x="58" y="15"/>
                      <a:pt x="58" y="15"/>
                      <a:pt x="58" y="15"/>
                    </a:cubicBezTo>
                    <a:cubicBezTo>
                      <a:pt x="52" y="11"/>
                      <a:pt x="43" y="8"/>
                      <a:pt x="34" y="8"/>
                    </a:cubicBezTo>
                    <a:cubicBezTo>
                      <a:pt x="19" y="8"/>
                      <a:pt x="13" y="12"/>
                      <a:pt x="13" y="22"/>
                    </a:cubicBezTo>
                    <a:cubicBezTo>
                      <a:pt x="13" y="33"/>
                      <a:pt x="22" y="35"/>
                      <a:pt x="36" y="37"/>
                    </a:cubicBezTo>
                    <a:cubicBezTo>
                      <a:pt x="54" y="40"/>
                      <a:pt x="67" y="43"/>
                      <a:pt x="67" y="61"/>
                    </a:cubicBezTo>
                    <a:cubicBezTo>
                      <a:pt x="67" y="77"/>
                      <a:pt x="57" y="85"/>
                      <a:pt x="34" y="85"/>
                    </a:cubicBezTo>
                    <a:cubicBezTo>
                      <a:pt x="22" y="85"/>
                      <a:pt x="11" y="82"/>
                      <a:pt x="0" y="7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29" name="Freeform 13">
                <a:extLst>
                  <a:ext uri="{FF2B5EF4-FFF2-40B4-BE49-F238E27FC236}">
                    <a16:creationId xmlns:a16="http://schemas.microsoft.com/office/drawing/2014/main" id="{3736336A-86EE-1773-49EB-C11C8A5B0869}"/>
                  </a:ext>
                </a:extLst>
              </p:cNvPr>
              <p:cNvSpPr>
                <a:spLocks/>
              </p:cNvSpPr>
              <p:nvPr/>
            </p:nvSpPr>
            <p:spPr bwMode="auto">
              <a:xfrm>
                <a:off x="5213350" y="3379788"/>
                <a:ext cx="352425" cy="730250"/>
              </a:xfrm>
              <a:custGeom>
                <a:avLst/>
                <a:gdLst>
                  <a:gd name="T0" fmla="*/ 120 w 147"/>
                  <a:gd name="T1" fmla="*/ 0 h 303"/>
                  <a:gd name="T2" fmla="*/ 0 w 147"/>
                  <a:gd name="T3" fmla="*/ 125 h 303"/>
                  <a:gd name="T4" fmla="*/ 0 w 147"/>
                  <a:gd name="T5" fmla="*/ 303 h 303"/>
                  <a:gd name="T6" fmla="*/ 27 w 147"/>
                  <a:gd name="T7" fmla="*/ 303 h 303"/>
                  <a:gd name="T8" fmla="*/ 27 w 147"/>
                  <a:gd name="T9" fmla="*/ 125 h 303"/>
                  <a:gd name="T10" fmla="*/ 120 w 147"/>
                  <a:gd name="T11" fmla="*/ 26 h 303"/>
                  <a:gd name="T12" fmla="*/ 147 w 147"/>
                  <a:gd name="T13" fmla="*/ 27 h 303"/>
                  <a:gd name="T14" fmla="*/ 147 w 147"/>
                  <a:gd name="T15" fmla="*/ 1 h 303"/>
                  <a:gd name="T16" fmla="*/ 120 w 147"/>
                  <a:gd name="T1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03">
                    <a:moveTo>
                      <a:pt x="120" y="0"/>
                    </a:moveTo>
                    <a:cubicBezTo>
                      <a:pt x="5" y="0"/>
                      <a:pt x="0" y="52"/>
                      <a:pt x="0" y="125"/>
                    </a:cubicBezTo>
                    <a:cubicBezTo>
                      <a:pt x="0" y="303"/>
                      <a:pt x="0" y="303"/>
                      <a:pt x="0" y="303"/>
                    </a:cubicBezTo>
                    <a:cubicBezTo>
                      <a:pt x="27" y="303"/>
                      <a:pt x="27" y="303"/>
                      <a:pt x="27" y="303"/>
                    </a:cubicBezTo>
                    <a:cubicBezTo>
                      <a:pt x="27" y="125"/>
                      <a:pt x="27" y="125"/>
                      <a:pt x="27" y="125"/>
                    </a:cubicBezTo>
                    <a:cubicBezTo>
                      <a:pt x="27" y="70"/>
                      <a:pt x="25" y="26"/>
                      <a:pt x="120" y="26"/>
                    </a:cubicBezTo>
                    <a:cubicBezTo>
                      <a:pt x="130" y="26"/>
                      <a:pt x="139" y="26"/>
                      <a:pt x="147" y="27"/>
                    </a:cubicBezTo>
                    <a:cubicBezTo>
                      <a:pt x="147" y="1"/>
                      <a:pt x="147" y="1"/>
                      <a:pt x="147" y="1"/>
                    </a:cubicBezTo>
                    <a:cubicBezTo>
                      <a:pt x="139" y="1"/>
                      <a:pt x="130" y="0"/>
                      <a:pt x="1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0" name="Freeform 14">
                <a:extLst>
                  <a:ext uri="{FF2B5EF4-FFF2-40B4-BE49-F238E27FC236}">
                    <a16:creationId xmlns:a16="http://schemas.microsoft.com/office/drawing/2014/main" id="{5FD7FD2F-EA12-5D81-534B-2EF18C41251E}"/>
                  </a:ext>
                </a:extLst>
              </p:cNvPr>
              <p:cNvSpPr>
                <a:spLocks/>
              </p:cNvSpPr>
              <p:nvPr/>
            </p:nvSpPr>
            <p:spPr bwMode="auto">
              <a:xfrm>
                <a:off x="2281238" y="3394076"/>
                <a:ext cx="582612" cy="730250"/>
              </a:xfrm>
              <a:custGeom>
                <a:avLst/>
                <a:gdLst>
                  <a:gd name="T0" fmla="*/ 0 w 243"/>
                  <a:gd name="T1" fmla="*/ 181 h 303"/>
                  <a:gd name="T2" fmla="*/ 0 w 243"/>
                  <a:gd name="T3" fmla="*/ 0 h 303"/>
                  <a:gd name="T4" fmla="*/ 28 w 243"/>
                  <a:gd name="T5" fmla="*/ 0 h 303"/>
                  <a:gd name="T6" fmla="*/ 28 w 243"/>
                  <a:gd name="T7" fmla="*/ 182 h 303"/>
                  <a:gd name="T8" fmla="*/ 123 w 243"/>
                  <a:gd name="T9" fmla="*/ 278 h 303"/>
                  <a:gd name="T10" fmla="*/ 216 w 243"/>
                  <a:gd name="T11" fmla="*/ 179 h 303"/>
                  <a:gd name="T12" fmla="*/ 216 w 243"/>
                  <a:gd name="T13" fmla="*/ 0 h 303"/>
                  <a:gd name="T14" fmla="*/ 243 w 243"/>
                  <a:gd name="T15" fmla="*/ 0 h 303"/>
                  <a:gd name="T16" fmla="*/ 243 w 243"/>
                  <a:gd name="T17" fmla="*/ 179 h 303"/>
                  <a:gd name="T18" fmla="*/ 123 w 243"/>
                  <a:gd name="T19" fmla="*/ 303 h 303"/>
                  <a:gd name="T20" fmla="*/ 0 w 243"/>
                  <a:gd name="T21" fmla="*/ 1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303">
                    <a:moveTo>
                      <a:pt x="0" y="181"/>
                    </a:moveTo>
                    <a:cubicBezTo>
                      <a:pt x="0" y="0"/>
                      <a:pt x="0" y="0"/>
                      <a:pt x="0" y="0"/>
                    </a:cubicBezTo>
                    <a:cubicBezTo>
                      <a:pt x="28" y="0"/>
                      <a:pt x="28" y="0"/>
                      <a:pt x="28" y="0"/>
                    </a:cubicBezTo>
                    <a:cubicBezTo>
                      <a:pt x="28" y="182"/>
                      <a:pt x="28" y="182"/>
                      <a:pt x="28" y="182"/>
                    </a:cubicBezTo>
                    <a:cubicBezTo>
                      <a:pt x="28" y="234"/>
                      <a:pt x="27" y="278"/>
                      <a:pt x="123" y="278"/>
                    </a:cubicBezTo>
                    <a:cubicBezTo>
                      <a:pt x="218" y="278"/>
                      <a:pt x="216" y="234"/>
                      <a:pt x="216" y="179"/>
                    </a:cubicBezTo>
                    <a:cubicBezTo>
                      <a:pt x="216" y="0"/>
                      <a:pt x="216" y="0"/>
                      <a:pt x="216" y="0"/>
                    </a:cubicBezTo>
                    <a:cubicBezTo>
                      <a:pt x="243" y="0"/>
                      <a:pt x="243" y="0"/>
                      <a:pt x="243" y="0"/>
                    </a:cubicBezTo>
                    <a:cubicBezTo>
                      <a:pt x="243" y="179"/>
                      <a:pt x="243" y="179"/>
                      <a:pt x="243" y="179"/>
                    </a:cubicBezTo>
                    <a:cubicBezTo>
                      <a:pt x="243" y="252"/>
                      <a:pt x="238" y="303"/>
                      <a:pt x="123" y="303"/>
                    </a:cubicBezTo>
                    <a:cubicBezTo>
                      <a:pt x="7" y="303"/>
                      <a:pt x="0" y="252"/>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1" name="Freeform 15">
                <a:extLst>
                  <a:ext uri="{FF2B5EF4-FFF2-40B4-BE49-F238E27FC236}">
                    <a16:creationId xmlns:a16="http://schemas.microsoft.com/office/drawing/2014/main" id="{3C0CDEA4-4DDB-4F7C-729C-4BFA1026091B}"/>
                  </a:ext>
                </a:extLst>
              </p:cNvPr>
              <p:cNvSpPr>
                <a:spLocks/>
              </p:cNvSpPr>
              <p:nvPr/>
            </p:nvSpPr>
            <p:spPr bwMode="auto">
              <a:xfrm>
                <a:off x="2973388" y="3379788"/>
                <a:ext cx="581025" cy="730250"/>
              </a:xfrm>
              <a:custGeom>
                <a:avLst/>
                <a:gdLst>
                  <a:gd name="T0" fmla="*/ 242 w 242"/>
                  <a:gd name="T1" fmla="*/ 122 h 303"/>
                  <a:gd name="T2" fmla="*/ 242 w 242"/>
                  <a:gd name="T3" fmla="*/ 303 h 303"/>
                  <a:gd name="T4" fmla="*/ 215 w 242"/>
                  <a:gd name="T5" fmla="*/ 303 h 303"/>
                  <a:gd name="T6" fmla="*/ 215 w 242"/>
                  <a:gd name="T7" fmla="*/ 122 h 303"/>
                  <a:gd name="T8" fmla="*/ 120 w 242"/>
                  <a:gd name="T9" fmla="*/ 26 h 303"/>
                  <a:gd name="T10" fmla="*/ 27 w 242"/>
                  <a:gd name="T11" fmla="*/ 125 h 303"/>
                  <a:gd name="T12" fmla="*/ 27 w 242"/>
                  <a:gd name="T13" fmla="*/ 303 h 303"/>
                  <a:gd name="T14" fmla="*/ 0 w 242"/>
                  <a:gd name="T15" fmla="*/ 303 h 303"/>
                  <a:gd name="T16" fmla="*/ 0 w 242"/>
                  <a:gd name="T17" fmla="*/ 125 h 303"/>
                  <a:gd name="T18" fmla="*/ 120 w 242"/>
                  <a:gd name="T19" fmla="*/ 0 h 303"/>
                  <a:gd name="T20" fmla="*/ 242 w 242"/>
                  <a:gd name="T21" fmla="*/ 1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303">
                    <a:moveTo>
                      <a:pt x="242" y="122"/>
                    </a:moveTo>
                    <a:cubicBezTo>
                      <a:pt x="242" y="303"/>
                      <a:pt x="242" y="303"/>
                      <a:pt x="242" y="303"/>
                    </a:cubicBezTo>
                    <a:cubicBezTo>
                      <a:pt x="215" y="303"/>
                      <a:pt x="215" y="303"/>
                      <a:pt x="215" y="303"/>
                    </a:cubicBezTo>
                    <a:cubicBezTo>
                      <a:pt x="215" y="122"/>
                      <a:pt x="215" y="122"/>
                      <a:pt x="215" y="122"/>
                    </a:cubicBezTo>
                    <a:cubicBezTo>
                      <a:pt x="215" y="70"/>
                      <a:pt x="215" y="26"/>
                      <a:pt x="120" y="26"/>
                    </a:cubicBezTo>
                    <a:cubicBezTo>
                      <a:pt x="25" y="26"/>
                      <a:pt x="27" y="70"/>
                      <a:pt x="27" y="125"/>
                    </a:cubicBezTo>
                    <a:cubicBezTo>
                      <a:pt x="27" y="303"/>
                      <a:pt x="27" y="303"/>
                      <a:pt x="27" y="303"/>
                    </a:cubicBezTo>
                    <a:cubicBezTo>
                      <a:pt x="0" y="303"/>
                      <a:pt x="0" y="303"/>
                      <a:pt x="0" y="303"/>
                    </a:cubicBezTo>
                    <a:cubicBezTo>
                      <a:pt x="0" y="125"/>
                      <a:pt x="0" y="125"/>
                      <a:pt x="0" y="125"/>
                    </a:cubicBezTo>
                    <a:cubicBezTo>
                      <a:pt x="0" y="52"/>
                      <a:pt x="5" y="0"/>
                      <a:pt x="120" y="0"/>
                    </a:cubicBezTo>
                    <a:cubicBezTo>
                      <a:pt x="235" y="0"/>
                      <a:pt x="242" y="52"/>
                      <a:pt x="24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2" name="Rectangle 16">
                <a:extLst>
                  <a:ext uri="{FF2B5EF4-FFF2-40B4-BE49-F238E27FC236}">
                    <a16:creationId xmlns:a16="http://schemas.microsoft.com/office/drawing/2014/main" id="{C4EDC703-6582-7944-660F-DD678F6B4D51}"/>
                  </a:ext>
                </a:extLst>
              </p:cNvPr>
              <p:cNvSpPr>
                <a:spLocks noChangeArrowheads="1"/>
              </p:cNvSpPr>
              <p:nvPr/>
            </p:nvSpPr>
            <p:spPr bwMode="auto">
              <a:xfrm>
                <a:off x="3676650" y="3397251"/>
                <a:ext cx="61912" cy="7127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3" name="Freeform 17">
                <a:extLst>
                  <a:ext uri="{FF2B5EF4-FFF2-40B4-BE49-F238E27FC236}">
                    <a16:creationId xmlns:a16="http://schemas.microsoft.com/office/drawing/2014/main" id="{725239A4-3FFF-304E-72B4-E7C5ACA5E770}"/>
                  </a:ext>
                </a:extLst>
              </p:cNvPr>
              <p:cNvSpPr>
                <a:spLocks noEditPoints="1"/>
              </p:cNvSpPr>
              <p:nvPr/>
            </p:nvSpPr>
            <p:spPr bwMode="auto">
              <a:xfrm>
                <a:off x="3857625" y="3397251"/>
                <a:ext cx="573087" cy="712788"/>
              </a:xfrm>
              <a:custGeom>
                <a:avLst/>
                <a:gdLst>
                  <a:gd name="T0" fmla="*/ 0 w 239"/>
                  <a:gd name="T1" fmla="*/ 0 h 296"/>
                  <a:gd name="T2" fmla="*/ 139 w 239"/>
                  <a:gd name="T3" fmla="*/ 0 h 296"/>
                  <a:gd name="T4" fmla="*/ 239 w 239"/>
                  <a:gd name="T5" fmla="*/ 95 h 296"/>
                  <a:gd name="T6" fmla="*/ 139 w 239"/>
                  <a:gd name="T7" fmla="*/ 193 h 296"/>
                  <a:gd name="T8" fmla="*/ 27 w 239"/>
                  <a:gd name="T9" fmla="*/ 193 h 296"/>
                  <a:gd name="T10" fmla="*/ 27 w 239"/>
                  <a:gd name="T11" fmla="*/ 296 h 296"/>
                  <a:gd name="T12" fmla="*/ 0 w 239"/>
                  <a:gd name="T13" fmla="*/ 296 h 296"/>
                  <a:gd name="T14" fmla="*/ 0 w 239"/>
                  <a:gd name="T15" fmla="*/ 0 h 296"/>
                  <a:gd name="T16" fmla="*/ 139 w 239"/>
                  <a:gd name="T17" fmla="*/ 167 h 296"/>
                  <a:gd name="T18" fmla="*/ 211 w 239"/>
                  <a:gd name="T19" fmla="*/ 96 h 296"/>
                  <a:gd name="T20" fmla="*/ 138 w 239"/>
                  <a:gd name="T21" fmla="*/ 26 h 296"/>
                  <a:gd name="T22" fmla="*/ 27 w 239"/>
                  <a:gd name="T23" fmla="*/ 26 h 296"/>
                  <a:gd name="T24" fmla="*/ 27 w 239"/>
                  <a:gd name="T25" fmla="*/ 167 h 296"/>
                  <a:gd name="T26" fmla="*/ 139 w 239"/>
                  <a:gd name="T27" fmla="*/ 1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296">
                    <a:moveTo>
                      <a:pt x="0" y="0"/>
                    </a:moveTo>
                    <a:cubicBezTo>
                      <a:pt x="139" y="0"/>
                      <a:pt x="139" y="0"/>
                      <a:pt x="139" y="0"/>
                    </a:cubicBezTo>
                    <a:cubicBezTo>
                      <a:pt x="208" y="0"/>
                      <a:pt x="239" y="34"/>
                      <a:pt x="239" y="95"/>
                    </a:cubicBezTo>
                    <a:cubicBezTo>
                      <a:pt x="239" y="156"/>
                      <a:pt x="208" y="193"/>
                      <a:pt x="139" y="193"/>
                    </a:cubicBezTo>
                    <a:cubicBezTo>
                      <a:pt x="27" y="193"/>
                      <a:pt x="27" y="193"/>
                      <a:pt x="27" y="193"/>
                    </a:cubicBezTo>
                    <a:cubicBezTo>
                      <a:pt x="27" y="296"/>
                      <a:pt x="27" y="296"/>
                      <a:pt x="27" y="296"/>
                    </a:cubicBezTo>
                    <a:cubicBezTo>
                      <a:pt x="0" y="296"/>
                      <a:pt x="0" y="296"/>
                      <a:pt x="0" y="296"/>
                    </a:cubicBezTo>
                    <a:lnTo>
                      <a:pt x="0" y="0"/>
                    </a:lnTo>
                    <a:close/>
                    <a:moveTo>
                      <a:pt x="139" y="167"/>
                    </a:moveTo>
                    <a:cubicBezTo>
                      <a:pt x="187" y="167"/>
                      <a:pt x="211" y="143"/>
                      <a:pt x="211" y="96"/>
                    </a:cubicBezTo>
                    <a:cubicBezTo>
                      <a:pt x="211" y="49"/>
                      <a:pt x="185" y="26"/>
                      <a:pt x="138" y="26"/>
                    </a:cubicBezTo>
                    <a:cubicBezTo>
                      <a:pt x="27" y="26"/>
                      <a:pt x="27" y="26"/>
                      <a:pt x="27" y="26"/>
                    </a:cubicBezTo>
                    <a:cubicBezTo>
                      <a:pt x="27" y="167"/>
                      <a:pt x="27" y="167"/>
                      <a:pt x="27" y="167"/>
                    </a:cubicBezTo>
                    <a:lnTo>
                      <a:pt x="139" y="167"/>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4" name="Freeform 18">
                <a:extLst>
                  <a:ext uri="{FF2B5EF4-FFF2-40B4-BE49-F238E27FC236}">
                    <a16:creationId xmlns:a16="http://schemas.microsoft.com/office/drawing/2014/main" id="{E6D9E48D-D399-D9D3-E6F6-3DBFAA90F866}"/>
                  </a:ext>
                </a:extLst>
              </p:cNvPr>
              <p:cNvSpPr>
                <a:spLocks noEditPoints="1"/>
              </p:cNvSpPr>
              <p:nvPr/>
            </p:nvSpPr>
            <p:spPr bwMode="auto">
              <a:xfrm>
                <a:off x="4505325" y="3378201"/>
                <a:ext cx="614362" cy="746125"/>
              </a:xfrm>
              <a:custGeom>
                <a:avLst/>
                <a:gdLst>
                  <a:gd name="T0" fmla="*/ 0 w 256"/>
                  <a:gd name="T1" fmla="*/ 155 h 310"/>
                  <a:gd name="T2" fmla="*/ 137 w 256"/>
                  <a:gd name="T3" fmla="*/ 0 h 310"/>
                  <a:gd name="T4" fmla="*/ 256 w 256"/>
                  <a:gd name="T5" fmla="*/ 160 h 310"/>
                  <a:gd name="T6" fmla="*/ 27 w 256"/>
                  <a:gd name="T7" fmla="*/ 160 h 310"/>
                  <a:gd name="T8" fmla="*/ 139 w 256"/>
                  <a:gd name="T9" fmla="*/ 286 h 310"/>
                  <a:gd name="T10" fmla="*/ 236 w 256"/>
                  <a:gd name="T11" fmla="*/ 254 h 310"/>
                  <a:gd name="T12" fmla="*/ 251 w 256"/>
                  <a:gd name="T13" fmla="*/ 274 h 310"/>
                  <a:gd name="T14" fmla="*/ 139 w 256"/>
                  <a:gd name="T15" fmla="*/ 310 h 310"/>
                  <a:gd name="T16" fmla="*/ 0 w 256"/>
                  <a:gd name="T17" fmla="*/ 155 h 310"/>
                  <a:gd name="T18" fmla="*/ 27 w 256"/>
                  <a:gd name="T19" fmla="*/ 135 h 310"/>
                  <a:gd name="T20" fmla="*/ 229 w 256"/>
                  <a:gd name="T21" fmla="*/ 135 h 310"/>
                  <a:gd name="T22" fmla="*/ 136 w 256"/>
                  <a:gd name="T23" fmla="*/ 25 h 310"/>
                  <a:gd name="T24" fmla="*/ 27 w 256"/>
                  <a:gd name="T25" fmla="*/ 1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310">
                    <a:moveTo>
                      <a:pt x="0" y="155"/>
                    </a:moveTo>
                    <a:cubicBezTo>
                      <a:pt x="0" y="68"/>
                      <a:pt x="25" y="0"/>
                      <a:pt x="137" y="0"/>
                    </a:cubicBezTo>
                    <a:cubicBezTo>
                      <a:pt x="252" y="0"/>
                      <a:pt x="256" y="78"/>
                      <a:pt x="256" y="160"/>
                    </a:cubicBezTo>
                    <a:cubicBezTo>
                      <a:pt x="27" y="160"/>
                      <a:pt x="27" y="160"/>
                      <a:pt x="27" y="160"/>
                    </a:cubicBezTo>
                    <a:cubicBezTo>
                      <a:pt x="27" y="232"/>
                      <a:pt x="45" y="286"/>
                      <a:pt x="139" y="286"/>
                    </a:cubicBezTo>
                    <a:cubicBezTo>
                      <a:pt x="189" y="286"/>
                      <a:pt x="212" y="272"/>
                      <a:pt x="236" y="254"/>
                    </a:cubicBezTo>
                    <a:cubicBezTo>
                      <a:pt x="251" y="274"/>
                      <a:pt x="251" y="274"/>
                      <a:pt x="251" y="274"/>
                    </a:cubicBezTo>
                    <a:cubicBezTo>
                      <a:pt x="224" y="294"/>
                      <a:pt x="192" y="310"/>
                      <a:pt x="139" y="310"/>
                    </a:cubicBezTo>
                    <a:cubicBezTo>
                      <a:pt x="22" y="310"/>
                      <a:pt x="0" y="242"/>
                      <a:pt x="0" y="155"/>
                    </a:cubicBezTo>
                    <a:close/>
                    <a:moveTo>
                      <a:pt x="27" y="135"/>
                    </a:moveTo>
                    <a:cubicBezTo>
                      <a:pt x="229" y="135"/>
                      <a:pt x="229" y="135"/>
                      <a:pt x="229" y="135"/>
                    </a:cubicBezTo>
                    <a:cubicBezTo>
                      <a:pt x="226" y="76"/>
                      <a:pt x="223" y="25"/>
                      <a:pt x="136" y="25"/>
                    </a:cubicBezTo>
                    <a:cubicBezTo>
                      <a:pt x="53" y="25"/>
                      <a:pt x="30" y="70"/>
                      <a:pt x="27" y="1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5" name="Freeform 19">
                <a:extLst>
                  <a:ext uri="{FF2B5EF4-FFF2-40B4-BE49-F238E27FC236}">
                    <a16:creationId xmlns:a16="http://schemas.microsoft.com/office/drawing/2014/main" id="{56998BEC-6306-C164-045C-1CED81234FEA}"/>
                  </a:ext>
                </a:extLst>
              </p:cNvPr>
              <p:cNvSpPr>
                <a:spLocks/>
              </p:cNvSpPr>
              <p:nvPr/>
            </p:nvSpPr>
            <p:spPr bwMode="auto">
              <a:xfrm>
                <a:off x="1855788" y="3394076"/>
                <a:ext cx="312737" cy="873125"/>
              </a:xfrm>
              <a:custGeom>
                <a:avLst/>
                <a:gdLst>
                  <a:gd name="T0" fmla="*/ 10 w 130"/>
                  <a:gd name="T1" fmla="*/ 362 h 362"/>
                  <a:gd name="T2" fmla="*/ 130 w 130"/>
                  <a:gd name="T3" fmla="*/ 237 h 362"/>
                  <a:gd name="T4" fmla="*/ 130 w 130"/>
                  <a:gd name="T5" fmla="*/ 0 h 362"/>
                  <a:gd name="T6" fmla="*/ 103 w 130"/>
                  <a:gd name="T7" fmla="*/ 0 h 362"/>
                  <a:gd name="T8" fmla="*/ 103 w 130"/>
                  <a:gd name="T9" fmla="*/ 237 h 362"/>
                  <a:gd name="T10" fmla="*/ 10 w 130"/>
                  <a:gd name="T11" fmla="*/ 336 h 362"/>
                  <a:gd name="T12" fmla="*/ 0 w 130"/>
                  <a:gd name="T13" fmla="*/ 336 h 362"/>
                  <a:gd name="T14" fmla="*/ 0 w 130"/>
                  <a:gd name="T15" fmla="*/ 361 h 362"/>
                  <a:gd name="T16" fmla="*/ 10 w 130"/>
                  <a:gd name="T17"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62">
                    <a:moveTo>
                      <a:pt x="10" y="362"/>
                    </a:moveTo>
                    <a:cubicBezTo>
                      <a:pt x="126" y="362"/>
                      <a:pt x="130" y="310"/>
                      <a:pt x="130" y="237"/>
                    </a:cubicBezTo>
                    <a:cubicBezTo>
                      <a:pt x="130" y="0"/>
                      <a:pt x="130" y="0"/>
                      <a:pt x="130" y="0"/>
                    </a:cubicBezTo>
                    <a:cubicBezTo>
                      <a:pt x="103" y="0"/>
                      <a:pt x="103" y="0"/>
                      <a:pt x="103" y="0"/>
                    </a:cubicBezTo>
                    <a:cubicBezTo>
                      <a:pt x="103" y="237"/>
                      <a:pt x="103" y="237"/>
                      <a:pt x="103" y="237"/>
                    </a:cubicBezTo>
                    <a:cubicBezTo>
                      <a:pt x="103" y="292"/>
                      <a:pt x="105" y="336"/>
                      <a:pt x="10" y="336"/>
                    </a:cubicBezTo>
                    <a:cubicBezTo>
                      <a:pt x="7" y="336"/>
                      <a:pt x="3" y="336"/>
                      <a:pt x="0" y="336"/>
                    </a:cubicBezTo>
                    <a:cubicBezTo>
                      <a:pt x="0" y="361"/>
                      <a:pt x="0" y="361"/>
                      <a:pt x="0" y="361"/>
                    </a:cubicBezTo>
                    <a:cubicBezTo>
                      <a:pt x="3" y="362"/>
                      <a:pt x="7" y="362"/>
                      <a:pt x="10" y="3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36" name="Freeform 20">
                <a:extLst>
                  <a:ext uri="{FF2B5EF4-FFF2-40B4-BE49-F238E27FC236}">
                    <a16:creationId xmlns:a16="http://schemas.microsoft.com/office/drawing/2014/main" id="{14ADF9FE-C130-B55C-81A9-563747DF6274}"/>
                  </a:ext>
                </a:extLst>
              </p:cNvPr>
              <p:cNvSpPr>
                <a:spLocks noEditPoints="1"/>
              </p:cNvSpPr>
              <p:nvPr/>
            </p:nvSpPr>
            <p:spPr bwMode="auto">
              <a:xfrm>
                <a:off x="5373688" y="4022726"/>
                <a:ext cx="90487" cy="9207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2 h 38"/>
                  <a:gd name="T12" fmla="*/ 3 w 38"/>
                  <a:gd name="T13" fmla="*/ 19 h 38"/>
                  <a:gd name="T14" fmla="*/ 19 w 38"/>
                  <a:gd name="T15" fmla="*/ 35 h 38"/>
                  <a:gd name="T16" fmla="*/ 36 w 38"/>
                  <a:gd name="T17" fmla="*/ 19 h 38"/>
                  <a:gd name="T18" fmla="*/ 19 w 38"/>
                  <a:gd name="T19"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close/>
                    <a:moveTo>
                      <a:pt x="19" y="2"/>
                    </a:moveTo>
                    <a:cubicBezTo>
                      <a:pt x="10" y="2"/>
                      <a:pt x="3" y="10"/>
                      <a:pt x="3" y="19"/>
                    </a:cubicBezTo>
                    <a:cubicBezTo>
                      <a:pt x="3" y="28"/>
                      <a:pt x="10" y="35"/>
                      <a:pt x="19" y="35"/>
                    </a:cubicBezTo>
                    <a:cubicBezTo>
                      <a:pt x="28" y="35"/>
                      <a:pt x="36" y="28"/>
                      <a:pt x="36" y="19"/>
                    </a:cubicBezTo>
                    <a:cubicBezTo>
                      <a:pt x="36" y="10"/>
                      <a:pt x="28" y="2"/>
                      <a:pt x="19"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56" name="Freeform 21">
                <a:extLst>
                  <a:ext uri="{FF2B5EF4-FFF2-40B4-BE49-F238E27FC236}">
                    <a16:creationId xmlns:a16="http://schemas.microsoft.com/office/drawing/2014/main" id="{955E1979-8691-475E-0723-44B43BE0629B}"/>
                  </a:ext>
                </a:extLst>
              </p:cNvPr>
              <p:cNvSpPr>
                <a:spLocks noEditPoints="1"/>
              </p:cNvSpPr>
              <p:nvPr/>
            </p:nvSpPr>
            <p:spPr bwMode="auto">
              <a:xfrm>
                <a:off x="5402263" y="4041776"/>
                <a:ext cx="41275" cy="53975"/>
              </a:xfrm>
              <a:custGeom>
                <a:avLst/>
                <a:gdLst>
                  <a:gd name="T0" fmla="*/ 8 w 17"/>
                  <a:gd name="T1" fmla="*/ 13 h 22"/>
                  <a:gd name="T2" fmla="*/ 2 w 17"/>
                  <a:gd name="T3" fmla="*/ 13 h 22"/>
                  <a:gd name="T4" fmla="*/ 2 w 17"/>
                  <a:gd name="T5" fmla="*/ 22 h 22"/>
                  <a:gd name="T6" fmla="*/ 0 w 17"/>
                  <a:gd name="T7" fmla="*/ 22 h 22"/>
                  <a:gd name="T8" fmla="*/ 0 w 17"/>
                  <a:gd name="T9" fmla="*/ 0 h 22"/>
                  <a:gd name="T10" fmla="*/ 9 w 17"/>
                  <a:gd name="T11" fmla="*/ 0 h 22"/>
                  <a:gd name="T12" fmla="*/ 17 w 17"/>
                  <a:gd name="T13" fmla="*/ 7 h 22"/>
                  <a:gd name="T14" fmla="*/ 12 w 17"/>
                  <a:gd name="T15" fmla="*/ 13 h 22"/>
                  <a:gd name="T16" fmla="*/ 16 w 17"/>
                  <a:gd name="T17" fmla="*/ 22 h 22"/>
                  <a:gd name="T18" fmla="*/ 13 w 17"/>
                  <a:gd name="T19" fmla="*/ 22 h 22"/>
                  <a:gd name="T20" fmla="*/ 8 w 17"/>
                  <a:gd name="T21" fmla="*/ 13 h 22"/>
                  <a:gd name="T22" fmla="*/ 9 w 17"/>
                  <a:gd name="T23" fmla="*/ 11 h 22"/>
                  <a:gd name="T24" fmla="*/ 14 w 17"/>
                  <a:gd name="T25" fmla="*/ 7 h 22"/>
                  <a:gd name="T26" fmla="*/ 9 w 17"/>
                  <a:gd name="T27" fmla="*/ 3 h 22"/>
                  <a:gd name="T28" fmla="*/ 2 w 17"/>
                  <a:gd name="T29" fmla="*/ 3 h 22"/>
                  <a:gd name="T30" fmla="*/ 2 w 17"/>
                  <a:gd name="T31" fmla="*/ 11 h 22"/>
                  <a:gd name="T32" fmla="*/ 9 w 17"/>
                  <a:gd name="T3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2">
                    <a:moveTo>
                      <a:pt x="8" y="13"/>
                    </a:moveTo>
                    <a:cubicBezTo>
                      <a:pt x="2" y="13"/>
                      <a:pt x="2" y="13"/>
                      <a:pt x="2" y="13"/>
                    </a:cubicBezTo>
                    <a:cubicBezTo>
                      <a:pt x="2" y="22"/>
                      <a:pt x="2" y="22"/>
                      <a:pt x="2" y="22"/>
                    </a:cubicBezTo>
                    <a:cubicBezTo>
                      <a:pt x="0" y="22"/>
                      <a:pt x="0" y="22"/>
                      <a:pt x="0" y="22"/>
                    </a:cubicBezTo>
                    <a:cubicBezTo>
                      <a:pt x="0" y="0"/>
                      <a:pt x="0" y="0"/>
                      <a:pt x="0" y="0"/>
                    </a:cubicBezTo>
                    <a:cubicBezTo>
                      <a:pt x="9" y="0"/>
                      <a:pt x="9" y="0"/>
                      <a:pt x="9" y="0"/>
                    </a:cubicBezTo>
                    <a:cubicBezTo>
                      <a:pt x="15" y="0"/>
                      <a:pt x="17" y="2"/>
                      <a:pt x="17" y="7"/>
                    </a:cubicBezTo>
                    <a:cubicBezTo>
                      <a:pt x="17" y="10"/>
                      <a:pt x="15" y="12"/>
                      <a:pt x="12" y="13"/>
                    </a:cubicBezTo>
                    <a:cubicBezTo>
                      <a:pt x="16" y="22"/>
                      <a:pt x="16" y="22"/>
                      <a:pt x="16" y="22"/>
                    </a:cubicBezTo>
                    <a:cubicBezTo>
                      <a:pt x="13" y="22"/>
                      <a:pt x="13" y="22"/>
                      <a:pt x="13" y="22"/>
                    </a:cubicBezTo>
                    <a:lnTo>
                      <a:pt x="8" y="13"/>
                    </a:lnTo>
                    <a:close/>
                    <a:moveTo>
                      <a:pt x="9" y="11"/>
                    </a:moveTo>
                    <a:cubicBezTo>
                      <a:pt x="12" y="11"/>
                      <a:pt x="14" y="10"/>
                      <a:pt x="14" y="7"/>
                    </a:cubicBezTo>
                    <a:cubicBezTo>
                      <a:pt x="14" y="4"/>
                      <a:pt x="12" y="3"/>
                      <a:pt x="9" y="3"/>
                    </a:cubicBezTo>
                    <a:cubicBezTo>
                      <a:pt x="2" y="3"/>
                      <a:pt x="2" y="3"/>
                      <a:pt x="2" y="3"/>
                    </a:cubicBezTo>
                    <a:cubicBezTo>
                      <a:pt x="2" y="11"/>
                      <a:pt x="2" y="11"/>
                      <a:pt x="2" y="11"/>
                    </a:cubicBezTo>
                    <a:lnTo>
                      <a:pt x="9"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pic>
          <p:nvPicPr>
            <p:cNvPr id="19" name="Graphic 18">
              <a:extLst>
                <a:ext uri="{FF2B5EF4-FFF2-40B4-BE49-F238E27FC236}">
                  <a16:creationId xmlns:a16="http://schemas.microsoft.com/office/drawing/2014/main" id="{48E56FAB-AA54-8424-A628-5CDFB7B03128}"/>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1623353" y="6517487"/>
              <a:ext cx="241323" cy="217190"/>
            </a:xfrm>
            <a:prstGeom prst="rect">
              <a:avLst/>
            </a:prstGeom>
          </p:spPr>
        </p:pic>
        <p:cxnSp>
          <p:nvCxnSpPr>
            <p:cNvPr id="20" name="Straight Connector 19">
              <a:extLst>
                <a:ext uri="{FF2B5EF4-FFF2-40B4-BE49-F238E27FC236}">
                  <a16:creationId xmlns:a16="http://schemas.microsoft.com/office/drawing/2014/main" id="{3C35A8DB-72E0-76D4-29D3-CB0A3B09A5B0}"/>
                </a:ext>
              </a:extLst>
            </p:cNvPr>
            <p:cNvCxnSpPr>
              <a:cxnSpLocks/>
            </p:cNvCxnSpPr>
            <p:nvPr userDrawn="1"/>
          </p:nvCxnSpPr>
          <p:spPr>
            <a:xfrm>
              <a:off x="11531689" y="6537451"/>
              <a:ext cx="0" cy="1772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63840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Lst>
  <p:transition>
    <p:fade/>
  </p:transition>
  <p:txStyles>
    <p:titleStyle>
      <a:lvl1pPr algn="l" defTabSz="914377" rtl="0" eaLnBrk="1" latinLnBrk="0" hangingPunct="1">
        <a:lnSpc>
          <a:spcPct val="90000"/>
        </a:lnSpc>
        <a:spcBef>
          <a:spcPct val="0"/>
        </a:spcBef>
        <a:buNone/>
        <a:defRPr sz="3600" b="0" kern="1200" cap="none" baseline="0">
          <a:solidFill>
            <a:schemeClr val="tx1"/>
          </a:solidFill>
          <a:latin typeface="+mj-lt"/>
          <a:ea typeface="Lato Light" panose="020F0302020204030203" pitchFamily="34" charset="0"/>
          <a:cs typeface="Lato Light" panose="020F0302020204030203" pitchFamily="34" charset="0"/>
        </a:defRPr>
      </a:lvl1pPr>
    </p:titleStyle>
    <p:bodyStyle>
      <a:lvl1pPr marL="173038" indent="-173038" algn="l" defTabSz="914377" rtl="0" eaLnBrk="1" latinLnBrk="0" hangingPunct="1">
        <a:lnSpc>
          <a:spcPct val="110000"/>
        </a:lnSpc>
        <a:spcBef>
          <a:spcPts val="1600"/>
        </a:spcBef>
        <a:buFont typeface="Arial" panose="020B0604020202020204" pitchFamily="34" charset="0"/>
        <a:buChar char="•"/>
        <a:defRPr sz="1800" kern="1200">
          <a:solidFill>
            <a:schemeClr val="tx1"/>
          </a:solidFill>
          <a:latin typeface="+mn-lt"/>
          <a:ea typeface="+mn-ea"/>
          <a:cs typeface="+mn-cs"/>
        </a:defRPr>
      </a:lvl1pPr>
      <a:lvl2pPr marL="574675" indent="-228600" algn="l" defTabSz="914377" rtl="0" eaLnBrk="1" latinLnBrk="0" hangingPunct="1">
        <a:lnSpc>
          <a:spcPct val="95000"/>
        </a:lnSpc>
        <a:spcBef>
          <a:spcPts val="500"/>
        </a:spcBef>
        <a:buFont typeface="Lato" panose="020F0502020204030203"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15:clr>
            <a:srgbClr val="F26B43"/>
          </p15:clr>
        </p15:guide>
        <p15:guide id="6">
          <p15:clr>
            <a:srgbClr val="F26B43"/>
          </p15:clr>
        </p15:guide>
        <p15:guide id="7" pos="7680">
          <p15:clr>
            <a:srgbClr val="F26B43"/>
          </p15:clr>
        </p15:guide>
        <p15:guide id="10" orient="horz" pos="43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18" Type="http://schemas.openxmlformats.org/officeDocument/2006/relationships/image" Target="../media/image159.svg"/><Relationship Id="rId26" Type="http://schemas.openxmlformats.org/officeDocument/2006/relationships/image" Target="../media/image167.svg"/><Relationship Id="rId3" Type="http://schemas.openxmlformats.org/officeDocument/2006/relationships/image" Target="../media/image145.png"/><Relationship Id="rId21" Type="http://schemas.openxmlformats.org/officeDocument/2006/relationships/image" Target="../media/image162.png"/><Relationship Id="rId7" Type="http://schemas.openxmlformats.org/officeDocument/2006/relationships/image" Target="../media/image149.png"/><Relationship Id="rId12" Type="http://schemas.openxmlformats.org/officeDocument/2006/relationships/image" Target="../media/image154.svg"/><Relationship Id="rId17" Type="http://schemas.openxmlformats.org/officeDocument/2006/relationships/image" Target="../media/image158.png"/><Relationship Id="rId25" Type="http://schemas.openxmlformats.org/officeDocument/2006/relationships/image" Target="../media/image166.png"/><Relationship Id="rId2" Type="http://schemas.openxmlformats.org/officeDocument/2006/relationships/notesSlide" Target="../notesSlides/notesSlide6.xml"/><Relationship Id="rId16" Type="http://schemas.openxmlformats.org/officeDocument/2006/relationships/image" Target="../media/image157.svg"/><Relationship Id="rId20" Type="http://schemas.openxmlformats.org/officeDocument/2006/relationships/image" Target="../media/image161.svg"/><Relationship Id="rId1" Type="http://schemas.openxmlformats.org/officeDocument/2006/relationships/slideLayout" Target="../slideLayouts/slideLayout13.xml"/><Relationship Id="rId6" Type="http://schemas.openxmlformats.org/officeDocument/2006/relationships/image" Target="../media/image148.svg"/><Relationship Id="rId11" Type="http://schemas.openxmlformats.org/officeDocument/2006/relationships/image" Target="../media/image153.png"/><Relationship Id="rId24" Type="http://schemas.openxmlformats.org/officeDocument/2006/relationships/image" Target="../media/image165.svg"/><Relationship Id="rId5" Type="http://schemas.openxmlformats.org/officeDocument/2006/relationships/image" Target="../media/image147.png"/><Relationship Id="rId15" Type="http://schemas.openxmlformats.org/officeDocument/2006/relationships/image" Target="../media/image140.png"/><Relationship Id="rId23" Type="http://schemas.openxmlformats.org/officeDocument/2006/relationships/image" Target="../media/image164.png"/><Relationship Id="rId10" Type="http://schemas.openxmlformats.org/officeDocument/2006/relationships/image" Target="../media/image152.svg"/><Relationship Id="rId19" Type="http://schemas.openxmlformats.org/officeDocument/2006/relationships/image" Target="../media/image160.png"/><Relationship Id="rId4" Type="http://schemas.openxmlformats.org/officeDocument/2006/relationships/image" Target="../media/image146.svg"/><Relationship Id="rId9" Type="http://schemas.openxmlformats.org/officeDocument/2006/relationships/image" Target="../media/image151.png"/><Relationship Id="rId14" Type="http://schemas.openxmlformats.org/officeDocument/2006/relationships/image" Target="../media/image156.svg"/><Relationship Id="rId22" Type="http://schemas.openxmlformats.org/officeDocument/2006/relationships/image" Target="../media/image163.svg"/></Relationships>
</file>

<file path=ppt/slides/_rels/slide11.xml.rels><?xml version="1.0" encoding="UTF-8" standalone="yes"?>
<Relationships xmlns="http://schemas.openxmlformats.org/package/2006/relationships"><Relationship Id="rId8" Type="http://schemas.openxmlformats.org/officeDocument/2006/relationships/image" Target="../media/image173.sv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71.svg"/><Relationship Id="rId11" Type="http://schemas.openxmlformats.org/officeDocument/2006/relationships/image" Target="../media/image176.svg"/><Relationship Id="rId5" Type="http://schemas.openxmlformats.org/officeDocument/2006/relationships/image" Target="../media/image170.png"/><Relationship Id="rId10" Type="http://schemas.openxmlformats.org/officeDocument/2006/relationships/image" Target="../media/image175.png"/><Relationship Id="rId4" Type="http://schemas.openxmlformats.org/officeDocument/2006/relationships/image" Target="../media/image169.svg"/><Relationship Id="rId9" Type="http://schemas.openxmlformats.org/officeDocument/2006/relationships/image" Target="../media/image174.jpeg"/></Relationships>
</file>

<file path=ppt/slides/_rels/slide12.xml.rels><?xml version="1.0" encoding="UTF-8" standalone="yes"?>
<Relationships xmlns="http://schemas.openxmlformats.org/package/2006/relationships"><Relationship Id="rId13" Type="http://schemas.openxmlformats.org/officeDocument/2006/relationships/image" Target="../media/image187.png"/><Relationship Id="rId18" Type="http://schemas.openxmlformats.org/officeDocument/2006/relationships/image" Target="../media/image192.svg"/><Relationship Id="rId26" Type="http://schemas.openxmlformats.org/officeDocument/2006/relationships/image" Target="../media/image200.png"/><Relationship Id="rId39" Type="http://schemas.openxmlformats.org/officeDocument/2006/relationships/image" Target="../media/image213.tiff"/><Relationship Id="rId21" Type="http://schemas.openxmlformats.org/officeDocument/2006/relationships/image" Target="../media/image195.png"/><Relationship Id="rId34" Type="http://schemas.openxmlformats.org/officeDocument/2006/relationships/image" Target="../media/image208.png"/><Relationship Id="rId42" Type="http://schemas.openxmlformats.org/officeDocument/2006/relationships/image" Target="../media/image216.png"/><Relationship Id="rId7" Type="http://schemas.openxmlformats.org/officeDocument/2006/relationships/image" Target="../media/image181.png"/><Relationship Id="rId2" Type="http://schemas.openxmlformats.org/officeDocument/2006/relationships/notesSlide" Target="../notesSlides/notesSlide8.xml"/><Relationship Id="rId16" Type="http://schemas.openxmlformats.org/officeDocument/2006/relationships/image" Target="../media/image190.svg"/><Relationship Id="rId20" Type="http://schemas.openxmlformats.org/officeDocument/2006/relationships/image" Target="../media/image194.png"/><Relationship Id="rId29" Type="http://schemas.openxmlformats.org/officeDocument/2006/relationships/image" Target="../media/image203.svg"/><Relationship Id="rId41" Type="http://schemas.openxmlformats.org/officeDocument/2006/relationships/image" Target="../media/image215.svg"/><Relationship Id="rId1" Type="http://schemas.openxmlformats.org/officeDocument/2006/relationships/slideLayout" Target="../slideLayouts/slideLayout24.xml"/><Relationship Id="rId6" Type="http://schemas.openxmlformats.org/officeDocument/2006/relationships/image" Target="../media/image180.svg"/><Relationship Id="rId11" Type="http://schemas.openxmlformats.org/officeDocument/2006/relationships/image" Target="../media/image185.png"/><Relationship Id="rId24" Type="http://schemas.openxmlformats.org/officeDocument/2006/relationships/image" Target="../media/image198.svg"/><Relationship Id="rId32" Type="http://schemas.openxmlformats.org/officeDocument/2006/relationships/image" Target="../media/image206.tiff"/><Relationship Id="rId37" Type="http://schemas.openxmlformats.org/officeDocument/2006/relationships/image" Target="../media/image211.png"/><Relationship Id="rId40" Type="http://schemas.openxmlformats.org/officeDocument/2006/relationships/image" Target="../media/image214.png"/><Relationship Id="rId5" Type="http://schemas.openxmlformats.org/officeDocument/2006/relationships/image" Target="../media/image179.png"/><Relationship Id="rId15" Type="http://schemas.openxmlformats.org/officeDocument/2006/relationships/image" Target="../media/image189.png"/><Relationship Id="rId23" Type="http://schemas.openxmlformats.org/officeDocument/2006/relationships/image" Target="../media/image197.png"/><Relationship Id="rId28" Type="http://schemas.openxmlformats.org/officeDocument/2006/relationships/image" Target="../media/image202.png"/><Relationship Id="rId36" Type="http://schemas.openxmlformats.org/officeDocument/2006/relationships/image" Target="../media/image210.png"/><Relationship Id="rId10" Type="http://schemas.openxmlformats.org/officeDocument/2006/relationships/image" Target="../media/image184.svg"/><Relationship Id="rId19" Type="http://schemas.openxmlformats.org/officeDocument/2006/relationships/image" Target="../media/image193.png"/><Relationship Id="rId31" Type="http://schemas.openxmlformats.org/officeDocument/2006/relationships/image" Target="../media/image205.tiff"/><Relationship Id="rId4" Type="http://schemas.openxmlformats.org/officeDocument/2006/relationships/image" Target="../media/image178.svg"/><Relationship Id="rId9" Type="http://schemas.openxmlformats.org/officeDocument/2006/relationships/image" Target="../media/image183.png"/><Relationship Id="rId14" Type="http://schemas.openxmlformats.org/officeDocument/2006/relationships/image" Target="../media/image188.svg"/><Relationship Id="rId22" Type="http://schemas.openxmlformats.org/officeDocument/2006/relationships/image" Target="../media/image196.svg"/><Relationship Id="rId27" Type="http://schemas.openxmlformats.org/officeDocument/2006/relationships/image" Target="../media/image201.svg"/><Relationship Id="rId30" Type="http://schemas.openxmlformats.org/officeDocument/2006/relationships/image" Target="../media/image204.tiff"/><Relationship Id="rId35" Type="http://schemas.openxmlformats.org/officeDocument/2006/relationships/image" Target="../media/image209.png"/><Relationship Id="rId43" Type="http://schemas.openxmlformats.org/officeDocument/2006/relationships/image" Target="../media/image217.svg"/><Relationship Id="rId8" Type="http://schemas.openxmlformats.org/officeDocument/2006/relationships/image" Target="../media/image182.svg"/><Relationship Id="rId3" Type="http://schemas.openxmlformats.org/officeDocument/2006/relationships/image" Target="../media/image177.png"/><Relationship Id="rId12" Type="http://schemas.openxmlformats.org/officeDocument/2006/relationships/image" Target="../media/image186.svg"/><Relationship Id="rId17" Type="http://schemas.openxmlformats.org/officeDocument/2006/relationships/image" Target="../media/image191.png"/><Relationship Id="rId25" Type="http://schemas.openxmlformats.org/officeDocument/2006/relationships/image" Target="../media/image199.svg"/><Relationship Id="rId33" Type="http://schemas.openxmlformats.org/officeDocument/2006/relationships/image" Target="../media/image207.png"/><Relationship Id="rId38" Type="http://schemas.openxmlformats.org/officeDocument/2006/relationships/image" Target="../media/image212.png"/></Relationships>
</file>

<file path=ppt/slides/_rels/slide13.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image" Target="../media/image218.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21.emf"/><Relationship Id="rId2" Type="http://schemas.openxmlformats.org/officeDocument/2006/relationships/image" Target="../media/image220.emf"/><Relationship Id="rId1" Type="http://schemas.openxmlformats.org/officeDocument/2006/relationships/slideLayout" Target="../slideLayouts/slideLayout11.xml"/><Relationship Id="rId4" Type="http://schemas.openxmlformats.org/officeDocument/2006/relationships/image" Target="../media/image222.emf"/></Relationships>
</file>

<file path=ppt/slides/_rels/slide15.xml.rels><?xml version="1.0" encoding="UTF-8" standalone="yes"?>
<Relationships xmlns="http://schemas.openxmlformats.org/package/2006/relationships"><Relationship Id="rId2" Type="http://schemas.openxmlformats.org/officeDocument/2006/relationships/hyperlink" Target="https://www.geteduroam.app/" TargetMode="Externa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8" Type="http://schemas.openxmlformats.org/officeDocument/2006/relationships/image" Target="../media/image229.png"/><Relationship Id="rId13" Type="http://schemas.openxmlformats.org/officeDocument/2006/relationships/image" Target="../media/image234.png"/><Relationship Id="rId3" Type="http://schemas.openxmlformats.org/officeDocument/2006/relationships/image" Target="../media/image224.png"/><Relationship Id="rId7" Type="http://schemas.openxmlformats.org/officeDocument/2006/relationships/image" Target="../media/image228.svg"/><Relationship Id="rId12" Type="http://schemas.openxmlformats.org/officeDocument/2006/relationships/image" Target="../media/image233.png"/><Relationship Id="rId2" Type="http://schemas.openxmlformats.org/officeDocument/2006/relationships/image" Target="../media/image223.png"/><Relationship Id="rId1" Type="http://schemas.openxmlformats.org/officeDocument/2006/relationships/slideLayout" Target="../slideLayouts/slideLayout64.xml"/><Relationship Id="rId6" Type="http://schemas.openxmlformats.org/officeDocument/2006/relationships/image" Target="../media/image227.png"/><Relationship Id="rId11" Type="http://schemas.openxmlformats.org/officeDocument/2006/relationships/image" Target="../media/image232.svg"/><Relationship Id="rId5" Type="http://schemas.openxmlformats.org/officeDocument/2006/relationships/image" Target="../media/image226.svg"/><Relationship Id="rId10" Type="http://schemas.openxmlformats.org/officeDocument/2006/relationships/image" Target="../media/image231.png"/><Relationship Id="rId4" Type="http://schemas.openxmlformats.org/officeDocument/2006/relationships/image" Target="../media/image225.png"/><Relationship Id="rId9" Type="http://schemas.openxmlformats.org/officeDocument/2006/relationships/image" Target="../media/image230.svg"/><Relationship Id="rId14" Type="http://schemas.openxmlformats.org/officeDocument/2006/relationships/image" Target="../media/image235.svg"/></Relationships>
</file>

<file path=ppt/slides/_rels/slide17.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svg"/><Relationship Id="rId7" Type="http://schemas.openxmlformats.org/officeDocument/2006/relationships/image" Target="../media/image240.svg"/><Relationship Id="rId2" Type="http://schemas.openxmlformats.org/officeDocument/2006/relationships/image" Target="../media/image185.png"/><Relationship Id="rId1" Type="http://schemas.openxmlformats.org/officeDocument/2006/relationships/slideLayout" Target="../slideLayouts/slideLayout64.xml"/><Relationship Id="rId6" Type="http://schemas.openxmlformats.org/officeDocument/2006/relationships/image" Target="../media/image239.png"/><Relationship Id="rId11" Type="http://schemas.openxmlformats.org/officeDocument/2006/relationships/image" Target="../media/image244.svg"/><Relationship Id="rId5" Type="http://schemas.openxmlformats.org/officeDocument/2006/relationships/image" Target="../media/image238.svg"/><Relationship Id="rId10" Type="http://schemas.openxmlformats.org/officeDocument/2006/relationships/image" Target="../media/image243.png"/><Relationship Id="rId4" Type="http://schemas.openxmlformats.org/officeDocument/2006/relationships/image" Target="../media/image237.png"/><Relationship Id="rId9" Type="http://schemas.openxmlformats.org/officeDocument/2006/relationships/image" Target="../media/image242.svg"/></Relationships>
</file>

<file path=ppt/slides/_rels/slide18.xml.rels><?xml version="1.0" encoding="UTF-8" standalone="yes"?>
<Relationships xmlns="http://schemas.openxmlformats.org/package/2006/relationships"><Relationship Id="rId8" Type="http://schemas.openxmlformats.org/officeDocument/2006/relationships/image" Target="../media/image239.png"/><Relationship Id="rId13" Type="http://schemas.openxmlformats.org/officeDocument/2006/relationships/image" Target="../media/image242.svg"/><Relationship Id="rId3" Type="http://schemas.openxmlformats.org/officeDocument/2006/relationships/image" Target="../media/image245.svg"/><Relationship Id="rId7" Type="http://schemas.openxmlformats.org/officeDocument/2006/relationships/image" Target="../media/image248.svg"/><Relationship Id="rId12" Type="http://schemas.openxmlformats.org/officeDocument/2006/relationships/image" Target="../media/image241.png"/><Relationship Id="rId2" Type="http://schemas.openxmlformats.org/officeDocument/2006/relationships/image" Target="../media/image225.png"/><Relationship Id="rId1" Type="http://schemas.openxmlformats.org/officeDocument/2006/relationships/slideLayout" Target="../slideLayouts/slideLayout64.xml"/><Relationship Id="rId6" Type="http://schemas.openxmlformats.org/officeDocument/2006/relationships/image" Target="../media/image231.png"/><Relationship Id="rId11" Type="http://schemas.openxmlformats.org/officeDocument/2006/relationships/image" Target="../media/image244.svg"/><Relationship Id="rId5" Type="http://schemas.openxmlformats.org/officeDocument/2006/relationships/image" Target="../media/image247.svg"/><Relationship Id="rId10" Type="http://schemas.openxmlformats.org/officeDocument/2006/relationships/image" Target="../media/image243.png"/><Relationship Id="rId4" Type="http://schemas.openxmlformats.org/officeDocument/2006/relationships/image" Target="../media/image246.png"/><Relationship Id="rId9" Type="http://schemas.openxmlformats.org/officeDocument/2006/relationships/image" Target="../media/image240.svg"/></Relationships>
</file>

<file path=ppt/slides/_rels/slide19.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9.xml"/><Relationship Id="rId1" Type="http://schemas.openxmlformats.org/officeDocument/2006/relationships/slideLayout" Target="../slideLayouts/slideLayout54.xml"/><Relationship Id="rId5" Type="http://schemas.openxmlformats.org/officeDocument/2006/relationships/image" Target="../media/image251.png"/><Relationship Id="rId4" Type="http://schemas.openxmlformats.org/officeDocument/2006/relationships/image" Target="../media/image250.png"/></Relationships>
</file>

<file path=ppt/slides/_rels/slide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image" Target="../media/image93.tiff"/><Relationship Id="rId16" Type="http://schemas.openxmlformats.org/officeDocument/2006/relationships/image" Target="../media/image107.svg"/><Relationship Id="rId1" Type="http://schemas.openxmlformats.org/officeDocument/2006/relationships/slideLayout" Target="../slideLayouts/slideLayout55.xml"/><Relationship Id="rId6" Type="http://schemas.openxmlformats.org/officeDocument/2006/relationships/image" Target="../media/image97.png"/><Relationship Id="rId11" Type="http://schemas.openxmlformats.org/officeDocument/2006/relationships/image" Target="../media/image102.jpeg"/><Relationship Id="rId5" Type="http://schemas.openxmlformats.org/officeDocument/2006/relationships/image" Target="../media/image96.gif"/><Relationship Id="rId15" Type="http://schemas.openxmlformats.org/officeDocument/2006/relationships/image" Target="../media/image10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s>
</file>

<file path=ppt/slides/_rels/slide4.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11.svg"/><Relationship Id="rId5" Type="http://schemas.openxmlformats.org/officeDocument/2006/relationships/image" Target="../media/image110.png"/><Relationship Id="rId10" Type="http://schemas.openxmlformats.org/officeDocument/2006/relationships/image" Target="../media/image115.svg"/><Relationship Id="rId4" Type="http://schemas.openxmlformats.org/officeDocument/2006/relationships/image" Target="../media/image109.png"/><Relationship Id="rId9" Type="http://schemas.openxmlformats.org/officeDocument/2006/relationships/image" Target="../media/image11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7.png"/><Relationship Id="rId4" Type="http://schemas.openxmlformats.org/officeDocument/2006/relationships/image" Target="../media/image116.png"/></Relationships>
</file>

<file path=ppt/slides/_rels/slide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21.jpeg"/><Relationship Id="rId5" Type="http://schemas.openxmlformats.org/officeDocument/2006/relationships/image" Target="../media/image120.png"/><Relationship Id="rId4" Type="http://schemas.openxmlformats.org/officeDocument/2006/relationships/image" Target="../media/image119.png"/></Relationships>
</file>

<file path=ppt/slides/_rels/slide7.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svg"/><Relationship Id="rId3" Type="http://schemas.openxmlformats.org/officeDocument/2006/relationships/image" Target="../media/image123.svg"/><Relationship Id="rId7" Type="http://schemas.openxmlformats.org/officeDocument/2006/relationships/image" Target="../media/image127.svg"/><Relationship Id="rId12" Type="http://schemas.openxmlformats.org/officeDocument/2006/relationships/image" Target="../media/image132.png"/><Relationship Id="rId2" Type="http://schemas.openxmlformats.org/officeDocument/2006/relationships/image" Target="../media/image122.png"/><Relationship Id="rId1" Type="http://schemas.openxmlformats.org/officeDocument/2006/relationships/slideLayout" Target="../slideLayouts/slideLayout14.xml"/><Relationship Id="rId6" Type="http://schemas.openxmlformats.org/officeDocument/2006/relationships/image" Target="../media/image126.png"/><Relationship Id="rId11" Type="http://schemas.openxmlformats.org/officeDocument/2006/relationships/image" Target="../media/image131.svg"/><Relationship Id="rId5" Type="http://schemas.openxmlformats.org/officeDocument/2006/relationships/image" Target="../media/image125.svg"/><Relationship Id="rId15" Type="http://schemas.openxmlformats.org/officeDocument/2006/relationships/image" Target="../media/image135.sv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svg"/><Relationship Id="rId14" Type="http://schemas.openxmlformats.org/officeDocument/2006/relationships/image" Target="../media/image134.png"/></Relationships>
</file>

<file path=ppt/slides/_rels/slide8.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svg"/><Relationship Id="rId3" Type="http://schemas.openxmlformats.org/officeDocument/2006/relationships/image" Target="../media/image123.svg"/><Relationship Id="rId7" Type="http://schemas.openxmlformats.org/officeDocument/2006/relationships/image" Target="../media/image127.svg"/><Relationship Id="rId12" Type="http://schemas.openxmlformats.org/officeDocument/2006/relationships/image" Target="../media/image132.png"/><Relationship Id="rId2" Type="http://schemas.openxmlformats.org/officeDocument/2006/relationships/image" Target="../media/image122.png"/><Relationship Id="rId1" Type="http://schemas.openxmlformats.org/officeDocument/2006/relationships/slideLayout" Target="../slideLayouts/slideLayout14.xml"/><Relationship Id="rId6" Type="http://schemas.openxmlformats.org/officeDocument/2006/relationships/image" Target="../media/image126.png"/><Relationship Id="rId11" Type="http://schemas.openxmlformats.org/officeDocument/2006/relationships/image" Target="../media/image131.svg"/><Relationship Id="rId5" Type="http://schemas.openxmlformats.org/officeDocument/2006/relationships/image" Target="../media/image125.svg"/><Relationship Id="rId15" Type="http://schemas.openxmlformats.org/officeDocument/2006/relationships/image" Target="../media/image135.sv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svg"/><Relationship Id="rId14" Type="http://schemas.openxmlformats.org/officeDocument/2006/relationships/image" Target="../media/image134.png"/></Relationships>
</file>

<file path=ppt/slides/_rels/slide9.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4.sv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139.svg"/><Relationship Id="rId11" Type="http://schemas.openxmlformats.org/officeDocument/2006/relationships/image" Target="../media/image5.png"/><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8D201BEF-7C4F-B713-D684-D3D23168C4D3}"/>
              </a:ext>
            </a:extLst>
          </p:cNvPr>
          <p:cNvSpPr>
            <a:spLocks noGrp="1"/>
          </p:cNvSpPr>
          <p:nvPr>
            <p:ph type="subTitle" idx="1"/>
          </p:nvPr>
        </p:nvSpPr>
        <p:spPr>
          <a:xfrm>
            <a:off x="666854" y="3953542"/>
            <a:ext cx="5180542" cy="365760"/>
          </a:xfrm>
        </p:spPr>
        <p:txBody>
          <a:bodyPr/>
          <a:lstStyle/>
          <a:p>
            <a:r>
              <a:rPr lang="en-US" dirty="0"/>
              <a:t>José Fidel Tomás	</a:t>
            </a:r>
          </a:p>
        </p:txBody>
      </p:sp>
      <p:sp>
        <p:nvSpPr>
          <p:cNvPr id="7" name="Text Placeholder 6">
            <a:extLst>
              <a:ext uri="{FF2B5EF4-FFF2-40B4-BE49-F238E27FC236}">
                <a16:creationId xmlns:a16="http://schemas.microsoft.com/office/drawing/2014/main" id="{2A2DA1DA-95E8-EB91-D236-C74688C39BE1}"/>
              </a:ext>
            </a:extLst>
          </p:cNvPr>
          <p:cNvSpPr>
            <a:spLocks noGrp="1"/>
          </p:cNvSpPr>
          <p:nvPr>
            <p:ph type="body" sz="quarter" idx="10"/>
          </p:nvPr>
        </p:nvSpPr>
        <p:spPr>
          <a:xfrm>
            <a:off x="666854" y="4381128"/>
            <a:ext cx="5180542" cy="365760"/>
          </a:xfrm>
        </p:spPr>
        <p:txBody>
          <a:bodyPr/>
          <a:lstStyle/>
          <a:p>
            <a:r>
              <a:rPr lang="en-US" dirty="0"/>
              <a:t>AIDE Consulting Engineer Specialist - EMEA</a:t>
            </a:r>
          </a:p>
        </p:txBody>
      </p:sp>
      <p:sp>
        <p:nvSpPr>
          <p:cNvPr id="3" name="Title 2">
            <a:extLst>
              <a:ext uri="{FF2B5EF4-FFF2-40B4-BE49-F238E27FC236}">
                <a16:creationId xmlns:a16="http://schemas.microsoft.com/office/drawing/2014/main" id="{B5329D11-AA79-09B2-75D2-6A1AE8EA8CF8}"/>
              </a:ext>
            </a:extLst>
          </p:cNvPr>
          <p:cNvSpPr>
            <a:spLocks noGrp="1"/>
          </p:cNvSpPr>
          <p:nvPr>
            <p:ph type="ctrTitle"/>
          </p:nvPr>
        </p:nvSpPr>
        <p:spPr>
          <a:xfrm>
            <a:off x="666854" y="868363"/>
            <a:ext cx="9829428" cy="2141537"/>
          </a:xfrm>
        </p:spPr>
        <p:txBody>
          <a:bodyPr/>
          <a:lstStyle/>
          <a:p>
            <a:r>
              <a:rPr kumimoji="0" lang="en-US" sz="4800" b="1" i="0" u="none" strike="noStrike" kern="0" cap="none" spc="0" normalizeH="0" baseline="0" noProof="0" dirty="0">
                <a:ln>
                  <a:noFill/>
                </a:ln>
                <a:solidFill>
                  <a:srgbClr val="FFFFFF"/>
                </a:solidFill>
                <a:effectLst/>
                <a:uLnTx/>
                <a:uFillTx/>
                <a:latin typeface="Lato Black" panose="020F0502020204030203" pitchFamily="34" charset="0"/>
                <a:ea typeface="Lato Black" panose="020F0502020204030203" pitchFamily="34" charset="0"/>
                <a:cs typeface="Lato Black" panose="020F0502020204030203" pitchFamily="34" charset="0"/>
              </a:rPr>
              <a:t>AI-Native Networking Platform </a:t>
            </a:r>
            <a:br>
              <a:rPr kumimoji="0" lang="en-US" sz="4800" b="1" i="0" u="none" strike="noStrike" kern="0" cap="none" spc="0" normalizeH="0" baseline="0" noProof="0" dirty="0">
                <a:ln>
                  <a:noFill/>
                </a:ln>
                <a:solidFill>
                  <a:srgbClr val="FFFFFF"/>
                </a:solidFill>
                <a:effectLst/>
                <a:uLnTx/>
                <a:uFillTx/>
                <a:latin typeface="Lato Black" panose="020F0502020204030203" pitchFamily="34" charset="0"/>
                <a:ea typeface="Lato Black" panose="020F0502020204030203" pitchFamily="34" charset="0"/>
                <a:cs typeface="Lato Black" panose="020F0502020204030203" pitchFamily="34" charset="0"/>
              </a:rPr>
            </a:br>
            <a:r>
              <a:rPr kumimoji="0" lang="en-US" sz="4400" b="0" u="none" strike="noStrike" kern="0" cap="none" spc="0" normalizeH="0" baseline="0" noProof="0" dirty="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Lo </a:t>
            </a:r>
            <a:r>
              <a:rPr kumimoji="0" lang="en-US" sz="4400" b="0" u="none" strike="noStrike" kern="0" cap="none" spc="0" normalizeH="0" baseline="0" noProof="0" dirty="0" err="1">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último</a:t>
            </a:r>
            <a:r>
              <a:rPr kumimoji="0" lang="en-US" sz="4400" b="0" u="none" strike="noStrike" kern="0" cap="none" spc="0" normalizeH="0" baseline="0" noProof="0" dirty="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 </a:t>
            </a:r>
            <a:r>
              <a:rPr lang="en-US" sz="4400" b="0" kern="0" dirty="0">
                <a:solidFill>
                  <a:srgbClr val="FFFFFF"/>
                </a:solidFill>
                <a:latin typeface="Lato" panose="020F0502020204030203" pitchFamily="34" charset="0"/>
                <a:ea typeface="Lato" panose="020F0502020204030203" pitchFamily="34" charset="0"/>
                <a:cs typeface="Lato" panose="020F0502020204030203" pitchFamily="34" charset="0"/>
              </a:rPr>
              <a:t>p</a:t>
            </a:r>
            <a:r>
              <a:rPr kumimoji="0" lang="en-US" sz="4400" b="0" u="none" strike="noStrike" kern="0" cap="none" spc="0" normalizeH="0" baseline="0" noProof="0" dirty="0" err="1">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ara</a:t>
            </a:r>
            <a:r>
              <a:rPr kumimoji="0" lang="en-US" sz="4400" b="0" u="none" strike="noStrike" kern="0" cap="none" spc="0" normalizeH="0" baseline="0" noProof="0" dirty="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 redes de Campus </a:t>
            </a:r>
            <a:r>
              <a:rPr kumimoji="0" lang="en-US" sz="4400" b="0" u="none" strike="noStrike" kern="0" cap="none" spc="0" normalizeH="0" baseline="0" noProof="0" dirty="0" err="1">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Universitarios</a:t>
            </a:r>
            <a:endParaRPr lang="en-US" b="0" dirty="0"/>
          </a:p>
        </p:txBody>
      </p:sp>
      <p:pic>
        <p:nvPicPr>
          <p:cNvPr id="1026" name="Picture 2">
            <a:extLst>
              <a:ext uri="{FF2B5EF4-FFF2-40B4-BE49-F238E27FC236}">
                <a16:creationId xmlns:a16="http://schemas.microsoft.com/office/drawing/2014/main" id="{1E3EE575-A294-6FBE-1796-3CB612E280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47622" y="0"/>
            <a:ext cx="1544378" cy="2141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794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08A95-95B3-FDA5-FF96-4414BCAF5719}"/>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80C9B596-F84A-8138-8384-0AC02BFC775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38297"/>
          <a:stretch/>
        </p:blipFill>
        <p:spPr>
          <a:xfrm>
            <a:off x="2326163" y="2428171"/>
            <a:ext cx="7465020" cy="3467532"/>
          </a:xfrm>
          <a:prstGeom prst="rect">
            <a:avLst/>
          </a:prstGeom>
        </p:spPr>
      </p:pic>
      <p:grpSp>
        <p:nvGrpSpPr>
          <p:cNvPr id="41" name="Group 40">
            <a:extLst>
              <a:ext uri="{FF2B5EF4-FFF2-40B4-BE49-F238E27FC236}">
                <a16:creationId xmlns:a16="http://schemas.microsoft.com/office/drawing/2014/main" id="{EE65AD88-1EDB-D0D6-29BB-9CA1BBC24263}"/>
              </a:ext>
            </a:extLst>
          </p:cNvPr>
          <p:cNvGrpSpPr/>
          <p:nvPr/>
        </p:nvGrpSpPr>
        <p:grpSpPr>
          <a:xfrm>
            <a:off x="1891860" y="4290882"/>
            <a:ext cx="8412480" cy="1691907"/>
            <a:chOff x="1558731" y="4011206"/>
            <a:chExt cx="8980231" cy="1644205"/>
          </a:xfrm>
        </p:grpSpPr>
        <p:sp>
          <p:nvSpPr>
            <p:cNvPr id="42" name="Freeform: Shape 10">
              <a:extLst>
                <a:ext uri="{FF2B5EF4-FFF2-40B4-BE49-F238E27FC236}">
                  <a16:creationId xmlns:a16="http://schemas.microsoft.com/office/drawing/2014/main" id="{2E8AF17F-CBE5-CCA1-8E81-F09DA9A923C0}"/>
                </a:ext>
              </a:extLst>
            </p:cNvPr>
            <p:cNvSpPr/>
            <p:nvPr/>
          </p:nvSpPr>
          <p:spPr>
            <a:xfrm>
              <a:off x="1558731" y="4011206"/>
              <a:ext cx="914400" cy="1644205"/>
            </a:xfrm>
            <a:custGeom>
              <a:avLst/>
              <a:gdLst>
                <a:gd name="connsiteX0" fmla="*/ 942536 w 942536"/>
                <a:gd name="connsiteY0" fmla="*/ 1083213 h 1083213"/>
                <a:gd name="connsiteX1" fmla="*/ 0 w 942536"/>
                <a:gd name="connsiteY1" fmla="*/ 1083213 h 1083213"/>
                <a:gd name="connsiteX2" fmla="*/ 0 w 942536"/>
                <a:gd name="connsiteY2" fmla="*/ 0 h 1083213"/>
              </a:gdLst>
              <a:ahLst/>
              <a:cxnLst>
                <a:cxn ang="0">
                  <a:pos x="connsiteX0" y="connsiteY0"/>
                </a:cxn>
                <a:cxn ang="0">
                  <a:pos x="connsiteX1" y="connsiteY1"/>
                </a:cxn>
                <a:cxn ang="0">
                  <a:pos x="connsiteX2" y="connsiteY2"/>
                </a:cxn>
              </a:cxnLst>
              <a:rect l="l" t="t" r="r" b="b"/>
              <a:pathLst>
                <a:path w="942536" h="1083213">
                  <a:moveTo>
                    <a:pt x="942536" y="1083213"/>
                  </a:moveTo>
                  <a:lnTo>
                    <a:pt x="0" y="1083213"/>
                  </a:lnTo>
                  <a:lnTo>
                    <a:pt x="0" y="0"/>
                  </a:lnTo>
                </a:path>
              </a:pathLst>
            </a:custGeom>
            <a:noFill/>
            <a:ln w="12700" cap="flat" cmpd="sng" algn="ctr">
              <a:solidFill>
                <a:schemeClr val="accent2"/>
              </a:solidFill>
              <a:prstDash val="dash"/>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43" name="Freeform: Shape 71">
              <a:extLst>
                <a:ext uri="{FF2B5EF4-FFF2-40B4-BE49-F238E27FC236}">
                  <a16:creationId xmlns:a16="http://schemas.microsoft.com/office/drawing/2014/main" id="{D89983ED-5A7F-AAEE-0E3C-C3838AB22B00}"/>
                </a:ext>
              </a:extLst>
            </p:cNvPr>
            <p:cNvSpPr/>
            <p:nvPr/>
          </p:nvSpPr>
          <p:spPr>
            <a:xfrm flipH="1">
              <a:off x="9624562" y="4011206"/>
              <a:ext cx="914400" cy="1644205"/>
            </a:xfrm>
            <a:custGeom>
              <a:avLst/>
              <a:gdLst>
                <a:gd name="connsiteX0" fmla="*/ 942536 w 942536"/>
                <a:gd name="connsiteY0" fmla="*/ 1083213 h 1083213"/>
                <a:gd name="connsiteX1" fmla="*/ 0 w 942536"/>
                <a:gd name="connsiteY1" fmla="*/ 1083213 h 1083213"/>
                <a:gd name="connsiteX2" fmla="*/ 0 w 942536"/>
                <a:gd name="connsiteY2" fmla="*/ 0 h 1083213"/>
              </a:gdLst>
              <a:ahLst/>
              <a:cxnLst>
                <a:cxn ang="0">
                  <a:pos x="connsiteX0" y="connsiteY0"/>
                </a:cxn>
                <a:cxn ang="0">
                  <a:pos x="connsiteX1" y="connsiteY1"/>
                </a:cxn>
                <a:cxn ang="0">
                  <a:pos x="connsiteX2" y="connsiteY2"/>
                </a:cxn>
              </a:cxnLst>
              <a:rect l="l" t="t" r="r" b="b"/>
              <a:pathLst>
                <a:path w="942536" h="1083213">
                  <a:moveTo>
                    <a:pt x="942536" y="1083213"/>
                  </a:moveTo>
                  <a:lnTo>
                    <a:pt x="0" y="1083213"/>
                  </a:lnTo>
                  <a:lnTo>
                    <a:pt x="0" y="0"/>
                  </a:lnTo>
                </a:path>
              </a:pathLst>
            </a:custGeom>
            <a:noFill/>
            <a:ln w="12700" cap="flat" cmpd="sng" algn="ctr">
              <a:solidFill>
                <a:schemeClr val="accent2"/>
              </a:solidFill>
              <a:prstDash val="dash"/>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grpSp>
      <p:sp>
        <p:nvSpPr>
          <p:cNvPr id="4" name="Title 3">
            <a:extLst>
              <a:ext uri="{FF2B5EF4-FFF2-40B4-BE49-F238E27FC236}">
                <a16:creationId xmlns:a16="http://schemas.microsoft.com/office/drawing/2014/main" id="{17201722-6A30-9CB0-7964-10954D6DF552}"/>
              </a:ext>
            </a:extLst>
          </p:cNvPr>
          <p:cNvSpPr>
            <a:spLocks noGrp="1"/>
          </p:cNvSpPr>
          <p:nvPr>
            <p:ph type="title"/>
          </p:nvPr>
        </p:nvSpPr>
        <p:spPr/>
        <p:txBody>
          <a:bodyPr/>
          <a:lstStyle/>
          <a:p>
            <a:r>
              <a:rPr lang="en-US" sz="4000"/>
              <a:t>AI-Native Networking </a:t>
            </a:r>
            <a:endParaRPr lang="en-US"/>
          </a:p>
        </p:txBody>
      </p:sp>
      <p:sp>
        <p:nvSpPr>
          <p:cNvPr id="3" name="Text Placeholder 2">
            <a:extLst>
              <a:ext uri="{FF2B5EF4-FFF2-40B4-BE49-F238E27FC236}">
                <a16:creationId xmlns:a16="http://schemas.microsoft.com/office/drawing/2014/main" id="{AB008D54-842A-1769-445D-6DCFE91F76B3}"/>
              </a:ext>
            </a:extLst>
          </p:cNvPr>
          <p:cNvSpPr>
            <a:spLocks noGrp="1"/>
          </p:cNvSpPr>
          <p:nvPr>
            <p:ph type="body" sz="quarter" idx="13"/>
          </p:nvPr>
        </p:nvSpPr>
        <p:spPr/>
        <p:txBody>
          <a:bodyPr/>
          <a:lstStyle/>
          <a:p>
            <a:r>
              <a:rPr lang="en-US"/>
              <a:t>Going beyond "single pane of glass" dashboard…</a:t>
            </a:r>
          </a:p>
        </p:txBody>
      </p:sp>
      <p:sp>
        <p:nvSpPr>
          <p:cNvPr id="37" name="Google Shape;664;p10">
            <a:extLst>
              <a:ext uri="{FF2B5EF4-FFF2-40B4-BE49-F238E27FC236}">
                <a16:creationId xmlns:a16="http://schemas.microsoft.com/office/drawing/2014/main" id="{25BDC167-4FF9-0B93-FF59-659E1FBC6E3D}"/>
              </a:ext>
            </a:extLst>
          </p:cNvPr>
          <p:cNvSpPr>
            <a:spLocks/>
          </p:cNvSpPr>
          <p:nvPr/>
        </p:nvSpPr>
        <p:spPr>
          <a:xfrm>
            <a:off x="2290354" y="5795224"/>
            <a:ext cx="7611292" cy="365760"/>
          </a:xfrm>
          <a:prstGeom prst="leftRightArrow">
            <a:avLst>
              <a:gd name="adj1" fmla="val 100000"/>
              <a:gd name="adj2" fmla="val 25264"/>
            </a:avLst>
          </a:prstGeom>
          <a:solidFill>
            <a:schemeClr val="accent3"/>
          </a:solidFill>
          <a:ln>
            <a:noFill/>
          </a:ln>
        </p:spPr>
        <p:txBody>
          <a:bodyPr spcFirstLastPara="1" wrap="square" lIns="162525" tIns="9144" rIns="162525" bIns="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all" spc="0" normalizeH="0" baseline="0" noProof="0">
                <a:ln>
                  <a:noFill/>
                </a:ln>
                <a:solidFill>
                  <a:srgbClr val="FFFFFF"/>
                </a:solidFill>
                <a:effectLst/>
                <a:uLnTx/>
                <a:uFillTx/>
                <a:latin typeface="Lato"/>
                <a:ea typeface="Lato"/>
                <a:cs typeface="Lato"/>
                <a:sym typeface="Lato"/>
              </a:rPr>
              <a:t>CONNECTED SECURITY</a:t>
            </a:r>
          </a:p>
        </p:txBody>
      </p:sp>
      <p:sp>
        <p:nvSpPr>
          <p:cNvPr id="38" name="Google Shape;655;p10">
            <a:extLst>
              <a:ext uri="{FF2B5EF4-FFF2-40B4-BE49-F238E27FC236}">
                <a16:creationId xmlns:a16="http://schemas.microsoft.com/office/drawing/2014/main" id="{D4105563-A979-AD35-4938-A4C64C06F7FB}"/>
              </a:ext>
            </a:extLst>
          </p:cNvPr>
          <p:cNvSpPr txBox="1"/>
          <p:nvPr/>
        </p:nvSpPr>
        <p:spPr>
          <a:xfrm>
            <a:off x="792480" y="3850358"/>
            <a:ext cx="2194560" cy="215444"/>
          </a:xfrm>
          <a:prstGeom prst="rect">
            <a:avLst/>
          </a:prstGeom>
          <a:noFill/>
          <a:ln>
            <a:noFill/>
          </a:ln>
        </p:spPr>
        <p:txBody>
          <a:bodyPr spcFirstLastPara="1" wrap="square" lIns="0" tIns="0" rIns="0" bIns="0" anchor="t"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Lato"/>
                <a:ea typeface="Lato"/>
                <a:cs typeface="Lato"/>
                <a:sym typeface="Lato"/>
              </a:rPr>
              <a:t>Devices and users</a:t>
            </a:r>
            <a:endParaRPr kumimoji="0" lang="en-US" sz="2000" b="0" i="0" u="none" strike="noStrike" kern="0" cap="none" spc="0" normalizeH="0" baseline="0" noProof="0">
              <a:ln>
                <a:noFill/>
              </a:ln>
              <a:solidFill>
                <a:srgbClr val="FFFFFF"/>
              </a:solidFill>
              <a:effectLst/>
              <a:uLnTx/>
              <a:uFillTx/>
              <a:latin typeface="Lato"/>
              <a:ea typeface="+mn-ea"/>
              <a:cs typeface="+mn-cs"/>
            </a:endParaRPr>
          </a:p>
        </p:txBody>
      </p:sp>
      <p:sp>
        <p:nvSpPr>
          <p:cNvPr id="39" name="Google Shape;656;p10">
            <a:extLst>
              <a:ext uri="{FF2B5EF4-FFF2-40B4-BE49-F238E27FC236}">
                <a16:creationId xmlns:a16="http://schemas.microsoft.com/office/drawing/2014/main" id="{566180B7-E29B-1965-5E4F-D6F4B6B8ACFF}"/>
              </a:ext>
            </a:extLst>
          </p:cNvPr>
          <p:cNvSpPr txBox="1"/>
          <p:nvPr/>
        </p:nvSpPr>
        <p:spPr>
          <a:xfrm>
            <a:off x="9205966" y="3850358"/>
            <a:ext cx="2194560" cy="215444"/>
          </a:xfrm>
          <a:prstGeom prst="rect">
            <a:avLst/>
          </a:prstGeom>
          <a:noFill/>
          <a:ln>
            <a:noFill/>
          </a:ln>
        </p:spPr>
        <p:txBody>
          <a:bodyPr spcFirstLastPara="1" wrap="square" lIns="0" tIns="0" rIns="0" bIns="0" anchor="t"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Lato"/>
                <a:ea typeface="Lato"/>
                <a:cs typeface="Lato"/>
                <a:sym typeface="Lato"/>
              </a:rPr>
              <a:t>Multi-cloud Apps</a:t>
            </a:r>
            <a:endParaRPr kumimoji="0" lang="en-US" sz="2000" b="0" i="0" u="none" strike="noStrike" kern="0" cap="none" spc="0" normalizeH="0" baseline="0" noProof="0">
              <a:ln>
                <a:noFill/>
              </a:ln>
              <a:solidFill>
                <a:srgbClr val="FFFFFF"/>
              </a:solidFill>
              <a:effectLst/>
              <a:uLnTx/>
              <a:uFillTx/>
              <a:latin typeface="Lato"/>
              <a:ea typeface="+mn-ea"/>
              <a:cs typeface="+mn-cs"/>
            </a:endParaRPr>
          </a:p>
        </p:txBody>
      </p:sp>
      <p:sp>
        <p:nvSpPr>
          <p:cNvPr id="48" name="Cloud fill">
            <a:extLst>
              <a:ext uri="{FF2B5EF4-FFF2-40B4-BE49-F238E27FC236}">
                <a16:creationId xmlns:a16="http://schemas.microsoft.com/office/drawing/2014/main" id="{223364B3-BA59-1A7C-E1D0-C3455221AF41}"/>
              </a:ext>
            </a:extLst>
          </p:cNvPr>
          <p:cNvSpPr>
            <a:spLocks noChangeAspect="1"/>
          </p:cNvSpPr>
          <p:nvPr/>
        </p:nvSpPr>
        <p:spPr>
          <a:xfrm>
            <a:off x="4920345" y="2664867"/>
            <a:ext cx="2351312" cy="1247286"/>
          </a:xfrm>
          <a:custGeom>
            <a:avLst/>
            <a:gdLst>
              <a:gd name="connsiteX0" fmla="*/ 729999 w 850394"/>
              <a:gd name="connsiteY0" fmla="*/ 213360 h 451104"/>
              <a:gd name="connsiteX1" fmla="*/ 729999 w 850394"/>
              <a:gd name="connsiteY1" fmla="*/ 213360 h 451104"/>
              <a:gd name="connsiteX2" fmla="*/ 598934 w 850394"/>
              <a:gd name="connsiteY2" fmla="*/ 88392 h 451104"/>
              <a:gd name="connsiteX3" fmla="*/ 592838 w 850394"/>
              <a:gd name="connsiteY3" fmla="*/ 88392 h 451104"/>
              <a:gd name="connsiteX4" fmla="*/ 588266 w 850394"/>
              <a:gd name="connsiteY4" fmla="*/ 88392 h 451104"/>
              <a:gd name="connsiteX5" fmla="*/ 588266 w 850394"/>
              <a:gd name="connsiteY5" fmla="*/ 88392 h 451104"/>
              <a:gd name="connsiteX6" fmla="*/ 588266 w 850394"/>
              <a:gd name="connsiteY6" fmla="*/ 88392 h 451104"/>
              <a:gd name="connsiteX7" fmla="*/ 545594 w 850394"/>
              <a:gd name="connsiteY7" fmla="*/ 94488 h 451104"/>
              <a:gd name="connsiteX8" fmla="*/ 362713 w 850394"/>
              <a:gd name="connsiteY8" fmla="*/ 0 h 451104"/>
              <a:gd name="connsiteX9" fmla="*/ 362713 w 850394"/>
              <a:gd name="connsiteY9" fmla="*/ 0 h 451104"/>
              <a:gd name="connsiteX10" fmla="*/ 362713 w 850394"/>
              <a:gd name="connsiteY10" fmla="*/ 0 h 451104"/>
              <a:gd name="connsiteX11" fmla="*/ 353569 w 850394"/>
              <a:gd name="connsiteY11" fmla="*/ 0 h 451104"/>
              <a:gd name="connsiteX12" fmla="*/ 342901 w 850394"/>
              <a:gd name="connsiteY12" fmla="*/ 0 h 451104"/>
              <a:gd name="connsiteX13" fmla="*/ 326137 w 850394"/>
              <a:gd name="connsiteY13" fmla="*/ 1524 h 451104"/>
              <a:gd name="connsiteX14" fmla="*/ 324613 w 850394"/>
              <a:gd name="connsiteY14" fmla="*/ 1524 h 451104"/>
              <a:gd name="connsiteX15" fmla="*/ 138685 w 850394"/>
              <a:gd name="connsiteY15" fmla="*/ 213360 h 451104"/>
              <a:gd name="connsiteX16" fmla="*/ 118872 w 850394"/>
              <a:gd name="connsiteY16" fmla="*/ 213360 h 451104"/>
              <a:gd name="connsiteX17" fmla="*/ 0 w 850394"/>
              <a:gd name="connsiteY17" fmla="*/ 332232 h 451104"/>
              <a:gd name="connsiteX18" fmla="*/ 118872 w 850394"/>
              <a:gd name="connsiteY18" fmla="*/ 451104 h 451104"/>
              <a:gd name="connsiteX19" fmla="*/ 147829 w 850394"/>
              <a:gd name="connsiteY19" fmla="*/ 451104 h 451104"/>
              <a:gd name="connsiteX20" fmla="*/ 147829 w 850394"/>
              <a:gd name="connsiteY20" fmla="*/ 451104 h 451104"/>
              <a:gd name="connsiteX21" fmla="*/ 731523 w 850394"/>
              <a:gd name="connsiteY21" fmla="*/ 451104 h 451104"/>
              <a:gd name="connsiteX22" fmla="*/ 850395 w 850394"/>
              <a:gd name="connsiteY22" fmla="*/ 332232 h 451104"/>
              <a:gd name="connsiteX23" fmla="*/ 729999 w 850394"/>
              <a:gd name="connsiteY23" fmla="*/ 213360 h 45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0394" h="451104">
                <a:moveTo>
                  <a:pt x="729999" y="213360"/>
                </a:moveTo>
                <a:lnTo>
                  <a:pt x="729999" y="213360"/>
                </a:lnTo>
                <a:cubicBezTo>
                  <a:pt x="722379" y="146304"/>
                  <a:pt x="667514" y="92964"/>
                  <a:pt x="598934" y="88392"/>
                </a:cubicBezTo>
                <a:cubicBezTo>
                  <a:pt x="597410" y="88392"/>
                  <a:pt x="595886" y="88392"/>
                  <a:pt x="592838" y="88392"/>
                </a:cubicBezTo>
                <a:cubicBezTo>
                  <a:pt x="591314" y="88392"/>
                  <a:pt x="589790" y="88392"/>
                  <a:pt x="588266" y="88392"/>
                </a:cubicBezTo>
                <a:cubicBezTo>
                  <a:pt x="588266" y="88392"/>
                  <a:pt x="588266" y="88392"/>
                  <a:pt x="588266" y="88392"/>
                </a:cubicBezTo>
                <a:cubicBezTo>
                  <a:pt x="588266" y="88392"/>
                  <a:pt x="588266" y="88392"/>
                  <a:pt x="588266" y="88392"/>
                </a:cubicBezTo>
                <a:cubicBezTo>
                  <a:pt x="573026" y="88392"/>
                  <a:pt x="559310" y="91440"/>
                  <a:pt x="545594" y="94488"/>
                </a:cubicBezTo>
                <a:cubicBezTo>
                  <a:pt x="504446" y="36576"/>
                  <a:pt x="438914" y="0"/>
                  <a:pt x="362713" y="0"/>
                </a:cubicBezTo>
                <a:cubicBezTo>
                  <a:pt x="362713" y="0"/>
                  <a:pt x="362713" y="0"/>
                  <a:pt x="362713" y="0"/>
                </a:cubicBezTo>
                <a:cubicBezTo>
                  <a:pt x="362713" y="0"/>
                  <a:pt x="362713" y="0"/>
                  <a:pt x="362713" y="0"/>
                </a:cubicBezTo>
                <a:cubicBezTo>
                  <a:pt x="359665" y="0"/>
                  <a:pt x="356617" y="0"/>
                  <a:pt x="353569" y="0"/>
                </a:cubicBezTo>
                <a:cubicBezTo>
                  <a:pt x="350521" y="0"/>
                  <a:pt x="345949" y="0"/>
                  <a:pt x="342901" y="0"/>
                </a:cubicBezTo>
                <a:cubicBezTo>
                  <a:pt x="336805" y="0"/>
                  <a:pt x="330709" y="1524"/>
                  <a:pt x="326137" y="1524"/>
                </a:cubicBezTo>
                <a:cubicBezTo>
                  <a:pt x="326137" y="1524"/>
                  <a:pt x="324613" y="1524"/>
                  <a:pt x="324613" y="1524"/>
                </a:cubicBezTo>
                <a:cubicBezTo>
                  <a:pt x="220981" y="19812"/>
                  <a:pt x="141733" y="106680"/>
                  <a:pt x="138685" y="213360"/>
                </a:cubicBezTo>
                <a:lnTo>
                  <a:pt x="118872" y="213360"/>
                </a:lnTo>
                <a:cubicBezTo>
                  <a:pt x="53340" y="213360"/>
                  <a:pt x="0" y="266700"/>
                  <a:pt x="0" y="332232"/>
                </a:cubicBezTo>
                <a:cubicBezTo>
                  <a:pt x="0" y="397764"/>
                  <a:pt x="53340" y="451104"/>
                  <a:pt x="118872" y="451104"/>
                </a:cubicBezTo>
                <a:lnTo>
                  <a:pt x="147829" y="451104"/>
                </a:lnTo>
                <a:lnTo>
                  <a:pt x="147829" y="451104"/>
                </a:lnTo>
                <a:lnTo>
                  <a:pt x="731523" y="451104"/>
                </a:lnTo>
                <a:cubicBezTo>
                  <a:pt x="797055" y="451104"/>
                  <a:pt x="850395" y="397764"/>
                  <a:pt x="850395" y="332232"/>
                </a:cubicBezTo>
                <a:cubicBezTo>
                  <a:pt x="847347" y="266700"/>
                  <a:pt x="795531" y="213360"/>
                  <a:pt x="729999" y="213360"/>
                </a:cubicBezTo>
                <a:close/>
              </a:path>
            </a:pathLst>
          </a:custGeom>
          <a:solidFill>
            <a:srgbClr val="F2F2F3"/>
          </a:solidFill>
          <a:ln w="19050" cap="flat">
            <a:solidFill>
              <a:srgbClr val="A6A6A7"/>
            </a:solidFill>
            <a:prstDash val="solid"/>
            <a:miter/>
          </a:ln>
        </p:spPr>
        <p:txBody>
          <a:bodyPr wrap="none" lIns="0" tIns="45720" rIns="0" bIns="0"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F4F4F"/>
              </a:solidFill>
              <a:effectLst/>
              <a:uLnTx/>
              <a:uFillTx/>
              <a:latin typeface="Lato"/>
              <a:ea typeface="+mn-ea"/>
              <a:cs typeface="+mn-cs"/>
            </a:endParaRPr>
          </a:p>
        </p:txBody>
      </p:sp>
      <p:grpSp>
        <p:nvGrpSpPr>
          <p:cNvPr id="53" name="Group 52">
            <a:extLst>
              <a:ext uri="{FF2B5EF4-FFF2-40B4-BE49-F238E27FC236}">
                <a16:creationId xmlns:a16="http://schemas.microsoft.com/office/drawing/2014/main" id="{F3CADED7-2B76-22E3-27FC-2C62E7437A0C}"/>
              </a:ext>
            </a:extLst>
          </p:cNvPr>
          <p:cNvGrpSpPr/>
          <p:nvPr/>
        </p:nvGrpSpPr>
        <p:grpSpPr>
          <a:xfrm>
            <a:off x="949233" y="3266579"/>
            <a:ext cx="1881054" cy="506215"/>
            <a:chOff x="882036" y="2608768"/>
            <a:chExt cx="2208587" cy="594360"/>
          </a:xfrm>
          <a:solidFill>
            <a:schemeClr val="tx1">
              <a:alpha val="76000"/>
            </a:schemeClr>
          </a:solidFill>
        </p:grpSpPr>
        <p:pic>
          <p:nvPicPr>
            <p:cNvPr id="54" name="Graphic 53">
              <a:extLst>
                <a:ext uri="{FF2B5EF4-FFF2-40B4-BE49-F238E27FC236}">
                  <a16:creationId xmlns:a16="http://schemas.microsoft.com/office/drawing/2014/main" id="{0B608C23-A1B2-5E5B-4CAA-E4AA30E6B7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2036" y="2608768"/>
              <a:ext cx="587526" cy="587526"/>
            </a:xfrm>
            <a:prstGeom prst="rect">
              <a:avLst/>
            </a:prstGeom>
          </p:spPr>
        </p:pic>
        <p:pic>
          <p:nvPicPr>
            <p:cNvPr id="57" name="Graphic 56">
              <a:extLst>
                <a:ext uri="{FF2B5EF4-FFF2-40B4-BE49-F238E27FC236}">
                  <a16:creationId xmlns:a16="http://schemas.microsoft.com/office/drawing/2014/main" id="{4D6B9CDA-3865-1EDA-5404-AD13FCA442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012" y="2664820"/>
              <a:ext cx="598611" cy="532099"/>
            </a:xfrm>
            <a:prstGeom prst="rect">
              <a:avLst/>
            </a:prstGeom>
          </p:spPr>
        </p:pic>
        <p:pic>
          <p:nvPicPr>
            <p:cNvPr id="59" name="Graphic 58">
              <a:extLst>
                <a:ext uri="{FF2B5EF4-FFF2-40B4-BE49-F238E27FC236}">
                  <a16:creationId xmlns:a16="http://schemas.microsoft.com/office/drawing/2014/main" id="{6D3260F3-445E-753D-6795-835F3EEE7B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9311" y="2648858"/>
              <a:ext cx="642953" cy="554270"/>
            </a:xfrm>
            <a:prstGeom prst="rect">
              <a:avLst/>
            </a:prstGeom>
          </p:spPr>
        </p:pic>
      </p:grpSp>
      <p:pic>
        <p:nvPicPr>
          <p:cNvPr id="72" name="Graphic 71">
            <a:extLst>
              <a:ext uri="{FF2B5EF4-FFF2-40B4-BE49-F238E27FC236}">
                <a16:creationId xmlns:a16="http://schemas.microsoft.com/office/drawing/2014/main" id="{A73B4DDA-9049-135E-0EDB-57916F56713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52544" y="3344092"/>
            <a:ext cx="699392" cy="473118"/>
          </a:xfrm>
          <a:prstGeom prst="rect">
            <a:avLst/>
          </a:prstGeom>
        </p:spPr>
      </p:pic>
      <p:sp>
        <p:nvSpPr>
          <p:cNvPr id="88" name="TextBox 87">
            <a:extLst>
              <a:ext uri="{FF2B5EF4-FFF2-40B4-BE49-F238E27FC236}">
                <a16:creationId xmlns:a16="http://schemas.microsoft.com/office/drawing/2014/main" id="{84E93ABD-BD29-E2A7-39E9-EB8AD98056CD}"/>
              </a:ext>
            </a:extLst>
          </p:cNvPr>
          <p:cNvSpPr txBox="1"/>
          <p:nvPr/>
        </p:nvSpPr>
        <p:spPr>
          <a:xfrm>
            <a:off x="7300785" y="2290553"/>
            <a:ext cx="143553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Lato"/>
                <a:ea typeface="+mn-ea"/>
                <a:cs typeface="+mn-cs"/>
              </a:rPr>
              <a:t>Marvis VNA</a:t>
            </a:r>
          </a:p>
        </p:txBody>
      </p:sp>
      <p:pic>
        <p:nvPicPr>
          <p:cNvPr id="7" name="Graphic 6">
            <a:extLst>
              <a:ext uri="{FF2B5EF4-FFF2-40B4-BE49-F238E27FC236}">
                <a16:creationId xmlns:a16="http://schemas.microsoft.com/office/drawing/2014/main" id="{062DD0C8-D517-F7B1-02E1-AF39D10E6C8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657407" y="2664553"/>
            <a:ext cx="546068" cy="523778"/>
          </a:xfrm>
          <a:prstGeom prst="rect">
            <a:avLst/>
          </a:prstGeom>
        </p:spPr>
      </p:pic>
      <p:pic>
        <p:nvPicPr>
          <p:cNvPr id="11" name="Graphic 10">
            <a:extLst>
              <a:ext uri="{FF2B5EF4-FFF2-40B4-BE49-F238E27FC236}">
                <a16:creationId xmlns:a16="http://schemas.microsoft.com/office/drawing/2014/main" id="{A52A7AC1-FBE5-F56E-092A-1F8E419003B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89145" y="3220142"/>
            <a:ext cx="1408832" cy="464450"/>
          </a:xfrm>
          <a:prstGeom prst="rect">
            <a:avLst/>
          </a:prstGeom>
        </p:spPr>
      </p:pic>
      <p:sp>
        <p:nvSpPr>
          <p:cNvPr id="10" name="Speech Bubble: Rectangle with Corners Rounded 73">
            <a:extLst>
              <a:ext uri="{FF2B5EF4-FFF2-40B4-BE49-F238E27FC236}">
                <a16:creationId xmlns:a16="http://schemas.microsoft.com/office/drawing/2014/main" id="{3C3DA264-CE96-3080-A6A2-43BCDC6D1590}"/>
              </a:ext>
            </a:extLst>
          </p:cNvPr>
          <p:cNvSpPr/>
          <p:nvPr/>
        </p:nvSpPr>
        <p:spPr>
          <a:xfrm>
            <a:off x="1053735" y="2246811"/>
            <a:ext cx="1576253" cy="609317"/>
          </a:xfrm>
          <a:prstGeom prst="wedgeRoundRectCallout">
            <a:avLst>
              <a:gd name="adj1" fmla="val 48117"/>
              <a:gd name="adj2" fmla="val 108623"/>
              <a:gd name="adj3" fmla="val 16667"/>
            </a:avLst>
          </a:prstGeom>
          <a:solidFill>
            <a:srgbClr val="A6A6A7"/>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FFFFFF"/>
                </a:solidFill>
                <a:effectLst/>
                <a:uLnTx/>
                <a:uFillTx/>
                <a:latin typeface="Lato"/>
                <a:ea typeface="+mn-ea"/>
                <a:cs typeface="+mn-cs"/>
              </a:rPr>
              <a:t>Why is my network experience bad?</a:t>
            </a:r>
          </a:p>
        </p:txBody>
      </p:sp>
      <p:sp>
        <p:nvSpPr>
          <p:cNvPr id="8" name="Oval 7">
            <a:extLst>
              <a:ext uri="{FF2B5EF4-FFF2-40B4-BE49-F238E27FC236}">
                <a16:creationId xmlns:a16="http://schemas.microsoft.com/office/drawing/2014/main" id="{71B5CAA7-D554-BAF6-CE7F-2A543D0A3F2D}"/>
              </a:ext>
            </a:extLst>
          </p:cNvPr>
          <p:cNvSpPr/>
          <p:nvPr/>
        </p:nvSpPr>
        <p:spPr>
          <a:xfrm>
            <a:off x="2588121" y="4920342"/>
            <a:ext cx="914400" cy="914400"/>
          </a:xfrm>
          <a:prstGeom prst="ellipse">
            <a:avLst/>
          </a:prstGeom>
          <a:solidFill>
            <a:schemeClr val="accent2"/>
          </a:solidFill>
          <a:ln>
            <a:solidFill>
              <a:srgbClr val="D9D9D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 name="Oval 1">
            <a:extLst>
              <a:ext uri="{FF2B5EF4-FFF2-40B4-BE49-F238E27FC236}">
                <a16:creationId xmlns:a16="http://schemas.microsoft.com/office/drawing/2014/main" id="{7DE4748C-2826-243E-6B2B-68FBB32E0F6A}"/>
              </a:ext>
            </a:extLst>
          </p:cNvPr>
          <p:cNvSpPr/>
          <p:nvPr/>
        </p:nvSpPr>
        <p:spPr>
          <a:xfrm>
            <a:off x="4157000" y="4920342"/>
            <a:ext cx="914400" cy="914400"/>
          </a:xfrm>
          <a:prstGeom prst="ellipse">
            <a:avLst/>
          </a:prstGeom>
          <a:solidFill>
            <a:schemeClr val="accent2"/>
          </a:solidFill>
          <a:ln>
            <a:solidFill>
              <a:srgbClr val="D9D9D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9" name="Oval 8">
            <a:extLst>
              <a:ext uri="{FF2B5EF4-FFF2-40B4-BE49-F238E27FC236}">
                <a16:creationId xmlns:a16="http://schemas.microsoft.com/office/drawing/2014/main" id="{F6517BB5-2114-C556-0599-639ACF2CBB68}"/>
              </a:ext>
            </a:extLst>
          </p:cNvPr>
          <p:cNvSpPr/>
          <p:nvPr/>
        </p:nvSpPr>
        <p:spPr>
          <a:xfrm>
            <a:off x="5717177" y="4920342"/>
            <a:ext cx="914400" cy="914400"/>
          </a:xfrm>
          <a:prstGeom prst="ellipse">
            <a:avLst/>
          </a:prstGeom>
          <a:solidFill>
            <a:schemeClr val="accent2"/>
          </a:solidFill>
          <a:ln>
            <a:solidFill>
              <a:srgbClr val="D9D9D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13" name="Oval 12">
            <a:extLst>
              <a:ext uri="{FF2B5EF4-FFF2-40B4-BE49-F238E27FC236}">
                <a16:creationId xmlns:a16="http://schemas.microsoft.com/office/drawing/2014/main" id="{846F957B-A7FC-1266-ED5F-6736E51DDE8C}"/>
              </a:ext>
            </a:extLst>
          </p:cNvPr>
          <p:cNvSpPr/>
          <p:nvPr/>
        </p:nvSpPr>
        <p:spPr>
          <a:xfrm>
            <a:off x="7233160" y="4920342"/>
            <a:ext cx="914400" cy="914400"/>
          </a:xfrm>
          <a:prstGeom prst="ellipse">
            <a:avLst/>
          </a:prstGeom>
          <a:solidFill>
            <a:schemeClr val="accent2"/>
          </a:solidFill>
          <a:ln>
            <a:solidFill>
              <a:srgbClr val="D9D9D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14" name="Oval 13">
            <a:extLst>
              <a:ext uri="{FF2B5EF4-FFF2-40B4-BE49-F238E27FC236}">
                <a16:creationId xmlns:a16="http://schemas.microsoft.com/office/drawing/2014/main" id="{6958DFDD-C246-7DF9-398B-890123973C7F}"/>
              </a:ext>
            </a:extLst>
          </p:cNvPr>
          <p:cNvSpPr/>
          <p:nvPr/>
        </p:nvSpPr>
        <p:spPr>
          <a:xfrm>
            <a:off x="8798512" y="4920342"/>
            <a:ext cx="914400" cy="914400"/>
          </a:xfrm>
          <a:prstGeom prst="ellipse">
            <a:avLst/>
          </a:prstGeom>
          <a:solidFill>
            <a:schemeClr val="accent2"/>
          </a:solidFill>
          <a:ln>
            <a:solidFill>
              <a:srgbClr val="D9D9D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74" name="Google Shape;634;p10">
            <a:extLst>
              <a:ext uri="{FF2B5EF4-FFF2-40B4-BE49-F238E27FC236}">
                <a16:creationId xmlns:a16="http://schemas.microsoft.com/office/drawing/2014/main" id="{7D5E3BDA-999D-EAAF-6B77-76173D886DB0}"/>
              </a:ext>
            </a:extLst>
          </p:cNvPr>
          <p:cNvSpPr txBox="1"/>
          <p:nvPr/>
        </p:nvSpPr>
        <p:spPr>
          <a:xfrm>
            <a:off x="5488577" y="4533480"/>
            <a:ext cx="1371600" cy="307777"/>
          </a:xfrm>
          <a:prstGeom prst="rect">
            <a:avLst/>
          </a:prstGeom>
          <a:noFill/>
          <a:ln>
            <a:noFill/>
          </a:ln>
        </p:spPr>
        <p:txBody>
          <a:bodyPr spcFirstLastPara="1" wrap="square" lIns="0" tIns="0" rIns="0" bIns="0" anchor="b"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Lato"/>
                <a:ea typeface="Lato"/>
                <a:cs typeface="Lato"/>
                <a:sym typeface="Lato"/>
              </a:rPr>
              <a:t>SD-WAN</a:t>
            </a:r>
            <a:endParaRPr kumimoji="0" sz="2000" b="1" i="0" u="none" strike="noStrike" kern="0" cap="none" spc="0" normalizeH="0" baseline="0" noProof="0">
              <a:ln>
                <a:noFill/>
              </a:ln>
              <a:solidFill>
                <a:srgbClr val="FFFFFF"/>
              </a:solidFill>
              <a:effectLst/>
              <a:uLnTx/>
              <a:uFillTx/>
              <a:latin typeface="Lato"/>
              <a:ea typeface="+mn-ea"/>
              <a:cs typeface="+mn-cs"/>
            </a:endParaRPr>
          </a:p>
        </p:txBody>
      </p:sp>
      <p:sp>
        <p:nvSpPr>
          <p:cNvPr id="76" name="Google Shape;645;p10">
            <a:extLst>
              <a:ext uri="{FF2B5EF4-FFF2-40B4-BE49-F238E27FC236}">
                <a16:creationId xmlns:a16="http://schemas.microsoft.com/office/drawing/2014/main" id="{A92DD04D-22D3-D279-3DE1-E9ED43B35D96}"/>
              </a:ext>
            </a:extLst>
          </p:cNvPr>
          <p:cNvSpPr txBox="1"/>
          <p:nvPr/>
        </p:nvSpPr>
        <p:spPr>
          <a:xfrm>
            <a:off x="3928400" y="4533480"/>
            <a:ext cx="1371600" cy="307777"/>
          </a:xfrm>
          <a:prstGeom prst="rect">
            <a:avLst/>
          </a:prstGeom>
          <a:noFill/>
          <a:ln>
            <a:noFill/>
          </a:ln>
        </p:spPr>
        <p:txBody>
          <a:bodyPr spcFirstLastPara="1" wrap="square" lIns="0" tIns="0" rIns="0" bIns="0" anchor="b"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Lato"/>
                <a:ea typeface="Lato"/>
                <a:cs typeface="Lato"/>
                <a:sym typeface="Lato"/>
              </a:rPr>
              <a:t>Wired</a:t>
            </a:r>
            <a:endParaRPr kumimoji="0" sz="2000" b="1" i="0" u="none" strike="noStrike" kern="0" cap="none" spc="0" normalizeH="0" baseline="0" noProof="0">
              <a:ln>
                <a:noFill/>
              </a:ln>
              <a:solidFill>
                <a:srgbClr val="FFFFFF"/>
              </a:solidFill>
              <a:effectLst/>
              <a:uLnTx/>
              <a:uFillTx/>
              <a:latin typeface="Lato"/>
              <a:ea typeface="+mn-ea"/>
              <a:cs typeface="+mn-cs"/>
            </a:endParaRPr>
          </a:p>
        </p:txBody>
      </p:sp>
      <p:sp>
        <p:nvSpPr>
          <p:cNvPr id="77" name="Google Shape;622;p10">
            <a:extLst>
              <a:ext uri="{FF2B5EF4-FFF2-40B4-BE49-F238E27FC236}">
                <a16:creationId xmlns:a16="http://schemas.microsoft.com/office/drawing/2014/main" id="{17036DE7-03BE-2F95-9DB5-E418A8E701D8}"/>
              </a:ext>
            </a:extLst>
          </p:cNvPr>
          <p:cNvSpPr txBox="1"/>
          <p:nvPr/>
        </p:nvSpPr>
        <p:spPr>
          <a:xfrm>
            <a:off x="8426898" y="4533480"/>
            <a:ext cx="1657628" cy="307777"/>
          </a:xfrm>
          <a:prstGeom prst="rect">
            <a:avLst/>
          </a:prstGeom>
          <a:noFill/>
          <a:ln>
            <a:noFill/>
          </a:ln>
        </p:spPr>
        <p:txBody>
          <a:bodyPr spcFirstLastPara="1" wrap="square" lIns="0" tIns="0" rIns="0" bIns="0" anchor="b"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Lato"/>
                <a:ea typeface="Lato"/>
                <a:cs typeface="Lato"/>
                <a:sym typeface="Lato"/>
              </a:rPr>
              <a:t>Data Center</a:t>
            </a:r>
            <a:endParaRPr kumimoji="0" sz="2000" b="1" i="0" u="none" strike="noStrike" kern="0" cap="none" spc="0" normalizeH="0" baseline="0" noProof="0">
              <a:ln>
                <a:noFill/>
              </a:ln>
              <a:solidFill>
                <a:srgbClr val="FFFFFF"/>
              </a:solidFill>
              <a:effectLst/>
              <a:uLnTx/>
              <a:uFillTx/>
              <a:latin typeface="Lato"/>
              <a:ea typeface="+mn-ea"/>
              <a:cs typeface="+mn-cs"/>
            </a:endParaRPr>
          </a:p>
        </p:txBody>
      </p:sp>
      <p:sp>
        <p:nvSpPr>
          <p:cNvPr id="78" name="Google Shape;622;p10">
            <a:extLst>
              <a:ext uri="{FF2B5EF4-FFF2-40B4-BE49-F238E27FC236}">
                <a16:creationId xmlns:a16="http://schemas.microsoft.com/office/drawing/2014/main" id="{A2747963-FC9E-A8C9-7E76-0E8C6C6394AF}"/>
              </a:ext>
            </a:extLst>
          </p:cNvPr>
          <p:cNvSpPr txBox="1"/>
          <p:nvPr/>
        </p:nvSpPr>
        <p:spPr>
          <a:xfrm>
            <a:off x="2359521" y="4559607"/>
            <a:ext cx="1371600" cy="307777"/>
          </a:xfrm>
          <a:prstGeom prst="rect">
            <a:avLst/>
          </a:prstGeom>
          <a:noFill/>
          <a:ln>
            <a:noFill/>
          </a:ln>
        </p:spPr>
        <p:txBody>
          <a:bodyPr spcFirstLastPara="1" wrap="square" lIns="0" tIns="0" rIns="0" bIns="0" anchor="b"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Lato"/>
                <a:ea typeface="Lato"/>
                <a:cs typeface="Lato"/>
                <a:sym typeface="Lato"/>
              </a:rPr>
              <a:t>Wireless</a:t>
            </a:r>
            <a:endParaRPr kumimoji="0" sz="2000" b="1" i="0" u="none" strike="noStrike" kern="0" cap="none" spc="0" normalizeH="0" baseline="0" noProof="0">
              <a:ln>
                <a:noFill/>
              </a:ln>
              <a:solidFill>
                <a:srgbClr val="FFFFFF"/>
              </a:solidFill>
              <a:effectLst/>
              <a:uLnTx/>
              <a:uFillTx/>
              <a:latin typeface="Lato"/>
              <a:ea typeface="+mn-ea"/>
              <a:cs typeface="+mn-cs"/>
            </a:endParaRPr>
          </a:p>
        </p:txBody>
      </p:sp>
      <p:sp>
        <p:nvSpPr>
          <p:cNvPr id="79" name="Google Shape;622;p10">
            <a:extLst>
              <a:ext uri="{FF2B5EF4-FFF2-40B4-BE49-F238E27FC236}">
                <a16:creationId xmlns:a16="http://schemas.microsoft.com/office/drawing/2014/main" id="{57C93361-81F8-F991-6C8A-320B9CD9D802}"/>
              </a:ext>
            </a:extLst>
          </p:cNvPr>
          <p:cNvSpPr txBox="1"/>
          <p:nvPr/>
        </p:nvSpPr>
        <p:spPr>
          <a:xfrm>
            <a:off x="7004560" y="4533480"/>
            <a:ext cx="1371600" cy="307777"/>
          </a:xfrm>
          <a:prstGeom prst="rect">
            <a:avLst/>
          </a:prstGeom>
          <a:noFill/>
          <a:ln>
            <a:noFill/>
          </a:ln>
        </p:spPr>
        <p:txBody>
          <a:bodyPr spcFirstLastPara="1" wrap="square" lIns="0" tIns="0" rIns="0" bIns="0" anchor="b"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Lato"/>
                <a:ea typeface="Lato"/>
                <a:cs typeface="Lato"/>
                <a:sym typeface="Lato"/>
              </a:rPr>
              <a:t>NAC</a:t>
            </a:r>
            <a:endParaRPr kumimoji="0" sz="2000" b="1" i="0" u="none" strike="noStrike" kern="0" cap="none" spc="0" normalizeH="0" baseline="0" noProof="0">
              <a:ln>
                <a:noFill/>
              </a:ln>
              <a:solidFill>
                <a:srgbClr val="FFFFFF"/>
              </a:solidFill>
              <a:effectLst/>
              <a:uLnTx/>
              <a:uFillTx/>
              <a:latin typeface="Lato"/>
              <a:ea typeface="+mn-ea"/>
              <a:cs typeface="+mn-cs"/>
            </a:endParaRPr>
          </a:p>
        </p:txBody>
      </p:sp>
      <p:pic>
        <p:nvPicPr>
          <p:cNvPr id="12" name="Graphic 11">
            <a:extLst>
              <a:ext uri="{FF2B5EF4-FFF2-40B4-BE49-F238E27FC236}">
                <a16:creationId xmlns:a16="http://schemas.microsoft.com/office/drawing/2014/main" id="{49359095-0847-A140-ADA1-79B9B3AC867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77726" y="5181319"/>
            <a:ext cx="472948" cy="392446"/>
          </a:xfrm>
          <a:prstGeom prst="rect">
            <a:avLst/>
          </a:prstGeom>
        </p:spPr>
      </p:pic>
      <p:pic>
        <p:nvPicPr>
          <p:cNvPr id="17" name="Graphic 16">
            <a:extLst>
              <a:ext uri="{FF2B5EF4-FFF2-40B4-BE49-F238E27FC236}">
                <a16:creationId xmlns:a16="http://schemas.microsoft.com/office/drawing/2014/main" id="{AA3C95E2-006A-F80D-85C6-08CACB8F049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788146" y="5196567"/>
            <a:ext cx="514350" cy="361950"/>
          </a:xfrm>
          <a:prstGeom prst="rect">
            <a:avLst/>
          </a:prstGeom>
        </p:spPr>
      </p:pic>
      <p:pic>
        <p:nvPicPr>
          <p:cNvPr id="21" name="Graphic 20">
            <a:extLst>
              <a:ext uri="{FF2B5EF4-FFF2-40B4-BE49-F238E27FC236}">
                <a16:creationId xmlns:a16="http://schemas.microsoft.com/office/drawing/2014/main" id="{EB7B1DA2-9705-DC3B-66B2-22F7B184F96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941015" y="5129892"/>
            <a:ext cx="466725" cy="495300"/>
          </a:xfrm>
          <a:prstGeom prst="rect">
            <a:avLst/>
          </a:prstGeom>
        </p:spPr>
      </p:pic>
      <p:pic>
        <p:nvPicPr>
          <p:cNvPr id="22" name="Graphic 21">
            <a:extLst>
              <a:ext uri="{FF2B5EF4-FFF2-40B4-BE49-F238E27FC236}">
                <a16:creationId xmlns:a16="http://schemas.microsoft.com/office/drawing/2014/main" id="{CE3BF518-18E1-511E-2149-85ADD885F85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456998" y="5158467"/>
            <a:ext cx="466725" cy="438150"/>
          </a:xfrm>
          <a:prstGeom prst="rect">
            <a:avLst/>
          </a:prstGeom>
        </p:spPr>
      </p:pic>
      <p:pic>
        <p:nvPicPr>
          <p:cNvPr id="23" name="Graphic 22">
            <a:extLst>
              <a:ext uri="{FF2B5EF4-FFF2-40B4-BE49-F238E27FC236}">
                <a16:creationId xmlns:a16="http://schemas.microsoft.com/office/drawing/2014/main" id="{32538158-4853-99C2-87EB-821985AFC18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938869" y="5146699"/>
            <a:ext cx="633686" cy="461686"/>
          </a:xfrm>
          <a:prstGeom prst="rect">
            <a:avLst/>
          </a:prstGeom>
        </p:spPr>
      </p:pic>
    </p:spTree>
    <p:extLst>
      <p:ext uri="{BB962C8B-B14F-4D97-AF65-F5344CB8AC3E}">
        <p14:creationId xmlns:p14="http://schemas.microsoft.com/office/powerpoint/2010/main" val="121347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9399" name="Rectangle 7"/>
          <p:cNvSpPr>
            <a:spLocks noChangeArrowheads="1"/>
          </p:cNvSpPr>
          <p:nvPr/>
        </p:nvSpPr>
        <p:spPr bwMode="gray">
          <a:xfrm>
            <a:off x="9646698" y="2657585"/>
            <a:ext cx="547688" cy="28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lnSpc>
                <a:spcPct val="90000"/>
              </a:lnSpc>
              <a:tabLst>
                <a:tab pos="6464300" algn="r"/>
              </a:tabLst>
            </a:pPr>
            <a:r>
              <a:rPr lang="en-US" sz="1400" b="1">
                <a:solidFill>
                  <a:srgbClr val="FFFFFF"/>
                </a:solidFill>
              </a:rPr>
              <a:t>Text</a:t>
            </a:r>
          </a:p>
        </p:txBody>
      </p:sp>
      <p:sp>
        <p:nvSpPr>
          <p:cNvPr id="699400" name="Rectangle 8"/>
          <p:cNvSpPr>
            <a:spLocks noChangeArrowheads="1"/>
          </p:cNvSpPr>
          <p:nvPr/>
        </p:nvSpPr>
        <p:spPr bwMode="gray">
          <a:xfrm>
            <a:off x="9649873" y="4788010"/>
            <a:ext cx="547688" cy="28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lnSpc>
                <a:spcPct val="90000"/>
              </a:lnSpc>
              <a:tabLst>
                <a:tab pos="6464300" algn="r"/>
              </a:tabLst>
            </a:pPr>
            <a:r>
              <a:rPr lang="en-US" sz="1400" b="1">
                <a:solidFill>
                  <a:srgbClr val="FFFFFF"/>
                </a:solidFill>
              </a:rPr>
              <a:t>Text</a:t>
            </a:r>
          </a:p>
        </p:txBody>
      </p:sp>
      <p:sp>
        <p:nvSpPr>
          <p:cNvPr id="699401" name="Rectangle 9"/>
          <p:cNvSpPr>
            <a:spLocks noChangeArrowheads="1"/>
          </p:cNvSpPr>
          <p:nvPr/>
        </p:nvSpPr>
        <p:spPr bwMode="gray">
          <a:xfrm>
            <a:off x="7408323" y="4522898"/>
            <a:ext cx="547688" cy="284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lnSpc>
                <a:spcPct val="90000"/>
              </a:lnSpc>
              <a:tabLst>
                <a:tab pos="6464300" algn="r"/>
              </a:tabLst>
            </a:pPr>
            <a:r>
              <a:rPr lang="en-US" sz="1400" b="1">
                <a:solidFill>
                  <a:srgbClr val="FFFFFF"/>
                </a:solidFill>
              </a:rPr>
              <a:t>Text</a:t>
            </a:r>
          </a:p>
        </p:txBody>
      </p:sp>
      <p:sp>
        <p:nvSpPr>
          <p:cNvPr id="699402" name="Rectangle 10"/>
          <p:cNvSpPr>
            <a:spLocks noChangeArrowheads="1"/>
          </p:cNvSpPr>
          <p:nvPr/>
        </p:nvSpPr>
        <p:spPr bwMode="gray">
          <a:xfrm>
            <a:off x="7776623" y="2541698"/>
            <a:ext cx="547688" cy="284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lnSpc>
                <a:spcPct val="90000"/>
              </a:lnSpc>
              <a:tabLst>
                <a:tab pos="6464300" algn="r"/>
              </a:tabLst>
            </a:pPr>
            <a:r>
              <a:rPr lang="en-US" sz="1400" b="1">
                <a:solidFill>
                  <a:srgbClr val="FFFFFF"/>
                </a:solidFill>
              </a:rPr>
              <a:t>Text</a:t>
            </a:r>
          </a:p>
        </p:txBody>
      </p:sp>
      <p:sp>
        <p:nvSpPr>
          <p:cNvPr id="12" name="TextBox 11">
            <a:extLst>
              <a:ext uri="{FF2B5EF4-FFF2-40B4-BE49-F238E27FC236}">
                <a16:creationId xmlns:a16="http://schemas.microsoft.com/office/drawing/2014/main" id="{B5EA4613-CFDA-4509-B6E7-8BB756A24DBA}"/>
              </a:ext>
            </a:extLst>
          </p:cNvPr>
          <p:cNvSpPr txBox="1"/>
          <p:nvPr/>
        </p:nvSpPr>
        <p:spPr>
          <a:xfrm>
            <a:off x="708410" y="1719423"/>
            <a:ext cx="9957069" cy="932416"/>
          </a:xfrm>
          <a:prstGeom prst="roundRect">
            <a:avLst>
              <a:gd name="adj" fmla="val 0"/>
            </a:avLst>
          </a:prstGeom>
          <a:solidFill>
            <a:schemeClr val="bg1">
              <a:lumMod val="95000"/>
            </a:schemeClr>
          </a:solidFill>
          <a:ln w="12700">
            <a:noFill/>
          </a:ln>
          <a:effectLst/>
        </p:spPr>
        <p:txBody>
          <a:bodyPr wrap="square" lIns="91440" rtlCol="0" anchor="ctr" anchorCtr="0">
            <a:noAutofit/>
          </a:bodyPr>
          <a:lstStyle/>
          <a:p>
            <a:pPr defTabSz="914354"/>
            <a:endParaRPr lang="en-US" sz="2800">
              <a:solidFill>
                <a:srgbClr val="5A8F1C"/>
              </a:solidFill>
              <a:latin typeface="Lato"/>
            </a:endParaRPr>
          </a:p>
        </p:txBody>
      </p:sp>
      <p:sp>
        <p:nvSpPr>
          <p:cNvPr id="14" name="TextBox 13">
            <a:extLst>
              <a:ext uri="{FF2B5EF4-FFF2-40B4-BE49-F238E27FC236}">
                <a16:creationId xmlns:a16="http://schemas.microsoft.com/office/drawing/2014/main" id="{4815FB4B-99C6-4682-A639-849478AE2856}"/>
              </a:ext>
            </a:extLst>
          </p:cNvPr>
          <p:cNvSpPr txBox="1"/>
          <p:nvPr/>
        </p:nvSpPr>
        <p:spPr>
          <a:xfrm>
            <a:off x="1526520" y="2074829"/>
            <a:ext cx="4927716" cy="221599"/>
          </a:xfrm>
          <a:prstGeom prst="rect">
            <a:avLst/>
          </a:prstGeom>
          <a:ln>
            <a:noFill/>
          </a:ln>
        </p:spPr>
        <p:txBody>
          <a:bodyPr wrap="square" lIns="0" tIns="0" rIns="0" bIns="0" rtlCol="0" anchor="ctr" anchorCtr="0">
            <a:spAutoFit/>
          </a:bodyPr>
          <a:lstStyle>
            <a:defPPr>
              <a:defRPr lang="en-US"/>
            </a:defPPr>
            <a:lvl1pPr algn="r" defTabSz="342868">
              <a:lnSpc>
                <a:spcPct val="90000"/>
              </a:lnSpc>
              <a:defRPr sz="900">
                <a:solidFill>
                  <a:srgbClr val="000000"/>
                </a:solidFill>
                <a:cs typeface="Arial"/>
              </a:defRPr>
            </a:lvl1pPr>
          </a:lstStyle>
          <a:p>
            <a:pPr algn="l" defTabSz="342859"/>
            <a:r>
              <a:rPr lang="en-US" sz="1600">
                <a:solidFill>
                  <a:schemeClr val="tx1">
                    <a:lumMod val="75000"/>
                  </a:schemeClr>
                </a:solidFill>
                <a:latin typeface="Lato"/>
              </a:rPr>
              <a:t>Cloud-based Network Access Control (NAC) </a:t>
            </a:r>
          </a:p>
        </p:txBody>
      </p:sp>
      <p:sp>
        <p:nvSpPr>
          <p:cNvPr id="15" name="TextBox 14">
            <a:extLst>
              <a:ext uri="{FF2B5EF4-FFF2-40B4-BE49-F238E27FC236}">
                <a16:creationId xmlns:a16="http://schemas.microsoft.com/office/drawing/2014/main" id="{F110DF89-26B1-430D-B723-EE864E5B3494}"/>
              </a:ext>
            </a:extLst>
          </p:cNvPr>
          <p:cNvSpPr txBox="1"/>
          <p:nvPr/>
        </p:nvSpPr>
        <p:spPr>
          <a:xfrm>
            <a:off x="708410" y="2883467"/>
            <a:ext cx="9957069" cy="938303"/>
          </a:xfrm>
          <a:prstGeom prst="roundRect">
            <a:avLst>
              <a:gd name="adj" fmla="val 0"/>
            </a:avLst>
          </a:prstGeom>
          <a:solidFill>
            <a:schemeClr val="bg1">
              <a:lumMod val="95000"/>
            </a:schemeClr>
          </a:solidFill>
          <a:ln w="12700">
            <a:noFill/>
          </a:ln>
          <a:effectLst/>
        </p:spPr>
        <p:txBody>
          <a:bodyPr wrap="square" lIns="91440" rtlCol="0" anchor="ctr" anchorCtr="0">
            <a:noAutofit/>
          </a:bodyPr>
          <a:lstStyle/>
          <a:p>
            <a:pPr defTabSz="914354"/>
            <a:endParaRPr lang="en-US" sz="2800">
              <a:solidFill>
                <a:srgbClr val="0295A9"/>
              </a:solidFill>
              <a:latin typeface="Lato"/>
            </a:endParaRPr>
          </a:p>
        </p:txBody>
      </p:sp>
      <p:sp>
        <p:nvSpPr>
          <p:cNvPr id="17" name="TextBox 16">
            <a:extLst>
              <a:ext uri="{FF2B5EF4-FFF2-40B4-BE49-F238E27FC236}">
                <a16:creationId xmlns:a16="http://schemas.microsoft.com/office/drawing/2014/main" id="{04849726-7E4D-41B8-BEAE-866DB2952A33}"/>
              </a:ext>
            </a:extLst>
          </p:cNvPr>
          <p:cNvSpPr txBox="1"/>
          <p:nvPr/>
        </p:nvSpPr>
        <p:spPr>
          <a:xfrm>
            <a:off x="1526520" y="3241819"/>
            <a:ext cx="4927716" cy="221599"/>
          </a:xfrm>
          <a:prstGeom prst="rect">
            <a:avLst/>
          </a:prstGeom>
          <a:ln>
            <a:noFill/>
          </a:ln>
        </p:spPr>
        <p:txBody>
          <a:bodyPr wrap="square" lIns="0" tIns="0" rIns="0" bIns="0" rtlCol="0" anchor="ctr" anchorCtr="0">
            <a:spAutoFit/>
          </a:bodyPr>
          <a:lstStyle/>
          <a:p>
            <a:pPr defTabSz="342859">
              <a:lnSpc>
                <a:spcPct val="90000"/>
              </a:lnSpc>
              <a:defRPr/>
            </a:pPr>
            <a:r>
              <a:rPr lang="en-US" sz="1600">
                <a:solidFill>
                  <a:schemeClr val="tx1">
                    <a:lumMod val="75000"/>
                  </a:schemeClr>
                </a:solidFill>
                <a:latin typeface="Lato"/>
              </a:rPr>
              <a:t>Easy-to-use access policies and workflows</a:t>
            </a:r>
          </a:p>
        </p:txBody>
      </p:sp>
      <p:sp>
        <p:nvSpPr>
          <p:cNvPr id="18" name="TextBox 17">
            <a:extLst>
              <a:ext uri="{FF2B5EF4-FFF2-40B4-BE49-F238E27FC236}">
                <a16:creationId xmlns:a16="http://schemas.microsoft.com/office/drawing/2014/main" id="{2CD6153E-6B04-4950-A941-B31AF3F90379}"/>
              </a:ext>
            </a:extLst>
          </p:cNvPr>
          <p:cNvSpPr txBox="1"/>
          <p:nvPr/>
        </p:nvSpPr>
        <p:spPr>
          <a:xfrm>
            <a:off x="708410" y="4046024"/>
            <a:ext cx="9957069" cy="932416"/>
          </a:xfrm>
          <a:prstGeom prst="roundRect">
            <a:avLst>
              <a:gd name="adj" fmla="val 959"/>
            </a:avLst>
          </a:prstGeom>
          <a:solidFill>
            <a:schemeClr val="bg1">
              <a:lumMod val="95000"/>
            </a:schemeClr>
          </a:solidFill>
          <a:ln w="12700">
            <a:noFill/>
          </a:ln>
          <a:effectLst/>
        </p:spPr>
        <p:txBody>
          <a:bodyPr wrap="square" lIns="91440" rtlCol="0" anchor="ctr" anchorCtr="0">
            <a:noAutofit/>
          </a:bodyPr>
          <a:lstStyle/>
          <a:p>
            <a:pPr defTabSz="914354"/>
            <a:endParaRPr lang="en-US" sz="2800">
              <a:solidFill>
                <a:srgbClr val="2D6A01"/>
              </a:solidFill>
              <a:latin typeface="Lato"/>
            </a:endParaRPr>
          </a:p>
        </p:txBody>
      </p:sp>
      <p:sp>
        <p:nvSpPr>
          <p:cNvPr id="20" name="TextBox 19">
            <a:extLst>
              <a:ext uri="{FF2B5EF4-FFF2-40B4-BE49-F238E27FC236}">
                <a16:creationId xmlns:a16="http://schemas.microsoft.com/office/drawing/2014/main" id="{2D7EA5ED-DC1A-4A78-ACBE-5AEED4C61B5C}"/>
              </a:ext>
            </a:extLst>
          </p:cNvPr>
          <p:cNvSpPr txBox="1"/>
          <p:nvPr/>
        </p:nvSpPr>
        <p:spPr>
          <a:xfrm>
            <a:off x="1526520" y="4386356"/>
            <a:ext cx="4569480" cy="221599"/>
          </a:xfrm>
          <a:prstGeom prst="rect">
            <a:avLst/>
          </a:prstGeom>
          <a:ln>
            <a:noFill/>
          </a:ln>
        </p:spPr>
        <p:txBody>
          <a:bodyPr wrap="square" lIns="0" tIns="0" rIns="0" bIns="0" rtlCol="0" anchor="ctr" anchorCtr="0">
            <a:spAutoFit/>
          </a:bodyPr>
          <a:lstStyle/>
          <a:p>
            <a:pPr defTabSz="342859">
              <a:lnSpc>
                <a:spcPct val="90000"/>
              </a:lnSpc>
              <a:defRPr/>
            </a:pPr>
            <a:r>
              <a:rPr lang="en-US" sz="1600">
                <a:solidFill>
                  <a:schemeClr val="tx1">
                    <a:lumMod val="75000"/>
                  </a:schemeClr>
                </a:solidFill>
                <a:latin typeface="Lato"/>
              </a:rPr>
              <a:t>Built-in Redundancy and High-Availability</a:t>
            </a:r>
          </a:p>
        </p:txBody>
      </p:sp>
      <p:sp>
        <p:nvSpPr>
          <p:cNvPr id="21" name="TextBox 20">
            <a:extLst>
              <a:ext uri="{FF2B5EF4-FFF2-40B4-BE49-F238E27FC236}">
                <a16:creationId xmlns:a16="http://schemas.microsoft.com/office/drawing/2014/main" id="{6622CB35-86C4-404F-8A93-3A617F4E830B}"/>
              </a:ext>
            </a:extLst>
          </p:cNvPr>
          <p:cNvSpPr txBox="1"/>
          <p:nvPr/>
        </p:nvSpPr>
        <p:spPr>
          <a:xfrm>
            <a:off x="708410" y="5210972"/>
            <a:ext cx="9957069" cy="932416"/>
          </a:xfrm>
          <a:prstGeom prst="roundRect">
            <a:avLst>
              <a:gd name="adj" fmla="val 0"/>
            </a:avLst>
          </a:prstGeom>
          <a:solidFill>
            <a:schemeClr val="bg1">
              <a:lumMod val="95000"/>
            </a:schemeClr>
          </a:solidFill>
          <a:ln w="12700">
            <a:noFill/>
          </a:ln>
          <a:effectLst/>
        </p:spPr>
        <p:txBody>
          <a:bodyPr wrap="square" lIns="91440" rtlCol="0" anchor="ctr" anchorCtr="0">
            <a:noAutofit/>
          </a:bodyPr>
          <a:lstStyle/>
          <a:p>
            <a:pPr defTabSz="914354"/>
            <a:endParaRPr lang="en-US" sz="2800">
              <a:solidFill>
                <a:srgbClr val="EA7200"/>
              </a:solidFill>
              <a:latin typeface="Lato"/>
            </a:endParaRPr>
          </a:p>
        </p:txBody>
      </p:sp>
      <p:sp>
        <p:nvSpPr>
          <p:cNvPr id="23" name="TextBox 22">
            <a:extLst>
              <a:ext uri="{FF2B5EF4-FFF2-40B4-BE49-F238E27FC236}">
                <a16:creationId xmlns:a16="http://schemas.microsoft.com/office/drawing/2014/main" id="{CE3E8284-8655-4720-BDB6-DCB2B11094F7}"/>
              </a:ext>
            </a:extLst>
          </p:cNvPr>
          <p:cNvSpPr txBox="1"/>
          <p:nvPr/>
        </p:nvSpPr>
        <p:spPr>
          <a:xfrm>
            <a:off x="1526520" y="5551303"/>
            <a:ext cx="4569480" cy="221599"/>
          </a:xfrm>
          <a:prstGeom prst="rect">
            <a:avLst/>
          </a:prstGeom>
          <a:ln>
            <a:noFill/>
          </a:ln>
        </p:spPr>
        <p:txBody>
          <a:bodyPr wrap="square" lIns="0" tIns="0" rIns="0" bIns="0" rtlCol="0" anchor="ctr" anchorCtr="0">
            <a:spAutoFit/>
          </a:bodyPr>
          <a:lstStyle/>
          <a:p>
            <a:pPr defTabSz="342859">
              <a:lnSpc>
                <a:spcPct val="90000"/>
              </a:lnSpc>
              <a:defRPr/>
            </a:pPr>
            <a:r>
              <a:rPr lang="en-US" sz="1600">
                <a:solidFill>
                  <a:schemeClr val="tx1">
                    <a:lumMod val="75000"/>
                  </a:schemeClr>
                </a:solidFill>
                <a:latin typeface="Lato"/>
              </a:rPr>
              <a:t>Optimized day 0/1/2 Operations</a:t>
            </a:r>
          </a:p>
        </p:txBody>
      </p:sp>
      <p:sp>
        <p:nvSpPr>
          <p:cNvPr id="4" name="Title 3">
            <a:extLst>
              <a:ext uri="{FF2B5EF4-FFF2-40B4-BE49-F238E27FC236}">
                <a16:creationId xmlns:a16="http://schemas.microsoft.com/office/drawing/2014/main" id="{B95462B1-D2CE-52F2-D585-009A5A9F6E01}"/>
              </a:ext>
            </a:extLst>
          </p:cNvPr>
          <p:cNvSpPr>
            <a:spLocks noGrp="1"/>
          </p:cNvSpPr>
          <p:nvPr>
            <p:ph type="title"/>
          </p:nvPr>
        </p:nvSpPr>
        <p:spPr/>
        <p:txBody>
          <a:bodyPr/>
          <a:lstStyle/>
          <a:p>
            <a:r>
              <a:rPr lang="en-US"/>
              <a:t>Introducing Juniper Mist Access Assurance</a:t>
            </a:r>
          </a:p>
        </p:txBody>
      </p:sp>
      <p:sp>
        <p:nvSpPr>
          <p:cNvPr id="6" name="Text Placeholder 18">
            <a:extLst>
              <a:ext uri="{FF2B5EF4-FFF2-40B4-BE49-F238E27FC236}">
                <a16:creationId xmlns:a16="http://schemas.microsoft.com/office/drawing/2014/main" id="{F64475F0-FE8A-567B-4164-B53A73DC60D0}"/>
              </a:ext>
            </a:extLst>
          </p:cNvPr>
          <p:cNvSpPr txBox="1">
            <a:spLocks/>
          </p:cNvSpPr>
          <p:nvPr/>
        </p:nvSpPr>
        <p:spPr>
          <a:xfrm>
            <a:off x="604011" y="1198848"/>
            <a:ext cx="11081528" cy="460439"/>
          </a:xfrm>
          <a:prstGeom prst="rect">
            <a:avLst/>
          </a:prstGeom>
        </p:spPr>
        <p:txBody>
          <a:bodyPr/>
          <a:lstStyle>
            <a:lvl1pPr marL="173038" indent="-173038" algn="l" defTabSz="914377" rtl="0" eaLnBrk="1" latinLnBrk="0" hangingPunct="1">
              <a:lnSpc>
                <a:spcPct val="110000"/>
              </a:lnSpc>
              <a:spcBef>
                <a:spcPts val="1600"/>
              </a:spcBef>
              <a:buFont typeface="Arial" panose="020B0604020202020204" pitchFamily="34" charset="0"/>
              <a:buChar char="•"/>
              <a:defRPr sz="1800" kern="1200">
                <a:solidFill>
                  <a:schemeClr val="tx1"/>
                </a:solidFill>
                <a:latin typeface="+mn-lt"/>
                <a:ea typeface="+mn-ea"/>
                <a:cs typeface="+mn-cs"/>
              </a:defRPr>
            </a:lvl1pPr>
            <a:lvl2pPr marL="574675" indent="-228600" algn="l" defTabSz="914377" rtl="0" eaLnBrk="1" latinLnBrk="0" hangingPunct="1">
              <a:lnSpc>
                <a:spcPct val="95000"/>
              </a:lnSpc>
              <a:spcBef>
                <a:spcPts val="500"/>
              </a:spcBef>
              <a:buFont typeface="Lato" panose="020F0502020204030203"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solidFill>
                  <a:schemeClr val="accent4"/>
                </a:solidFill>
              </a:rPr>
              <a:t>True Cloud-based Network Access Control Driven by Mist AI</a:t>
            </a:r>
          </a:p>
          <a:p>
            <a:pPr marL="0" indent="0">
              <a:buNone/>
            </a:pPr>
            <a:endParaRPr lang="en-US"/>
          </a:p>
        </p:txBody>
      </p:sp>
      <p:pic>
        <p:nvPicPr>
          <p:cNvPr id="8" name="Graphic 7">
            <a:extLst>
              <a:ext uri="{FF2B5EF4-FFF2-40B4-BE49-F238E27FC236}">
                <a16:creationId xmlns:a16="http://schemas.microsoft.com/office/drawing/2014/main" id="{69FEAB68-64FA-982D-E62B-68E2BA2C14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302" y="3086446"/>
            <a:ext cx="670559" cy="610100"/>
          </a:xfrm>
          <a:prstGeom prst="ellipse">
            <a:avLst/>
          </a:prstGeom>
        </p:spPr>
      </p:pic>
      <p:grpSp>
        <p:nvGrpSpPr>
          <p:cNvPr id="9" name="Group 8">
            <a:extLst>
              <a:ext uri="{FF2B5EF4-FFF2-40B4-BE49-F238E27FC236}">
                <a16:creationId xmlns:a16="http://schemas.microsoft.com/office/drawing/2014/main" id="{E9870BCB-303F-CA52-B70F-9AB46D4253B2}"/>
              </a:ext>
            </a:extLst>
          </p:cNvPr>
          <p:cNvGrpSpPr/>
          <p:nvPr/>
        </p:nvGrpSpPr>
        <p:grpSpPr>
          <a:xfrm>
            <a:off x="809117" y="4219575"/>
            <a:ext cx="630663" cy="630798"/>
            <a:chOff x="5663177" y="4201320"/>
            <a:chExt cx="805577" cy="822960"/>
          </a:xfrm>
        </p:grpSpPr>
        <p:sp>
          <p:nvSpPr>
            <p:cNvPr id="10" name="Oval 9">
              <a:extLst>
                <a:ext uri="{FF2B5EF4-FFF2-40B4-BE49-F238E27FC236}">
                  <a16:creationId xmlns:a16="http://schemas.microsoft.com/office/drawing/2014/main" id="{FBE7859A-B9C6-E723-1DC9-A0DB592094E8}"/>
                </a:ext>
              </a:extLst>
            </p:cNvPr>
            <p:cNvSpPr/>
            <p:nvPr/>
          </p:nvSpPr>
          <p:spPr>
            <a:xfrm>
              <a:off x="5663177" y="4201320"/>
              <a:ext cx="805577" cy="822960"/>
            </a:xfrm>
            <a:prstGeom prst="ellipse">
              <a:avLst/>
            </a:prstGeom>
            <a:noFill/>
            <a:ln>
              <a:solidFill>
                <a:schemeClr val="accent3"/>
              </a:solid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1" name="Graphic 10">
              <a:extLst>
                <a:ext uri="{FF2B5EF4-FFF2-40B4-BE49-F238E27FC236}">
                  <a16:creationId xmlns:a16="http://schemas.microsoft.com/office/drawing/2014/main" id="{710B7FB5-FCE3-4990-57BE-43BBD3182E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75623" y="4374884"/>
              <a:ext cx="538991" cy="367883"/>
            </a:xfrm>
            <a:prstGeom prst="rect">
              <a:avLst/>
            </a:prstGeom>
          </p:spPr>
        </p:pic>
        <p:pic>
          <p:nvPicPr>
            <p:cNvPr id="24" name="Graphic 23">
              <a:extLst>
                <a:ext uri="{FF2B5EF4-FFF2-40B4-BE49-F238E27FC236}">
                  <a16:creationId xmlns:a16="http://schemas.microsoft.com/office/drawing/2014/main" id="{BB6B265F-100D-C500-111C-B5EB884417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17240" y="4482833"/>
              <a:ext cx="538991" cy="367883"/>
            </a:xfrm>
            <a:prstGeom prst="rect">
              <a:avLst/>
            </a:prstGeom>
          </p:spPr>
        </p:pic>
      </p:grpSp>
      <p:grpSp>
        <p:nvGrpSpPr>
          <p:cNvPr id="25" name="Group 24">
            <a:extLst>
              <a:ext uri="{FF2B5EF4-FFF2-40B4-BE49-F238E27FC236}">
                <a16:creationId xmlns:a16="http://schemas.microsoft.com/office/drawing/2014/main" id="{F1751867-DD1F-DAB5-CE2F-B2B62D32CB9A}"/>
              </a:ext>
            </a:extLst>
          </p:cNvPr>
          <p:cNvGrpSpPr/>
          <p:nvPr/>
        </p:nvGrpSpPr>
        <p:grpSpPr>
          <a:xfrm>
            <a:off x="846525" y="5388757"/>
            <a:ext cx="599029" cy="576846"/>
            <a:chOff x="5664838" y="5394403"/>
            <a:chExt cx="805577" cy="822960"/>
          </a:xfrm>
        </p:grpSpPr>
        <p:sp>
          <p:nvSpPr>
            <p:cNvPr id="26" name="Oval 25">
              <a:extLst>
                <a:ext uri="{FF2B5EF4-FFF2-40B4-BE49-F238E27FC236}">
                  <a16:creationId xmlns:a16="http://schemas.microsoft.com/office/drawing/2014/main" id="{53F153A8-75FD-6500-E7A4-51996C6FB75C}"/>
                </a:ext>
              </a:extLst>
            </p:cNvPr>
            <p:cNvSpPr/>
            <p:nvPr/>
          </p:nvSpPr>
          <p:spPr>
            <a:xfrm>
              <a:off x="5664838" y="5394403"/>
              <a:ext cx="805577" cy="822960"/>
            </a:xfrm>
            <a:prstGeom prst="ellipse">
              <a:avLst/>
            </a:prstGeom>
            <a:noFill/>
            <a:ln>
              <a:solidFill>
                <a:schemeClr val="accent4"/>
              </a:solid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27" name="Graphic 26">
              <a:extLst>
                <a:ext uri="{FF2B5EF4-FFF2-40B4-BE49-F238E27FC236}">
                  <a16:creationId xmlns:a16="http://schemas.microsoft.com/office/drawing/2014/main" id="{D7581E23-D5AB-792D-0DCC-9269B8F913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30817" y="5572877"/>
              <a:ext cx="425078" cy="425078"/>
            </a:xfrm>
            <a:prstGeom prst="rect">
              <a:avLst/>
            </a:prstGeom>
          </p:spPr>
        </p:pic>
      </p:grpSp>
      <p:sp>
        <p:nvSpPr>
          <p:cNvPr id="32" name="Oval 31">
            <a:extLst>
              <a:ext uri="{FF2B5EF4-FFF2-40B4-BE49-F238E27FC236}">
                <a16:creationId xmlns:a16="http://schemas.microsoft.com/office/drawing/2014/main" id="{7552C000-2DCA-6380-D378-059B3D340429}"/>
              </a:ext>
            </a:extLst>
          </p:cNvPr>
          <p:cNvSpPr/>
          <p:nvPr/>
        </p:nvSpPr>
        <p:spPr>
          <a:xfrm>
            <a:off x="769221" y="1875067"/>
            <a:ext cx="670559" cy="622576"/>
          </a:xfrm>
          <a:prstGeom prst="ellipse">
            <a:avLst/>
          </a:prstGeom>
          <a:noFill/>
          <a:ln w="190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14D44D5E-6E1A-5B36-FDEC-0B05A05298BA}"/>
              </a:ext>
            </a:extLst>
          </p:cNvPr>
          <p:cNvSpPr/>
          <p:nvPr/>
        </p:nvSpPr>
        <p:spPr>
          <a:xfrm>
            <a:off x="796302" y="3051175"/>
            <a:ext cx="659100" cy="645371"/>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picture containing icon&#10;&#10;Description automatically generated">
            <a:extLst>
              <a:ext uri="{FF2B5EF4-FFF2-40B4-BE49-F238E27FC236}">
                <a16:creationId xmlns:a16="http://schemas.microsoft.com/office/drawing/2014/main" id="{0E977BF7-4A71-A4B1-BE6B-4B5477E472DE}"/>
              </a:ext>
            </a:extLst>
          </p:cNvPr>
          <p:cNvPicPr>
            <a:picLocks noChangeAspect="1"/>
          </p:cNvPicPr>
          <p:nvPr/>
        </p:nvPicPr>
        <p:blipFill>
          <a:blip r:embed="rId9"/>
          <a:stretch>
            <a:fillRect/>
          </a:stretch>
        </p:blipFill>
        <p:spPr>
          <a:xfrm>
            <a:off x="7105773" y="1722908"/>
            <a:ext cx="4569480" cy="4379086"/>
          </a:xfrm>
          <a:prstGeom prst="rect">
            <a:avLst/>
          </a:prstGeom>
          <a:ln>
            <a:noFill/>
          </a:ln>
          <a:effectLst>
            <a:outerShdw blurRad="292100" dist="139700" dir="2700000" algn="tl" rotWithShape="0">
              <a:srgbClr val="333333">
                <a:alpha val="65000"/>
              </a:srgbClr>
            </a:outerShdw>
            <a:softEdge rad="127000"/>
          </a:effectLst>
          <a:scene3d>
            <a:camera prst="perspectiveLeft"/>
            <a:lightRig rig="threePt" dir="t"/>
          </a:scene3d>
        </p:spPr>
      </p:pic>
      <p:pic>
        <p:nvPicPr>
          <p:cNvPr id="22" name="Graphic 21">
            <a:extLst>
              <a:ext uri="{FF2B5EF4-FFF2-40B4-BE49-F238E27FC236}">
                <a16:creationId xmlns:a16="http://schemas.microsoft.com/office/drawing/2014/main" id="{B3C4A809-6A2E-A631-97D9-F2BC6217E8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014" y="1968281"/>
            <a:ext cx="485985" cy="43656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BD498-5DF5-5141-AA68-E9182DB0F8C1}"/>
              </a:ext>
            </a:extLst>
          </p:cNvPr>
          <p:cNvSpPr>
            <a:spLocks noGrp="1"/>
          </p:cNvSpPr>
          <p:nvPr>
            <p:ph type="title"/>
          </p:nvPr>
        </p:nvSpPr>
        <p:spPr>
          <a:xfrm>
            <a:off x="265923" y="56357"/>
            <a:ext cx="11071242" cy="856407"/>
          </a:xfrm>
        </p:spPr>
        <p:txBody>
          <a:bodyPr/>
          <a:lstStyle/>
          <a:p>
            <a:r>
              <a:rPr lang="en-US">
                <a:solidFill>
                  <a:srgbClr val="000000"/>
                </a:solidFill>
              </a:rPr>
              <a:t>Juniper Mist Access Assurance Framework</a:t>
            </a:r>
            <a:endParaRPr lang="en-US"/>
          </a:p>
        </p:txBody>
      </p:sp>
      <p:pic>
        <p:nvPicPr>
          <p:cNvPr id="66" name="Graphic 65">
            <a:extLst>
              <a:ext uri="{FF2B5EF4-FFF2-40B4-BE49-F238E27FC236}">
                <a16:creationId xmlns:a16="http://schemas.microsoft.com/office/drawing/2014/main" id="{9279A8A1-5831-4DA4-9332-A5EE9769E0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022" y="3219274"/>
            <a:ext cx="702277" cy="621688"/>
          </a:xfrm>
          <a:prstGeom prst="rect">
            <a:avLst/>
          </a:prstGeom>
        </p:spPr>
      </p:pic>
      <p:pic>
        <p:nvPicPr>
          <p:cNvPr id="67" name="Graphic 66">
            <a:extLst>
              <a:ext uri="{FF2B5EF4-FFF2-40B4-BE49-F238E27FC236}">
                <a16:creationId xmlns:a16="http://schemas.microsoft.com/office/drawing/2014/main" id="{977C135E-DE0B-8EE4-FC0B-EA944EDD71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329" y="2271992"/>
            <a:ext cx="669978" cy="669978"/>
          </a:xfrm>
          <a:prstGeom prst="rect">
            <a:avLst/>
          </a:prstGeom>
        </p:spPr>
      </p:pic>
      <p:pic>
        <p:nvPicPr>
          <p:cNvPr id="69" name="Graphic 68">
            <a:extLst>
              <a:ext uri="{FF2B5EF4-FFF2-40B4-BE49-F238E27FC236}">
                <a16:creationId xmlns:a16="http://schemas.microsoft.com/office/drawing/2014/main" id="{25DBC7AD-78C3-1469-2F42-612A79BAC8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6369" y="4002857"/>
            <a:ext cx="709938" cy="797431"/>
          </a:xfrm>
          <a:prstGeom prst="rect">
            <a:avLst/>
          </a:prstGeom>
        </p:spPr>
      </p:pic>
      <p:sp>
        <p:nvSpPr>
          <p:cNvPr id="70" name="Freeform: Shape 3">
            <a:extLst>
              <a:ext uri="{FF2B5EF4-FFF2-40B4-BE49-F238E27FC236}">
                <a16:creationId xmlns:a16="http://schemas.microsoft.com/office/drawing/2014/main" id="{50AD4899-0C92-F607-A008-2047ED904937}"/>
              </a:ext>
            </a:extLst>
          </p:cNvPr>
          <p:cNvSpPr/>
          <p:nvPr/>
        </p:nvSpPr>
        <p:spPr>
          <a:xfrm>
            <a:off x="1111299" y="2363963"/>
            <a:ext cx="2797746" cy="508439"/>
          </a:xfrm>
          <a:custGeom>
            <a:avLst/>
            <a:gdLst>
              <a:gd name="connsiteX0" fmla="*/ 0 w 1943907"/>
              <a:gd name="connsiteY0" fmla="*/ 0 h 2733750"/>
              <a:gd name="connsiteX1" fmla="*/ 1943907 w 1943907"/>
              <a:gd name="connsiteY1" fmla="*/ 0 h 2733750"/>
              <a:gd name="connsiteX2" fmla="*/ 1943907 w 1943907"/>
              <a:gd name="connsiteY2" fmla="*/ 2733750 h 2733750"/>
              <a:gd name="connsiteX3" fmla="*/ 0 w 1943907"/>
              <a:gd name="connsiteY3" fmla="*/ 2733750 h 2733750"/>
              <a:gd name="connsiteX4" fmla="*/ 0 w 1943907"/>
              <a:gd name="connsiteY4" fmla="*/ 0 h 27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907" h="2733750">
                <a:moveTo>
                  <a:pt x="0" y="0"/>
                </a:moveTo>
                <a:lnTo>
                  <a:pt x="1943907" y="0"/>
                </a:lnTo>
                <a:lnTo>
                  <a:pt x="1943907" y="2733750"/>
                </a:lnTo>
                <a:lnTo>
                  <a:pt x="0" y="27337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0" rIns="0" bIns="0" numCol="1" spcCol="1270" anchor="t" anchorCtr="0">
            <a:noAutofit/>
          </a:bodyPr>
          <a:lstStyle/>
          <a:p>
            <a:pPr marR="0" lvl="0" algn="l" defTabSz="914377" rtl="0" eaLnBrk="1" fontAlgn="auto" latinLnBrk="0" hangingPunct="1">
              <a:lnSpc>
                <a:spcPct val="95000"/>
              </a:lnSpc>
              <a:spcBef>
                <a:spcPts val="0"/>
              </a:spcBef>
              <a:spcAft>
                <a:spcPts val="600"/>
              </a:spcAft>
              <a:buClr>
                <a:srgbClr val="414141"/>
              </a:buClr>
              <a:buSzTx/>
              <a:tabLst/>
              <a:defRPr/>
            </a:pPr>
            <a:r>
              <a:rPr lang="en-US" sz="1600" b="1" i="0" u="none" strike="noStrike" dirty="0">
                <a:solidFill>
                  <a:srgbClr val="414141"/>
                </a:solidFill>
                <a:effectLst/>
                <a:latin typeface="Lato" panose="020F0502020204030203" pitchFamily="34" charset="0"/>
              </a:rPr>
              <a:t>Micro-Services based Geo-Aware Cloud NAC Offering</a:t>
            </a:r>
            <a:endParaRPr lang="en-US" sz="1400" b="1" dirty="0">
              <a:solidFill>
                <a:srgbClr val="414141"/>
              </a:solidFill>
              <a:latin typeface="Lato"/>
            </a:endParaRPr>
          </a:p>
        </p:txBody>
      </p:sp>
      <p:sp>
        <p:nvSpPr>
          <p:cNvPr id="72" name="Freeform: Shape 3">
            <a:extLst>
              <a:ext uri="{FF2B5EF4-FFF2-40B4-BE49-F238E27FC236}">
                <a16:creationId xmlns:a16="http://schemas.microsoft.com/office/drawing/2014/main" id="{2FEAA886-3500-BDFD-4F67-55F7E3354C1A}"/>
              </a:ext>
            </a:extLst>
          </p:cNvPr>
          <p:cNvSpPr/>
          <p:nvPr/>
        </p:nvSpPr>
        <p:spPr>
          <a:xfrm>
            <a:off x="1166024" y="4401573"/>
            <a:ext cx="3068373" cy="398715"/>
          </a:xfrm>
          <a:custGeom>
            <a:avLst/>
            <a:gdLst>
              <a:gd name="connsiteX0" fmla="*/ 0 w 1943907"/>
              <a:gd name="connsiteY0" fmla="*/ 0 h 2733750"/>
              <a:gd name="connsiteX1" fmla="*/ 1943907 w 1943907"/>
              <a:gd name="connsiteY1" fmla="*/ 0 h 2733750"/>
              <a:gd name="connsiteX2" fmla="*/ 1943907 w 1943907"/>
              <a:gd name="connsiteY2" fmla="*/ 2733750 h 2733750"/>
              <a:gd name="connsiteX3" fmla="*/ 0 w 1943907"/>
              <a:gd name="connsiteY3" fmla="*/ 2733750 h 2733750"/>
              <a:gd name="connsiteX4" fmla="*/ 0 w 1943907"/>
              <a:gd name="connsiteY4" fmla="*/ 0 h 27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907" h="2733750">
                <a:moveTo>
                  <a:pt x="0" y="0"/>
                </a:moveTo>
                <a:lnTo>
                  <a:pt x="1943907" y="0"/>
                </a:lnTo>
                <a:lnTo>
                  <a:pt x="1943907" y="2733750"/>
                </a:lnTo>
                <a:lnTo>
                  <a:pt x="0" y="27337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0" rIns="0" bIns="0" numCol="1" spcCol="1270" anchor="t" anchorCtr="0">
            <a:noAutofit/>
          </a:bodyPr>
          <a:lstStyle/>
          <a:p>
            <a:pPr marR="0" lvl="0" algn="l" defTabSz="914377" rtl="0" eaLnBrk="1" fontAlgn="auto" latinLnBrk="0" hangingPunct="1">
              <a:lnSpc>
                <a:spcPct val="95000"/>
              </a:lnSpc>
              <a:spcBef>
                <a:spcPts val="0"/>
              </a:spcBef>
              <a:spcAft>
                <a:spcPts val="600"/>
              </a:spcAft>
              <a:buClr>
                <a:srgbClr val="414141"/>
              </a:buClr>
              <a:buSzTx/>
              <a:tabLst/>
              <a:defRPr/>
            </a:pPr>
            <a:r>
              <a:rPr lang="en-US" sz="1600" b="1">
                <a:solidFill>
                  <a:srgbClr val="414141"/>
                </a:solidFill>
                <a:latin typeface="Lato"/>
              </a:rPr>
              <a:t>IT-friendly day 0-2 operations</a:t>
            </a:r>
          </a:p>
        </p:txBody>
      </p:sp>
      <p:sp>
        <p:nvSpPr>
          <p:cNvPr id="74" name="Freeform: Shape 3">
            <a:extLst>
              <a:ext uri="{FF2B5EF4-FFF2-40B4-BE49-F238E27FC236}">
                <a16:creationId xmlns:a16="http://schemas.microsoft.com/office/drawing/2014/main" id="{2AA40736-FFB7-E069-A6CC-8EEEB939E249}"/>
              </a:ext>
            </a:extLst>
          </p:cNvPr>
          <p:cNvSpPr/>
          <p:nvPr/>
        </p:nvSpPr>
        <p:spPr>
          <a:xfrm>
            <a:off x="1113010" y="3293318"/>
            <a:ext cx="2981151" cy="481185"/>
          </a:xfrm>
          <a:custGeom>
            <a:avLst/>
            <a:gdLst>
              <a:gd name="connsiteX0" fmla="*/ 0 w 1943907"/>
              <a:gd name="connsiteY0" fmla="*/ 0 h 2733750"/>
              <a:gd name="connsiteX1" fmla="*/ 1943907 w 1943907"/>
              <a:gd name="connsiteY1" fmla="*/ 0 h 2733750"/>
              <a:gd name="connsiteX2" fmla="*/ 1943907 w 1943907"/>
              <a:gd name="connsiteY2" fmla="*/ 2733750 h 2733750"/>
              <a:gd name="connsiteX3" fmla="*/ 0 w 1943907"/>
              <a:gd name="connsiteY3" fmla="*/ 2733750 h 2733750"/>
              <a:gd name="connsiteX4" fmla="*/ 0 w 1943907"/>
              <a:gd name="connsiteY4" fmla="*/ 0 h 27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907" h="2733750">
                <a:moveTo>
                  <a:pt x="0" y="0"/>
                </a:moveTo>
                <a:lnTo>
                  <a:pt x="1943907" y="0"/>
                </a:lnTo>
                <a:lnTo>
                  <a:pt x="1943907" y="2733750"/>
                </a:lnTo>
                <a:lnTo>
                  <a:pt x="0" y="27337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0" rIns="0" bIns="0" numCol="1" spcCol="1270" anchor="t" anchorCtr="0">
            <a:noAutofit/>
          </a:bodyPr>
          <a:lstStyle/>
          <a:p>
            <a:pPr>
              <a:lnSpc>
                <a:spcPct val="95000"/>
              </a:lnSpc>
              <a:spcAft>
                <a:spcPts val="600"/>
              </a:spcAft>
              <a:buClr>
                <a:srgbClr val="414141"/>
              </a:buClr>
              <a:defRPr/>
            </a:pPr>
            <a:r>
              <a:rPr kumimoji="0" lang="en-US" sz="1600" b="1" i="0" u="none" strike="noStrike" kern="1200" cap="none" spc="0" normalizeH="0" baseline="0" noProof="0">
                <a:ln>
                  <a:noFill/>
                </a:ln>
                <a:solidFill>
                  <a:srgbClr val="414141"/>
                </a:solidFill>
                <a:effectLst/>
                <a:uLnTx/>
                <a:uFillTx/>
                <a:latin typeface="Lato"/>
              </a:rPr>
              <a:t>Ind</a:t>
            </a:r>
            <a:r>
              <a:rPr lang="en-US" sz="1600" b="1">
                <a:solidFill>
                  <a:srgbClr val="414141"/>
                </a:solidFill>
                <a:latin typeface="Lato"/>
              </a:rPr>
              <a:t>ustry-first AI powered Access Control</a:t>
            </a:r>
          </a:p>
        </p:txBody>
      </p:sp>
      <p:grpSp>
        <p:nvGrpSpPr>
          <p:cNvPr id="125" name="Group 124">
            <a:extLst>
              <a:ext uri="{FF2B5EF4-FFF2-40B4-BE49-F238E27FC236}">
                <a16:creationId xmlns:a16="http://schemas.microsoft.com/office/drawing/2014/main" id="{64916B21-FA82-5F34-2262-FB26101FC94E}"/>
              </a:ext>
            </a:extLst>
          </p:cNvPr>
          <p:cNvGrpSpPr/>
          <p:nvPr/>
        </p:nvGrpSpPr>
        <p:grpSpPr>
          <a:xfrm>
            <a:off x="4243007" y="1162738"/>
            <a:ext cx="7449630" cy="5470792"/>
            <a:chOff x="2584283" y="890403"/>
            <a:chExt cx="7449630" cy="5470792"/>
          </a:xfrm>
        </p:grpSpPr>
        <p:grpSp>
          <p:nvGrpSpPr>
            <p:cNvPr id="3" name="Group 2">
              <a:extLst>
                <a:ext uri="{FF2B5EF4-FFF2-40B4-BE49-F238E27FC236}">
                  <a16:creationId xmlns:a16="http://schemas.microsoft.com/office/drawing/2014/main" id="{5899FF5C-7BCF-21CB-CA41-59BD54925121}"/>
                </a:ext>
              </a:extLst>
            </p:cNvPr>
            <p:cNvGrpSpPr/>
            <p:nvPr/>
          </p:nvGrpSpPr>
          <p:grpSpPr>
            <a:xfrm>
              <a:off x="2890590" y="941394"/>
              <a:ext cx="4070865" cy="1896978"/>
              <a:chOff x="3940816" y="1303507"/>
              <a:chExt cx="3609975" cy="1621383"/>
            </a:xfrm>
          </p:grpSpPr>
          <p:pic>
            <p:nvPicPr>
              <p:cNvPr id="4" name="Graphic 3">
                <a:extLst>
                  <a:ext uri="{FF2B5EF4-FFF2-40B4-BE49-F238E27FC236}">
                    <a16:creationId xmlns:a16="http://schemas.microsoft.com/office/drawing/2014/main" id="{812435A2-16A6-731A-9AE4-65C99218EC12}"/>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38297"/>
              <a:stretch/>
            </p:blipFill>
            <p:spPr>
              <a:xfrm>
                <a:off x="3940816" y="1308674"/>
                <a:ext cx="3609975" cy="1616216"/>
              </a:xfrm>
              <a:prstGeom prst="rect">
                <a:avLst/>
              </a:prstGeom>
            </p:spPr>
          </p:pic>
          <p:sp>
            <p:nvSpPr>
              <p:cNvPr id="5" name="Oval 4">
                <a:extLst>
                  <a:ext uri="{FF2B5EF4-FFF2-40B4-BE49-F238E27FC236}">
                    <a16:creationId xmlns:a16="http://schemas.microsoft.com/office/drawing/2014/main" id="{49F9536B-1DB7-0375-1CEC-1099516952A2}"/>
                  </a:ext>
                </a:extLst>
              </p:cNvPr>
              <p:cNvSpPr/>
              <p:nvPr/>
            </p:nvSpPr>
            <p:spPr>
              <a:xfrm>
                <a:off x="5232669" y="1303507"/>
                <a:ext cx="1024646" cy="1024646"/>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3F3B7450-3253-FB94-BD59-3D2DC64E67D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93167" y="1460433"/>
                <a:ext cx="492868" cy="331412"/>
              </a:xfrm>
              <a:prstGeom prst="rect">
                <a:avLst/>
              </a:prstGeom>
            </p:spPr>
          </p:pic>
          <p:pic>
            <p:nvPicPr>
              <p:cNvPr id="7" name="Graphic 6">
                <a:extLst>
                  <a:ext uri="{FF2B5EF4-FFF2-40B4-BE49-F238E27FC236}">
                    <a16:creationId xmlns:a16="http://schemas.microsoft.com/office/drawing/2014/main" id="{9CEADA04-B1FC-35CF-F1FC-188208EA1B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41710" y="1861224"/>
                <a:ext cx="617706" cy="247082"/>
              </a:xfrm>
              <a:prstGeom prst="rect">
                <a:avLst/>
              </a:prstGeom>
            </p:spPr>
          </p:pic>
          <p:sp>
            <p:nvSpPr>
              <p:cNvPr id="8" name="Rectangle: Rounded Corners 18">
                <a:extLst>
                  <a:ext uri="{FF2B5EF4-FFF2-40B4-BE49-F238E27FC236}">
                    <a16:creationId xmlns:a16="http://schemas.microsoft.com/office/drawing/2014/main" id="{F2636FE9-3B23-B8E5-1DDB-EB288F0D59DE}"/>
                  </a:ext>
                </a:extLst>
              </p:cNvPr>
              <p:cNvSpPr/>
              <p:nvPr/>
            </p:nvSpPr>
            <p:spPr>
              <a:xfrm>
                <a:off x="4901116" y="1608305"/>
                <a:ext cx="415050" cy="415050"/>
              </a:xfrm>
              <a:prstGeom prst="roundRect">
                <a:avLst>
                  <a:gd name="adj" fmla="val 11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19">
                <a:extLst>
                  <a:ext uri="{FF2B5EF4-FFF2-40B4-BE49-F238E27FC236}">
                    <a16:creationId xmlns:a16="http://schemas.microsoft.com/office/drawing/2014/main" id="{15B22AB9-1445-22CC-F861-75900F137863}"/>
                  </a:ext>
                </a:extLst>
              </p:cNvPr>
              <p:cNvSpPr/>
              <p:nvPr/>
            </p:nvSpPr>
            <p:spPr>
              <a:xfrm>
                <a:off x="6173818" y="1608305"/>
                <a:ext cx="415050" cy="415050"/>
              </a:xfrm>
              <a:prstGeom prst="roundRect">
                <a:avLst>
                  <a:gd name="adj" fmla="val 141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3CADCED0-E89B-6A9D-27E7-1AA767615F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973368" y="1684862"/>
                <a:ext cx="275369" cy="261936"/>
              </a:xfrm>
              <a:prstGeom prst="rect">
                <a:avLst/>
              </a:prstGeom>
            </p:spPr>
          </p:pic>
          <p:pic>
            <p:nvPicPr>
              <p:cNvPr id="11" name="Graphic 10">
                <a:extLst>
                  <a:ext uri="{FF2B5EF4-FFF2-40B4-BE49-F238E27FC236}">
                    <a16:creationId xmlns:a16="http://schemas.microsoft.com/office/drawing/2014/main" id="{6994933E-8213-178C-967C-C16DE4CCDAD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258329" y="1677312"/>
                <a:ext cx="277036" cy="277036"/>
              </a:xfrm>
              <a:prstGeom prst="rect">
                <a:avLst/>
              </a:prstGeom>
            </p:spPr>
          </p:pic>
          <p:sp>
            <p:nvSpPr>
              <p:cNvPr id="12" name="Google Shape;321;p9">
                <a:extLst>
                  <a:ext uri="{FF2B5EF4-FFF2-40B4-BE49-F238E27FC236}">
                    <a16:creationId xmlns:a16="http://schemas.microsoft.com/office/drawing/2014/main" id="{1F08815C-7903-15A0-6308-F2A730D4C9ED}"/>
                  </a:ext>
                </a:extLst>
              </p:cNvPr>
              <p:cNvSpPr txBox="1"/>
              <p:nvPr/>
            </p:nvSpPr>
            <p:spPr>
              <a:xfrm>
                <a:off x="3957676" y="1748466"/>
                <a:ext cx="894930" cy="307007"/>
              </a:xfrm>
              <a:prstGeom prst="rect">
                <a:avLst/>
              </a:prstGeom>
              <a:solidFill>
                <a:schemeClr val="bg1"/>
              </a:solidFill>
              <a:ln>
                <a:noFill/>
              </a:ln>
            </p:spPr>
            <p:txBody>
              <a:bodyPr spcFirstLastPara="1" wrap="square" lIns="27432" tIns="0" rIns="27432" bIns="0" anchor="t" anchorCtr="0">
                <a:spAutoFit/>
              </a:bodyPr>
              <a:lstStyle/>
              <a:p>
                <a:pPr algn="r">
                  <a:lnSpc>
                    <a:spcPct val="95000"/>
                  </a:lnSpc>
                  <a:defRPr/>
                </a:pPr>
                <a:r>
                  <a:rPr lang="en-US" sz="1050" kern="0">
                    <a:ea typeface="Lato"/>
                    <a:cs typeface="Lato"/>
                    <a:sym typeface="Lato"/>
                  </a:rPr>
                  <a:t>Artificial Intelligence</a:t>
                </a:r>
                <a:endParaRPr sz="1050" kern="0"/>
              </a:p>
            </p:txBody>
          </p:sp>
          <p:sp>
            <p:nvSpPr>
              <p:cNvPr id="17" name="Google Shape;321;p9">
                <a:extLst>
                  <a:ext uri="{FF2B5EF4-FFF2-40B4-BE49-F238E27FC236}">
                    <a16:creationId xmlns:a16="http://schemas.microsoft.com/office/drawing/2014/main" id="{24FB7857-A149-6385-1A75-1DB7348AC045}"/>
                  </a:ext>
                </a:extLst>
              </p:cNvPr>
              <p:cNvSpPr txBox="1"/>
              <p:nvPr/>
            </p:nvSpPr>
            <p:spPr>
              <a:xfrm>
                <a:off x="6617909" y="1845096"/>
                <a:ext cx="894930" cy="153504"/>
              </a:xfrm>
              <a:prstGeom prst="rect">
                <a:avLst/>
              </a:prstGeom>
              <a:solidFill>
                <a:schemeClr val="bg1"/>
              </a:solidFill>
              <a:ln>
                <a:noFill/>
              </a:ln>
            </p:spPr>
            <p:txBody>
              <a:bodyPr spcFirstLastPara="1" wrap="square" lIns="27432" tIns="0" rIns="27432" bIns="0" anchor="t" anchorCtr="0">
                <a:spAutoFit/>
              </a:bodyPr>
              <a:lstStyle/>
              <a:p>
                <a:pPr>
                  <a:lnSpc>
                    <a:spcPct val="95000"/>
                  </a:lnSpc>
                  <a:defRPr/>
                </a:pPr>
                <a:r>
                  <a:rPr lang="en-US" sz="1050" kern="0">
                    <a:ea typeface="Lato"/>
                    <a:cs typeface="Lato"/>
                    <a:sym typeface="Lato"/>
                  </a:rPr>
                  <a:t>Microservices</a:t>
                </a:r>
                <a:endParaRPr sz="1050" kern="0"/>
              </a:p>
            </p:txBody>
          </p:sp>
        </p:grpSp>
        <p:cxnSp>
          <p:nvCxnSpPr>
            <p:cNvPr id="20" name="Straight Connector 19">
              <a:extLst>
                <a:ext uri="{FF2B5EF4-FFF2-40B4-BE49-F238E27FC236}">
                  <a16:creationId xmlns:a16="http://schemas.microsoft.com/office/drawing/2014/main" id="{0CBE681B-FB91-6DF3-A2CE-A3C708F2DE72}"/>
                </a:ext>
              </a:extLst>
            </p:cNvPr>
            <p:cNvCxnSpPr>
              <a:cxnSpLocks/>
            </p:cNvCxnSpPr>
            <p:nvPr/>
          </p:nvCxnSpPr>
          <p:spPr>
            <a:xfrm flipH="1">
              <a:off x="4244241" y="2892199"/>
              <a:ext cx="641685" cy="1142581"/>
            </a:xfrm>
            <a:prstGeom prst="line">
              <a:avLst/>
            </a:prstGeom>
            <a:ln w="19050">
              <a:solidFill>
                <a:srgbClr val="0097A4"/>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83F09E-2F51-4D73-0A5E-0A57A3BE5BF5}"/>
                </a:ext>
              </a:extLst>
            </p:cNvPr>
            <p:cNvCxnSpPr>
              <a:cxnSpLocks/>
            </p:cNvCxnSpPr>
            <p:nvPr/>
          </p:nvCxnSpPr>
          <p:spPr>
            <a:xfrm>
              <a:off x="5010682" y="2901721"/>
              <a:ext cx="500107" cy="915604"/>
            </a:xfrm>
            <a:prstGeom prst="line">
              <a:avLst/>
            </a:prstGeom>
            <a:ln w="19050">
              <a:solidFill>
                <a:srgbClr val="0097A4"/>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EC448782-CECB-B923-B51F-26B50E21FF3C}"/>
                </a:ext>
              </a:extLst>
            </p:cNvPr>
            <p:cNvSpPr/>
            <p:nvPr/>
          </p:nvSpPr>
          <p:spPr>
            <a:xfrm>
              <a:off x="2641481" y="5048797"/>
              <a:ext cx="2095500" cy="400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lumMod val="75000"/>
                    </a:schemeClr>
                  </a:solidFill>
                  <a:effectLst/>
                  <a:uLnTx/>
                  <a:uFillTx/>
                  <a:latin typeface="Lato"/>
                  <a:ea typeface="+mn-ea"/>
                  <a:cs typeface="+mn-cs"/>
                </a:rPr>
                <a:t>Wired/Wireless Infrastructure</a:t>
              </a:r>
            </a:p>
          </p:txBody>
        </p:sp>
        <p:cxnSp>
          <p:nvCxnSpPr>
            <p:cNvPr id="38" name="Straight Arrow Connector 37">
              <a:extLst>
                <a:ext uri="{FF2B5EF4-FFF2-40B4-BE49-F238E27FC236}">
                  <a16:creationId xmlns:a16="http://schemas.microsoft.com/office/drawing/2014/main" id="{FDDFD357-233D-E485-70EF-2E5CDDE86D62}"/>
                </a:ext>
              </a:extLst>
            </p:cNvPr>
            <p:cNvCxnSpPr>
              <a:cxnSpLocks/>
            </p:cNvCxnSpPr>
            <p:nvPr/>
          </p:nvCxnSpPr>
          <p:spPr>
            <a:xfrm>
              <a:off x="7372471" y="1830469"/>
              <a:ext cx="513387" cy="0"/>
            </a:xfrm>
            <a:prstGeom prst="straightConnector1">
              <a:avLst/>
            </a:prstGeom>
            <a:ln w="1905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9" name="Picture 38" descr="Shape&#10;&#10;Description automatically generated with medium confidence">
              <a:extLst>
                <a:ext uri="{FF2B5EF4-FFF2-40B4-BE49-F238E27FC236}">
                  <a16:creationId xmlns:a16="http://schemas.microsoft.com/office/drawing/2014/main" id="{FF65DCD7-85E5-B6E2-CFA7-21510CA9D95D}"/>
                </a:ext>
              </a:extLst>
            </p:cNvPr>
            <p:cNvPicPr>
              <a:picLocks noChangeAspect="1"/>
            </p:cNvPicPr>
            <p:nvPr/>
          </p:nvPicPr>
          <p:blipFill>
            <a:blip r:embed="rId19"/>
            <a:stretch>
              <a:fillRect/>
            </a:stretch>
          </p:blipFill>
          <p:spPr>
            <a:xfrm>
              <a:off x="3555246" y="5855130"/>
              <a:ext cx="838792" cy="503275"/>
            </a:xfrm>
            <a:prstGeom prst="rect">
              <a:avLst/>
            </a:prstGeom>
          </p:spPr>
        </p:pic>
        <p:pic>
          <p:nvPicPr>
            <p:cNvPr id="46" name="Picture 45" descr="Icon&#10;&#10;Description automatically generated">
              <a:extLst>
                <a:ext uri="{FF2B5EF4-FFF2-40B4-BE49-F238E27FC236}">
                  <a16:creationId xmlns:a16="http://schemas.microsoft.com/office/drawing/2014/main" id="{DFB1A8AF-2F53-F741-98F7-A18D0036C271}"/>
                </a:ext>
              </a:extLst>
            </p:cNvPr>
            <p:cNvPicPr>
              <a:picLocks noChangeAspect="1"/>
            </p:cNvPicPr>
            <p:nvPr/>
          </p:nvPicPr>
          <p:blipFill>
            <a:blip r:embed="rId20"/>
            <a:stretch>
              <a:fillRect/>
            </a:stretch>
          </p:blipFill>
          <p:spPr>
            <a:xfrm>
              <a:off x="4245983" y="5901078"/>
              <a:ext cx="842623" cy="460117"/>
            </a:xfrm>
            <a:prstGeom prst="rect">
              <a:avLst/>
            </a:prstGeom>
          </p:spPr>
        </p:pic>
        <p:sp>
          <p:nvSpPr>
            <p:cNvPr id="48" name="Google Shape;321;p9">
              <a:extLst>
                <a:ext uri="{FF2B5EF4-FFF2-40B4-BE49-F238E27FC236}">
                  <a16:creationId xmlns:a16="http://schemas.microsoft.com/office/drawing/2014/main" id="{AF379FAF-0512-4057-3A05-1B1359F15AE7}"/>
                </a:ext>
              </a:extLst>
            </p:cNvPr>
            <p:cNvSpPr txBox="1"/>
            <p:nvPr/>
          </p:nvSpPr>
          <p:spPr>
            <a:xfrm>
              <a:off x="3033991" y="2241142"/>
              <a:ext cx="1299430" cy="307007"/>
            </a:xfrm>
            <a:prstGeom prst="rect">
              <a:avLst/>
            </a:prstGeom>
            <a:solidFill>
              <a:schemeClr val="bg1"/>
            </a:solidFill>
            <a:ln>
              <a:noFill/>
            </a:ln>
          </p:spPr>
          <p:txBody>
            <a:bodyPr spcFirstLastPara="1" wrap="square" lIns="27432" tIns="0" rIns="27432" bIns="0" anchor="t" anchorCtr="0">
              <a:spAutoFit/>
            </a:bodyPr>
            <a:lstStyle/>
            <a:p>
              <a:pPr algn="ctr">
                <a:lnSpc>
                  <a:spcPct val="95000"/>
                </a:lnSpc>
                <a:defRPr/>
              </a:pPr>
              <a:r>
                <a:rPr lang="en-US" sz="1050" kern="0">
                  <a:ea typeface="Lato"/>
                  <a:cs typeface="Lato"/>
                  <a:sym typeface="Lato"/>
                </a:rPr>
                <a:t>Access Assurance Service</a:t>
              </a:r>
              <a:endParaRPr sz="1050" kern="0"/>
            </a:p>
          </p:txBody>
        </p:sp>
        <p:cxnSp>
          <p:nvCxnSpPr>
            <p:cNvPr id="49" name="Straight Connector 48">
              <a:extLst>
                <a:ext uri="{FF2B5EF4-FFF2-40B4-BE49-F238E27FC236}">
                  <a16:creationId xmlns:a16="http://schemas.microsoft.com/office/drawing/2014/main" id="{33FA458D-98BE-64E9-A353-984F81EC0450}"/>
                </a:ext>
              </a:extLst>
            </p:cNvPr>
            <p:cNvCxnSpPr>
              <a:cxnSpLocks/>
            </p:cNvCxnSpPr>
            <p:nvPr/>
          </p:nvCxnSpPr>
          <p:spPr>
            <a:xfrm flipH="1">
              <a:off x="3156428" y="2889227"/>
              <a:ext cx="1594625" cy="1145553"/>
            </a:xfrm>
            <a:prstGeom prst="line">
              <a:avLst/>
            </a:prstGeom>
            <a:ln w="19050">
              <a:solidFill>
                <a:srgbClr val="0097A4"/>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66E19111-8269-9DF7-0884-D90D24544F99}"/>
                </a:ext>
              </a:extLst>
            </p:cNvPr>
            <p:cNvSpPr txBox="1"/>
            <p:nvPr/>
          </p:nvSpPr>
          <p:spPr>
            <a:xfrm>
              <a:off x="4280283" y="3207694"/>
              <a:ext cx="539444" cy="134238"/>
            </a:xfrm>
            <a:prstGeom prst="rect">
              <a:avLst/>
            </a:prstGeom>
            <a:solidFill>
              <a:srgbClr val="00B0F0"/>
            </a:solidFill>
            <a:ln>
              <a:solidFill>
                <a:schemeClr val="tx1">
                  <a:lumMod val="65000"/>
                  <a:lumOff val="35000"/>
                </a:schemeClr>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FFFFFF"/>
                  </a:solidFill>
                  <a:effectLst/>
                  <a:uLnTx/>
                  <a:uFillTx/>
                  <a:latin typeface="Lato"/>
                  <a:ea typeface="+mn-ea"/>
                  <a:cs typeface="+mn-cs"/>
                </a:rPr>
                <a:t>RadSec</a:t>
              </a:r>
              <a:endParaRPr kumimoji="0" lang="en-US" sz="1000" b="0" i="0" u="none" strike="noStrike" kern="1200" cap="none" spc="0" normalizeH="0" baseline="0" noProof="0">
                <a:ln>
                  <a:noFill/>
                </a:ln>
                <a:solidFill>
                  <a:srgbClr val="FFFFFF"/>
                </a:solidFill>
                <a:effectLst/>
                <a:uLnTx/>
                <a:uFillTx/>
                <a:latin typeface="Lato"/>
                <a:ea typeface="+mn-ea"/>
                <a:cs typeface="+mn-cs"/>
              </a:endParaRPr>
            </a:p>
          </p:txBody>
        </p:sp>
        <p:pic>
          <p:nvPicPr>
            <p:cNvPr id="51" name="Graphic 50">
              <a:extLst>
                <a:ext uri="{FF2B5EF4-FFF2-40B4-BE49-F238E27FC236}">
                  <a16:creationId xmlns:a16="http://schemas.microsoft.com/office/drawing/2014/main" id="{829F4C33-D536-A960-6976-18905F140D3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896890" y="4057353"/>
              <a:ext cx="614545" cy="602806"/>
            </a:xfrm>
            <a:prstGeom prst="rect">
              <a:avLst/>
            </a:prstGeom>
          </p:spPr>
        </p:pic>
        <p:sp>
          <p:nvSpPr>
            <p:cNvPr id="52" name="Google Shape;321;p9">
              <a:extLst>
                <a:ext uri="{FF2B5EF4-FFF2-40B4-BE49-F238E27FC236}">
                  <a16:creationId xmlns:a16="http://schemas.microsoft.com/office/drawing/2014/main" id="{384A677E-50B8-35D4-5E2F-25CE58B5E999}"/>
                </a:ext>
              </a:extLst>
            </p:cNvPr>
            <p:cNvSpPr txBox="1"/>
            <p:nvPr/>
          </p:nvSpPr>
          <p:spPr>
            <a:xfrm>
              <a:off x="2682850" y="4731201"/>
              <a:ext cx="894930" cy="153504"/>
            </a:xfrm>
            <a:prstGeom prst="rect">
              <a:avLst/>
            </a:prstGeom>
            <a:solidFill>
              <a:schemeClr val="bg1"/>
            </a:solidFill>
            <a:ln>
              <a:noFill/>
            </a:ln>
          </p:spPr>
          <p:txBody>
            <a:bodyPr spcFirstLastPara="1" wrap="square" lIns="27432" tIns="0" rIns="27432" bIns="0" anchor="t" anchorCtr="0">
              <a:spAutoFit/>
            </a:bodyPr>
            <a:lstStyle/>
            <a:p>
              <a:pPr algn="ctr">
                <a:lnSpc>
                  <a:spcPct val="95000"/>
                </a:lnSpc>
                <a:defRPr/>
              </a:pPr>
              <a:r>
                <a:rPr lang="en-US" sz="1050" kern="0">
                  <a:ea typeface="Lato"/>
                  <a:cs typeface="Lato"/>
                  <a:sym typeface="Lato"/>
                </a:rPr>
                <a:t>APs</a:t>
              </a:r>
              <a:endParaRPr sz="1050" kern="0"/>
            </a:p>
          </p:txBody>
        </p:sp>
        <p:sp>
          <p:nvSpPr>
            <p:cNvPr id="53" name="Google Shape;321;p9">
              <a:extLst>
                <a:ext uri="{FF2B5EF4-FFF2-40B4-BE49-F238E27FC236}">
                  <a16:creationId xmlns:a16="http://schemas.microsoft.com/office/drawing/2014/main" id="{5541A3ED-3A08-8A69-B2D5-2744448B38DB}"/>
                </a:ext>
              </a:extLst>
            </p:cNvPr>
            <p:cNvSpPr txBox="1"/>
            <p:nvPr/>
          </p:nvSpPr>
          <p:spPr>
            <a:xfrm>
              <a:off x="3774033" y="4728569"/>
              <a:ext cx="894930" cy="153504"/>
            </a:xfrm>
            <a:prstGeom prst="rect">
              <a:avLst/>
            </a:prstGeom>
            <a:solidFill>
              <a:schemeClr val="bg1"/>
            </a:solidFill>
            <a:ln>
              <a:noFill/>
            </a:ln>
          </p:spPr>
          <p:txBody>
            <a:bodyPr spcFirstLastPara="1" wrap="square" lIns="27432" tIns="0" rIns="27432" bIns="0" anchor="t" anchorCtr="0">
              <a:spAutoFit/>
            </a:bodyPr>
            <a:lstStyle/>
            <a:p>
              <a:pPr algn="ctr">
                <a:lnSpc>
                  <a:spcPct val="95000"/>
                </a:lnSpc>
                <a:defRPr/>
              </a:pPr>
              <a:r>
                <a:rPr lang="en-US" sz="1050" kern="0">
                  <a:ea typeface="Lato"/>
                  <a:cs typeface="Lato"/>
                  <a:sym typeface="Lato"/>
                </a:rPr>
                <a:t>Switch</a:t>
              </a:r>
              <a:endParaRPr sz="1050" kern="0"/>
            </a:p>
          </p:txBody>
        </p:sp>
        <p:pic>
          <p:nvPicPr>
            <p:cNvPr id="54" name="Graphic 53">
              <a:extLst>
                <a:ext uri="{FF2B5EF4-FFF2-40B4-BE49-F238E27FC236}">
                  <a16:creationId xmlns:a16="http://schemas.microsoft.com/office/drawing/2014/main" id="{2896BBB1-7626-36CD-2592-BE5AB8A94E1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0800000">
              <a:off x="5339561" y="4553553"/>
              <a:ext cx="406367" cy="470343"/>
            </a:xfrm>
            <a:prstGeom prst="rect">
              <a:avLst/>
            </a:prstGeom>
          </p:spPr>
        </p:pic>
        <p:pic>
          <p:nvPicPr>
            <p:cNvPr id="55" name="Graphic 54">
              <a:extLst>
                <a:ext uri="{FF2B5EF4-FFF2-40B4-BE49-F238E27FC236}">
                  <a16:creationId xmlns:a16="http://schemas.microsoft.com/office/drawing/2014/main" id="{73815F84-6029-3929-5304-A8CB480AD2F2}"/>
                </a:ext>
              </a:extLst>
            </p:cNvPr>
            <p:cNvPicPr>
              <a:picLocks noChangeAspect="1"/>
            </p:cNvPicPr>
            <p:nvPr/>
          </p:nvPicPr>
          <p:blipFill>
            <a:blip r:embed="rId21">
              <a:extLst>
                <a:ext uri="{96DAC541-7B7A-43D3-8B79-37D633B846F1}">
                  <asvg:svgBlip xmlns:asvg="http://schemas.microsoft.com/office/drawing/2016/SVG/main" r:embed="rId25"/>
                </a:ext>
              </a:extLst>
            </a:blip>
            <a:stretch>
              <a:fillRect/>
            </a:stretch>
          </p:blipFill>
          <p:spPr>
            <a:xfrm>
              <a:off x="6463463" y="4568432"/>
              <a:ext cx="464030" cy="455165"/>
            </a:xfrm>
            <a:prstGeom prst="rect">
              <a:avLst/>
            </a:prstGeom>
          </p:spPr>
        </p:pic>
        <p:cxnSp>
          <p:nvCxnSpPr>
            <p:cNvPr id="56" name="Straight Connector 55">
              <a:extLst>
                <a:ext uri="{FF2B5EF4-FFF2-40B4-BE49-F238E27FC236}">
                  <a16:creationId xmlns:a16="http://schemas.microsoft.com/office/drawing/2014/main" id="{77F38CE7-6E0E-2D63-0F05-754EC50D5962}"/>
                </a:ext>
              </a:extLst>
            </p:cNvPr>
            <p:cNvCxnSpPr>
              <a:cxnSpLocks/>
            </p:cNvCxnSpPr>
            <p:nvPr/>
          </p:nvCxnSpPr>
          <p:spPr>
            <a:xfrm flipH="1">
              <a:off x="5526252" y="4187241"/>
              <a:ext cx="4147" cy="618080"/>
            </a:xfrm>
            <a:prstGeom prst="line">
              <a:avLst/>
            </a:prstGeom>
            <a:ln w="19050">
              <a:solidFill>
                <a:srgbClr val="0097A4"/>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58EAC58D-064B-6A57-39D8-8EC5E6560E18}"/>
                </a:ext>
              </a:extLst>
            </p:cNvPr>
            <p:cNvSpPr/>
            <p:nvPr/>
          </p:nvSpPr>
          <p:spPr>
            <a:xfrm>
              <a:off x="5086406" y="5049809"/>
              <a:ext cx="2095500" cy="400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lumMod val="75000"/>
                    </a:schemeClr>
                  </a:solidFill>
                  <a:effectLst/>
                  <a:uLnTx/>
                  <a:uFillTx/>
                  <a:latin typeface="Lato"/>
                  <a:ea typeface="+mn-ea"/>
                  <a:cs typeface="+mn-cs"/>
                </a:rPr>
                <a:t>3</a:t>
              </a:r>
              <a:r>
                <a:rPr kumimoji="0" lang="en-GB" sz="1200" b="1" i="0" u="none" strike="noStrike" kern="1200" cap="none" spc="0" normalizeH="0" baseline="30000" noProof="0">
                  <a:ln>
                    <a:noFill/>
                  </a:ln>
                  <a:solidFill>
                    <a:schemeClr val="tx1">
                      <a:lumMod val="75000"/>
                    </a:schemeClr>
                  </a:solidFill>
                  <a:effectLst/>
                  <a:uLnTx/>
                  <a:uFillTx/>
                  <a:latin typeface="Lato"/>
                  <a:ea typeface="+mn-ea"/>
                  <a:cs typeface="+mn-cs"/>
                </a:rPr>
                <a:t>rd</a:t>
              </a:r>
              <a:r>
                <a:rPr kumimoji="0" lang="en-GB" sz="1200" b="1" i="0" u="none" strike="noStrike" kern="1200" cap="none" spc="0" normalizeH="0" baseline="0" noProof="0">
                  <a:ln>
                    <a:noFill/>
                  </a:ln>
                  <a:solidFill>
                    <a:schemeClr val="tx1">
                      <a:lumMod val="75000"/>
                    </a:schemeClr>
                  </a:solidFill>
                  <a:effectLst/>
                  <a:uLnTx/>
                  <a:uFillTx/>
                  <a:latin typeface="Lato"/>
                  <a:ea typeface="+mn-ea"/>
                  <a:cs typeface="+mn-cs"/>
                </a:rPr>
                <a:t> Party W&amp;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lumMod val="75000"/>
                    </a:schemeClr>
                  </a:solidFill>
                  <a:effectLst/>
                  <a:uLnTx/>
                  <a:uFillTx/>
                  <a:latin typeface="Lato"/>
                  <a:ea typeface="+mn-ea"/>
                  <a:cs typeface="+mn-cs"/>
                </a:rPr>
                <a:t>Infrastructure</a:t>
              </a:r>
            </a:p>
          </p:txBody>
        </p:sp>
        <p:sp>
          <p:nvSpPr>
            <p:cNvPr id="58" name="Rectangle 57">
              <a:extLst>
                <a:ext uri="{FF2B5EF4-FFF2-40B4-BE49-F238E27FC236}">
                  <a16:creationId xmlns:a16="http://schemas.microsoft.com/office/drawing/2014/main" id="{50A283B9-5430-FEEC-11E5-FFAB96987AA2}"/>
                </a:ext>
              </a:extLst>
            </p:cNvPr>
            <p:cNvSpPr/>
            <p:nvPr/>
          </p:nvSpPr>
          <p:spPr>
            <a:xfrm>
              <a:off x="5770813" y="3813980"/>
              <a:ext cx="1040841" cy="364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2"/>
                  </a:solidFill>
                  <a:effectLst/>
                  <a:uLnTx/>
                  <a:uFillTx/>
                  <a:latin typeface="Lato"/>
                  <a:ea typeface="+mn-ea"/>
                  <a:cs typeface="+mn-cs"/>
                </a:rPr>
                <a:t>Mist Ed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2"/>
                  </a:solidFill>
                  <a:effectLst/>
                  <a:uLnTx/>
                  <a:uFillTx/>
                  <a:latin typeface="Lato"/>
                  <a:ea typeface="+mn-ea"/>
                  <a:cs typeface="+mn-cs"/>
                </a:rPr>
                <a:t>(NAC Proxy)</a:t>
              </a:r>
            </a:p>
          </p:txBody>
        </p:sp>
        <p:sp>
          <p:nvSpPr>
            <p:cNvPr id="59" name="TextBox 58">
              <a:extLst>
                <a:ext uri="{FF2B5EF4-FFF2-40B4-BE49-F238E27FC236}">
                  <a16:creationId xmlns:a16="http://schemas.microsoft.com/office/drawing/2014/main" id="{C76FAF9A-7693-BF68-F6B4-BEEEFA05CDCD}"/>
                </a:ext>
              </a:extLst>
            </p:cNvPr>
            <p:cNvSpPr txBox="1"/>
            <p:nvPr/>
          </p:nvSpPr>
          <p:spPr>
            <a:xfrm>
              <a:off x="6475643" y="4329928"/>
              <a:ext cx="439670" cy="151784"/>
            </a:xfrm>
            <a:prstGeom prst="rect">
              <a:avLst/>
            </a:prstGeom>
            <a:solidFill>
              <a:srgbClr val="00B0F0"/>
            </a:solidFill>
            <a:ln>
              <a:solidFill>
                <a:schemeClr val="tx1">
                  <a:lumMod val="65000"/>
                  <a:lumOff val="35000"/>
                </a:schemeClr>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ato"/>
                  <a:ea typeface="+mn-ea"/>
                  <a:cs typeface="+mn-cs"/>
                </a:rPr>
                <a:t>RADIUS</a:t>
              </a:r>
            </a:p>
          </p:txBody>
        </p:sp>
        <p:sp>
          <p:nvSpPr>
            <p:cNvPr id="60" name="TextBox 59">
              <a:extLst>
                <a:ext uri="{FF2B5EF4-FFF2-40B4-BE49-F238E27FC236}">
                  <a16:creationId xmlns:a16="http://schemas.microsoft.com/office/drawing/2014/main" id="{7875AEDA-93F6-C614-9D58-27265033D743}"/>
                </a:ext>
              </a:extLst>
            </p:cNvPr>
            <p:cNvSpPr txBox="1"/>
            <p:nvPr/>
          </p:nvSpPr>
          <p:spPr>
            <a:xfrm>
              <a:off x="7259215" y="4344198"/>
              <a:ext cx="0" cy="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Z" sz="1200" b="0" i="0" u="none" strike="noStrike" kern="1200" cap="none" spc="0" normalizeH="0" baseline="0" noProof="0">
                <a:ln>
                  <a:noFill/>
                </a:ln>
                <a:solidFill>
                  <a:srgbClr val="000000"/>
                </a:solidFill>
                <a:effectLst/>
                <a:uLnTx/>
                <a:uFillTx/>
                <a:latin typeface="Lato"/>
                <a:ea typeface="+mn-ea"/>
                <a:cs typeface="+mn-cs"/>
              </a:endParaRPr>
            </a:p>
          </p:txBody>
        </p:sp>
        <p:sp>
          <p:nvSpPr>
            <p:cNvPr id="61" name="Rounded Rectangle 60">
              <a:extLst>
                <a:ext uri="{FF2B5EF4-FFF2-40B4-BE49-F238E27FC236}">
                  <a16:creationId xmlns:a16="http://schemas.microsoft.com/office/drawing/2014/main" id="{2E610C33-21B3-CE75-2ABD-E9D08AB5233E}"/>
                </a:ext>
              </a:extLst>
            </p:cNvPr>
            <p:cNvSpPr/>
            <p:nvPr/>
          </p:nvSpPr>
          <p:spPr>
            <a:xfrm>
              <a:off x="2637512" y="3743493"/>
              <a:ext cx="2113541" cy="1816507"/>
            </a:xfrm>
            <a:prstGeom prst="roundRect">
              <a:avLst/>
            </a:prstGeom>
            <a:noFill/>
            <a:ln w="158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ounded Rectangle 61">
              <a:extLst>
                <a:ext uri="{FF2B5EF4-FFF2-40B4-BE49-F238E27FC236}">
                  <a16:creationId xmlns:a16="http://schemas.microsoft.com/office/drawing/2014/main" id="{F8FDFDAA-DADA-D8BF-9107-344DB84648FF}"/>
                </a:ext>
              </a:extLst>
            </p:cNvPr>
            <p:cNvSpPr/>
            <p:nvPr/>
          </p:nvSpPr>
          <p:spPr>
            <a:xfrm>
              <a:off x="5076881" y="3738177"/>
              <a:ext cx="2113541" cy="1816507"/>
            </a:xfrm>
            <a:prstGeom prst="roundRect">
              <a:avLst/>
            </a:prstGeom>
            <a:noFill/>
            <a:ln w="158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29FDD5EB-C1E5-B3D9-EC21-B3F051108A85}"/>
                </a:ext>
              </a:extLst>
            </p:cNvPr>
            <p:cNvSpPr txBox="1"/>
            <p:nvPr/>
          </p:nvSpPr>
          <p:spPr>
            <a:xfrm>
              <a:off x="5313561" y="4347585"/>
              <a:ext cx="439670" cy="156106"/>
            </a:xfrm>
            <a:prstGeom prst="rect">
              <a:avLst/>
            </a:prstGeom>
            <a:solidFill>
              <a:srgbClr val="00B0F0"/>
            </a:solidFill>
            <a:ln>
              <a:solidFill>
                <a:schemeClr val="tx1">
                  <a:lumMod val="65000"/>
                  <a:lumOff val="35000"/>
                </a:schemeClr>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ato"/>
                  <a:ea typeface="+mn-ea"/>
                  <a:cs typeface="+mn-cs"/>
                </a:rPr>
                <a:t>RADIUS</a:t>
              </a:r>
            </a:p>
          </p:txBody>
        </p:sp>
        <p:pic>
          <p:nvPicPr>
            <p:cNvPr id="64" name="Graphic 63">
              <a:extLst>
                <a:ext uri="{FF2B5EF4-FFF2-40B4-BE49-F238E27FC236}">
                  <a16:creationId xmlns:a16="http://schemas.microsoft.com/office/drawing/2014/main" id="{854CC787-80CB-8FDA-13DA-6C79226C53C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711383" y="5965832"/>
              <a:ext cx="333088" cy="333088"/>
            </a:xfrm>
            <a:prstGeom prst="rect">
              <a:avLst/>
            </a:prstGeom>
          </p:spPr>
        </p:pic>
        <p:pic>
          <p:nvPicPr>
            <p:cNvPr id="68" name="Graphic 67">
              <a:extLst>
                <a:ext uri="{FF2B5EF4-FFF2-40B4-BE49-F238E27FC236}">
                  <a16:creationId xmlns:a16="http://schemas.microsoft.com/office/drawing/2014/main" id="{4A5D97F8-85C1-0ADE-A50C-700A2CF293F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058806" y="5959347"/>
              <a:ext cx="527620" cy="335759"/>
            </a:xfrm>
            <a:prstGeom prst="rect">
              <a:avLst/>
            </a:prstGeom>
          </p:spPr>
        </p:pic>
        <p:grpSp>
          <p:nvGrpSpPr>
            <p:cNvPr id="71" name="Group 70">
              <a:extLst>
                <a:ext uri="{FF2B5EF4-FFF2-40B4-BE49-F238E27FC236}">
                  <a16:creationId xmlns:a16="http://schemas.microsoft.com/office/drawing/2014/main" id="{F46A7DA9-5C97-8CF6-FAA4-AA6BE24D63BE}"/>
                </a:ext>
              </a:extLst>
            </p:cNvPr>
            <p:cNvGrpSpPr/>
            <p:nvPr/>
          </p:nvGrpSpPr>
          <p:grpSpPr>
            <a:xfrm>
              <a:off x="7906704" y="890403"/>
              <a:ext cx="2127209" cy="2014247"/>
              <a:chOff x="7626746" y="428032"/>
              <a:chExt cx="3429000" cy="3246916"/>
            </a:xfrm>
          </p:grpSpPr>
          <p:pic>
            <p:nvPicPr>
              <p:cNvPr id="73" name="Picture 72">
                <a:extLst>
                  <a:ext uri="{FF2B5EF4-FFF2-40B4-BE49-F238E27FC236}">
                    <a16:creationId xmlns:a16="http://schemas.microsoft.com/office/drawing/2014/main" id="{92B016C9-86F9-FF59-01FB-12C273A5E10B}"/>
                  </a:ext>
                </a:extLst>
              </p:cNvPr>
              <p:cNvPicPr>
                <a:picLocks noChangeAspect="1"/>
              </p:cNvPicPr>
              <p:nvPr/>
            </p:nvPicPr>
            <p:blipFill>
              <a:blip r:embed="rId30"/>
              <a:stretch>
                <a:fillRect/>
              </a:stretch>
            </p:blipFill>
            <p:spPr>
              <a:xfrm>
                <a:off x="10033457" y="1302728"/>
                <a:ext cx="898558" cy="500142"/>
              </a:xfrm>
              <a:prstGeom prst="rect">
                <a:avLst/>
              </a:prstGeom>
            </p:spPr>
          </p:pic>
          <p:pic>
            <p:nvPicPr>
              <p:cNvPr id="75" name="Picture 74">
                <a:extLst>
                  <a:ext uri="{FF2B5EF4-FFF2-40B4-BE49-F238E27FC236}">
                    <a16:creationId xmlns:a16="http://schemas.microsoft.com/office/drawing/2014/main" id="{5263E41D-BBF0-38CA-FAC3-6365D2C3AF95}"/>
                  </a:ext>
                </a:extLst>
              </p:cNvPr>
              <p:cNvPicPr>
                <a:picLocks noChangeAspect="1"/>
              </p:cNvPicPr>
              <p:nvPr/>
            </p:nvPicPr>
            <p:blipFill>
              <a:blip r:embed="rId31"/>
              <a:stretch>
                <a:fillRect/>
              </a:stretch>
            </p:blipFill>
            <p:spPr>
              <a:xfrm>
                <a:off x="7813954" y="1321699"/>
                <a:ext cx="657407" cy="657407"/>
              </a:xfrm>
              <a:prstGeom prst="rect">
                <a:avLst/>
              </a:prstGeom>
            </p:spPr>
          </p:pic>
          <p:sp>
            <p:nvSpPr>
              <p:cNvPr id="76" name="Rectangle 75">
                <a:extLst>
                  <a:ext uri="{FF2B5EF4-FFF2-40B4-BE49-F238E27FC236}">
                    <a16:creationId xmlns:a16="http://schemas.microsoft.com/office/drawing/2014/main" id="{AF9916FB-7484-B319-9552-F8365C40F7EB}"/>
                  </a:ext>
                </a:extLst>
              </p:cNvPr>
              <p:cNvSpPr/>
              <p:nvPr/>
            </p:nvSpPr>
            <p:spPr>
              <a:xfrm>
                <a:off x="7813954" y="481211"/>
                <a:ext cx="3017741" cy="44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tx1">
                        <a:lumMod val="75000"/>
                        <a:lumOff val="25000"/>
                      </a:schemeClr>
                    </a:solidFill>
                    <a:effectLst/>
                    <a:uLnTx/>
                    <a:uFillTx/>
                    <a:latin typeface="Lato"/>
                    <a:ea typeface="+mn-ea"/>
                    <a:cs typeface="+mn-cs"/>
                  </a:rPr>
                  <a:t>Cloud Directories &amp; Services (3</a:t>
                </a:r>
                <a:r>
                  <a:rPr kumimoji="0" lang="en-GB" sz="1000" b="1" i="0" u="none" strike="noStrike" kern="1200" cap="none" spc="0" normalizeH="0" baseline="30000" noProof="0">
                    <a:ln>
                      <a:noFill/>
                    </a:ln>
                    <a:solidFill>
                      <a:schemeClr val="tx1">
                        <a:lumMod val="75000"/>
                        <a:lumOff val="25000"/>
                      </a:schemeClr>
                    </a:solidFill>
                    <a:effectLst/>
                    <a:uLnTx/>
                    <a:uFillTx/>
                    <a:latin typeface="Lato"/>
                    <a:ea typeface="+mn-ea"/>
                    <a:cs typeface="+mn-cs"/>
                  </a:rPr>
                  <a:t>rd</a:t>
                </a:r>
                <a:r>
                  <a:rPr kumimoji="0" lang="en-GB" sz="1000" b="1" i="0" u="none" strike="noStrike" kern="1200" cap="none" spc="0" normalizeH="0" baseline="0" noProof="0">
                    <a:ln>
                      <a:noFill/>
                    </a:ln>
                    <a:solidFill>
                      <a:schemeClr val="tx1">
                        <a:lumMod val="75000"/>
                        <a:lumOff val="25000"/>
                      </a:schemeClr>
                    </a:solidFill>
                    <a:effectLst/>
                    <a:uLnTx/>
                    <a:uFillTx/>
                    <a:latin typeface="Lato"/>
                    <a:ea typeface="+mn-ea"/>
                    <a:cs typeface="+mn-cs"/>
                  </a:rPr>
                  <a:t> party)</a:t>
                </a:r>
              </a:p>
            </p:txBody>
          </p:sp>
          <p:pic>
            <p:nvPicPr>
              <p:cNvPr id="77" name="Picture 76">
                <a:extLst>
                  <a:ext uri="{FF2B5EF4-FFF2-40B4-BE49-F238E27FC236}">
                    <a16:creationId xmlns:a16="http://schemas.microsoft.com/office/drawing/2014/main" id="{B4B0CA84-9132-880A-9B19-8005A7F3E302}"/>
                  </a:ext>
                </a:extLst>
              </p:cNvPr>
              <p:cNvPicPr>
                <a:picLocks noChangeAspect="1"/>
              </p:cNvPicPr>
              <p:nvPr/>
            </p:nvPicPr>
            <p:blipFill>
              <a:blip r:embed="rId32"/>
              <a:stretch>
                <a:fillRect/>
              </a:stretch>
            </p:blipFill>
            <p:spPr>
              <a:xfrm>
                <a:off x="7752641" y="2085192"/>
                <a:ext cx="1176140" cy="336040"/>
              </a:xfrm>
              <a:prstGeom prst="rect">
                <a:avLst/>
              </a:prstGeom>
            </p:spPr>
          </p:pic>
          <p:pic>
            <p:nvPicPr>
              <p:cNvPr id="79" name="Picture 4" descr="Why WBA&amp;#39;s OpenRoaming is laying the foundation for a roaming revolution -  Cisco Blogs">
                <a:extLst>
                  <a:ext uri="{FF2B5EF4-FFF2-40B4-BE49-F238E27FC236}">
                    <a16:creationId xmlns:a16="http://schemas.microsoft.com/office/drawing/2014/main" id="{F455FE7E-6561-C600-8EA5-FDA4A0A1A9C8}"/>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788797" y="1289363"/>
                <a:ext cx="800226" cy="69335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4" descr="eduroam.cz [eduroam.cz]">
                <a:extLst>
                  <a:ext uri="{FF2B5EF4-FFF2-40B4-BE49-F238E27FC236}">
                    <a16:creationId xmlns:a16="http://schemas.microsoft.com/office/drawing/2014/main" id="{3FEA7523-4999-6E55-FDFF-1B90588419C2}"/>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759595" y="2565253"/>
                <a:ext cx="1103951" cy="478378"/>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6" descr="Identity Security for the Digital Enterprise | Ping Identity">
                <a:extLst>
                  <a:ext uri="{FF2B5EF4-FFF2-40B4-BE49-F238E27FC236}">
                    <a16:creationId xmlns:a16="http://schemas.microsoft.com/office/drawing/2014/main" id="{6525F811-CD68-BF73-C194-4A41CA2F9D7A}"/>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057707" y="2346547"/>
                <a:ext cx="450230" cy="45023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Deploy Win32 apps with Microsoft Intune |">
                <a:extLst>
                  <a:ext uri="{FF2B5EF4-FFF2-40B4-BE49-F238E27FC236}">
                    <a16:creationId xmlns:a16="http://schemas.microsoft.com/office/drawing/2014/main" id="{C984F332-055A-BE1D-D1E1-094A827703EF}"/>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803232" y="2584519"/>
                <a:ext cx="1091621" cy="424519"/>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descr="SimpleMDM (@simplemdm) / Twitter">
                <a:extLst>
                  <a:ext uri="{FF2B5EF4-FFF2-40B4-BE49-F238E27FC236}">
                    <a16:creationId xmlns:a16="http://schemas.microsoft.com/office/drawing/2014/main" id="{76F3534A-E39F-9052-BBEF-04C9D458101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325934" y="3107488"/>
                <a:ext cx="718022" cy="45790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2" descr="Confluence Mobile - The Evolve IP Knowledge Base">
                <a:extLst>
                  <a:ext uri="{FF2B5EF4-FFF2-40B4-BE49-F238E27FC236}">
                    <a16:creationId xmlns:a16="http://schemas.microsoft.com/office/drawing/2014/main" id="{048D2084-B2ED-B4B5-AFA0-FE7CDD738B25}"/>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399492" y="2984569"/>
                <a:ext cx="718022" cy="61032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38C8A007-2D57-5D2A-E47E-770A5560DE4C}"/>
                  </a:ext>
                </a:extLst>
              </p:cNvPr>
              <p:cNvPicPr>
                <a:picLocks noChangeAspect="1"/>
              </p:cNvPicPr>
              <p:nvPr/>
            </p:nvPicPr>
            <p:blipFill>
              <a:blip r:embed="rId39"/>
              <a:stretch>
                <a:fillRect/>
              </a:stretch>
            </p:blipFill>
            <p:spPr>
              <a:xfrm>
                <a:off x="9787190" y="2035372"/>
                <a:ext cx="1144826" cy="385563"/>
              </a:xfrm>
              <a:prstGeom prst="rect">
                <a:avLst/>
              </a:prstGeom>
            </p:spPr>
          </p:pic>
          <p:sp>
            <p:nvSpPr>
              <p:cNvPr id="96" name="Rounded Rectangle 95">
                <a:extLst>
                  <a:ext uri="{FF2B5EF4-FFF2-40B4-BE49-F238E27FC236}">
                    <a16:creationId xmlns:a16="http://schemas.microsoft.com/office/drawing/2014/main" id="{2D11DAAA-CFC6-AB09-744C-3CD1EB64AE05}"/>
                  </a:ext>
                </a:extLst>
              </p:cNvPr>
              <p:cNvSpPr/>
              <p:nvPr/>
            </p:nvSpPr>
            <p:spPr>
              <a:xfrm>
                <a:off x="7626746" y="428032"/>
                <a:ext cx="3429000" cy="3246916"/>
              </a:xfrm>
              <a:prstGeom prst="round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0" name="Rounded Rectangle 99">
              <a:extLst>
                <a:ext uri="{FF2B5EF4-FFF2-40B4-BE49-F238E27FC236}">
                  <a16:creationId xmlns:a16="http://schemas.microsoft.com/office/drawing/2014/main" id="{8A5F23A9-D8AA-7550-D027-82D7CC3BA98C}"/>
                </a:ext>
              </a:extLst>
            </p:cNvPr>
            <p:cNvSpPr/>
            <p:nvPr/>
          </p:nvSpPr>
          <p:spPr>
            <a:xfrm>
              <a:off x="2584283" y="893612"/>
              <a:ext cx="4711134" cy="1960327"/>
            </a:xfrm>
            <a:prstGeom prst="roundRect">
              <a:avLst/>
            </a:prstGeom>
            <a:noFill/>
            <a:ln w="158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1" name="Graphic 100">
              <a:extLst>
                <a:ext uri="{FF2B5EF4-FFF2-40B4-BE49-F238E27FC236}">
                  <a16:creationId xmlns:a16="http://schemas.microsoft.com/office/drawing/2014/main" id="{E183C4AE-354A-6519-05C5-2CE99250AD8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5207165" y="3835642"/>
              <a:ext cx="638175" cy="342900"/>
            </a:xfrm>
            <a:prstGeom prst="rect">
              <a:avLst/>
            </a:prstGeom>
          </p:spPr>
        </p:pic>
        <p:grpSp>
          <p:nvGrpSpPr>
            <p:cNvPr id="102" name="Group 101">
              <a:extLst>
                <a:ext uri="{FF2B5EF4-FFF2-40B4-BE49-F238E27FC236}">
                  <a16:creationId xmlns:a16="http://schemas.microsoft.com/office/drawing/2014/main" id="{BAE2B9A6-5A04-E619-0852-05969C3E57CD}"/>
                </a:ext>
              </a:extLst>
            </p:cNvPr>
            <p:cNvGrpSpPr/>
            <p:nvPr/>
          </p:nvGrpSpPr>
          <p:grpSpPr>
            <a:xfrm>
              <a:off x="4981385" y="2199896"/>
              <a:ext cx="427297" cy="400173"/>
              <a:chOff x="10976368" y="690451"/>
              <a:chExt cx="548640" cy="549935"/>
            </a:xfrm>
          </p:grpSpPr>
          <p:sp>
            <p:nvSpPr>
              <p:cNvPr id="103" name="Rounded Rectangle 102">
                <a:extLst>
                  <a:ext uri="{FF2B5EF4-FFF2-40B4-BE49-F238E27FC236}">
                    <a16:creationId xmlns:a16="http://schemas.microsoft.com/office/drawing/2014/main" id="{8D5EE370-EB6B-F247-1A79-4E76CA03FDA3}"/>
                  </a:ext>
                </a:extLst>
              </p:cNvPr>
              <p:cNvSpPr/>
              <p:nvPr/>
            </p:nvSpPr>
            <p:spPr>
              <a:xfrm>
                <a:off x="10976368" y="690451"/>
                <a:ext cx="548640" cy="549935"/>
              </a:xfrm>
              <a:prstGeom prst="round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5" name="Graphic 104">
                <a:extLst>
                  <a:ext uri="{FF2B5EF4-FFF2-40B4-BE49-F238E27FC236}">
                    <a16:creationId xmlns:a16="http://schemas.microsoft.com/office/drawing/2014/main" id="{2EE54D29-7597-C694-2144-4EE57F3F0CE1}"/>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998796" y="747136"/>
                <a:ext cx="485985" cy="436563"/>
              </a:xfrm>
              <a:prstGeom prst="rect">
                <a:avLst/>
              </a:prstGeom>
            </p:spPr>
          </p:pic>
        </p:grpSp>
        <p:grpSp>
          <p:nvGrpSpPr>
            <p:cNvPr id="106" name="Group 105">
              <a:extLst>
                <a:ext uri="{FF2B5EF4-FFF2-40B4-BE49-F238E27FC236}">
                  <a16:creationId xmlns:a16="http://schemas.microsoft.com/office/drawing/2014/main" id="{5E0BDE7D-4E95-6A97-7203-00045DBF335D}"/>
                </a:ext>
              </a:extLst>
            </p:cNvPr>
            <p:cNvGrpSpPr/>
            <p:nvPr/>
          </p:nvGrpSpPr>
          <p:grpSpPr>
            <a:xfrm>
              <a:off x="4380601" y="2199894"/>
              <a:ext cx="427297" cy="400173"/>
              <a:chOff x="10976368" y="690451"/>
              <a:chExt cx="548640" cy="549935"/>
            </a:xfrm>
          </p:grpSpPr>
          <p:sp>
            <p:nvSpPr>
              <p:cNvPr id="107" name="Rounded Rectangle 106">
                <a:extLst>
                  <a:ext uri="{FF2B5EF4-FFF2-40B4-BE49-F238E27FC236}">
                    <a16:creationId xmlns:a16="http://schemas.microsoft.com/office/drawing/2014/main" id="{946A7DF8-2C04-6BA7-C68A-EE1A47BD4207}"/>
                  </a:ext>
                </a:extLst>
              </p:cNvPr>
              <p:cNvSpPr/>
              <p:nvPr/>
            </p:nvSpPr>
            <p:spPr>
              <a:xfrm>
                <a:off x="10976368" y="690451"/>
                <a:ext cx="548640" cy="549935"/>
              </a:xfrm>
              <a:prstGeom prst="round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8" name="Graphic 107">
                <a:extLst>
                  <a:ext uri="{FF2B5EF4-FFF2-40B4-BE49-F238E27FC236}">
                    <a16:creationId xmlns:a16="http://schemas.microsoft.com/office/drawing/2014/main" id="{C5DC9D33-69C7-B6CC-DF53-48A4FF8080C3}"/>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998800" y="747136"/>
                <a:ext cx="485985" cy="436563"/>
              </a:xfrm>
              <a:prstGeom prst="rect">
                <a:avLst/>
              </a:prstGeom>
            </p:spPr>
          </p:pic>
        </p:grpSp>
        <p:grpSp>
          <p:nvGrpSpPr>
            <p:cNvPr id="109" name="Group 108">
              <a:extLst>
                <a:ext uri="{FF2B5EF4-FFF2-40B4-BE49-F238E27FC236}">
                  <a16:creationId xmlns:a16="http://schemas.microsoft.com/office/drawing/2014/main" id="{9518E9F6-0CD7-33C2-41B6-D6E45CF053B6}"/>
                </a:ext>
              </a:extLst>
            </p:cNvPr>
            <p:cNvGrpSpPr/>
            <p:nvPr/>
          </p:nvGrpSpPr>
          <p:grpSpPr>
            <a:xfrm>
              <a:off x="4665878" y="2379358"/>
              <a:ext cx="427297" cy="400173"/>
              <a:chOff x="10976368" y="690451"/>
              <a:chExt cx="548640" cy="549935"/>
            </a:xfrm>
          </p:grpSpPr>
          <p:sp>
            <p:nvSpPr>
              <p:cNvPr id="110" name="Rounded Rectangle 109">
                <a:extLst>
                  <a:ext uri="{FF2B5EF4-FFF2-40B4-BE49-F238E27FC236}">
                    <a16:creationId xmlns:a16="http://schemas.microsoft.com/office/drawing/2014/main" id="{1AB508D6-5EAB-A3A3-4571-E1E443A62417}"/>
                  </a:ext>
                </a:extLst>
              </p:cNvPr>
              <p:cNvSpPr/>
              <p:nvPr/>
            </p:nvSpPr>
            <p:spPr>
              <a:xfrm>
                <a:off x="10976368" y="690451"/>
                <a:ext cx="548640" cy="549935"/>
              </a:xfrm>
              <a:prstGeom prst="round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1" name="Graphic 110">
                <a:extLst>
                  <a:ext uri="{FF2B5EF4-FFF2-40B4-BE49-F238E27FC236}">
                    <a16:creationId xmlns:a16="http://schemas.microsoft.com/office/drawing/2014/main" id="{F768E29F-592A-24D1-950F-C0BE02D10731}"/>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998796" y="747136"/>
                <a:ext cx="485985" cy="436563"/>
              </a:xfrm>
              <a:prstGeom prst="rect">
                <a:avLst/>
              </a:prstGeom>
            </p:spPr>
          </p:pic>
        </p:grpSp>
        <p:sp>
          <p:nvSpPr>
            <p:cNvPr id="112" name="TextBox 111">
              <a:extLst>
                <a:ext uri="{FF2B5EF4-FFF2-40B4-BE49-F238E27FC236}">
                  <a16:creationId xmlns:a16="http://schemas.microsoft.com/office/drawing/2014/main" id="{E42096C5-2983-51DA-DD51-5C3F6941A55A}"/>
                </a:ext>
              </a:extLst>
            </p:cNvPr>
            <p:cNvSpPr txBox="1"/>
            <p:nvPr/>
          </p:nvSpPr>
          <p:spPr>
            <a:xfrm>
              <a:off x="5106806" y="3393995"/>
              <a:ext cx="539444" cy="134238"/>
            </a:xfrm>
            <a:prstGeom prst="rect">
              <a:avLst/>
            </a:prstGeom>
            <a:solidFill>
              <a:srgbClr val="00B0F0"/>
            </a:solidFill>
            <a:ln>
              <a:solidFill>
                <a:schemeClr val="tx1">
                  <a:lumMod val="65000"/>
                  <a:lumOff val="35000"/>
                </a:schemeClr>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FFFFFF"/>
                  </a:solidFill>
                  <a:effectLst/>
                  <a:uLnTx/>
                  <a:uFillTx/>
                  <a:latin typeface="Lato"/>
                  <a:ea typeface="+mn-ea"/>
                  <a:cs typeface="+mn-cs"/>
                </a:rPr>
                <a:t>RadSec</a:t>
              </a:r>
              <a:endParaRPr kumimoji="0" lang="en-US" sz="1000" b="0" i="0" u="none" strike="noStrike" kern="1200" cap="none" spc="0" normalizeH="0" baseline="0" noProof="0">
                <a:ln>
                  <a:noFill/>
                </a:ln>
                <a:solidFill>
                  <a:srgbClr val="FFFFFF"/>
                </a:solidFill>
                <a:effectLst/>
                <a:uLnTx/>
                <a:uFillTx/>
                <a:latin typeface="Lato"/>
                <a:ea typeface="+mn-ea"/>
                <a:cs typeface="+mn-cs"/>
              </a:endParaRPr>
            </a:p>
          </p:txBody>
        </p:sp>
        <p:sp>
          <p:nvSpPr>
            <p:cNvPr id="113" name="TextBox 112">
              <a:extLst>
                <a:ext uri="{FF2B5EF4-FFF2-40B4-BE49-F238E27FC236}">
                  <a16:creationId xmlns:a16="http://schemas.microsoft.com/office/drawing/2014/main" id="{AC17C899-9D55-39A8-56A3-C912B0C9F79B}"/>
                </a:ext>
              </a:extLst>
            </p:cNvPr>
            <p:cNvSpPr txBox="1"/>
            <p:nvPr/>
          </p:nvSpPr>
          <p:spPr>
            <a:xfrm>
              <a:off x="3524774" y="3385203"/>
              <a:ext cx="539444" cy="134238"/>
            </a:xfrm>
            <a:prstGeom prst="rect">
              <a:avLst/>
            </a:prstGeom>
            <a:solidFill>
              <a:srgbClr val="00B0F0"/>
            </a:solidFill>
            <a:ln>
              <a:solidFill>
                <a:schemeClr val="tx1">
                  <a:lumMod val="65000"/>
                  <a:lumOff val="35000"/>
                </a:schemeClr>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FFFFFF"/>
                  </a:solidFill>
                  <a:effectLst/>
                  <a:uLnTx/>
                  <a:uFillTx/>
                  <a:latin typeface="Lato"/>
                  <a:ea typeface="+mn-ea"/>
                  <a:cs typeface="+mn-cs"/>
                </a:rPr>
                <a:t>RadSec</a:t>
              </a:r>
              <a:endParaRPr kumimoji="0" lang="en-US" sz="1000" b="0" i="0" u="none" strike="noStrike" kern="1200" cap="none" spc="0" normalizeH="0" baseline="0" noProof="0">
                <a:ln>
                  <a:noFill/>
                </a:ln>
                <a:solidFill>
                  <a:srgbClr val="FFFFFF"/>
                </a:solidFill>
                <a:effectLst/>
                <a:uLnTx/>
                <a:uFillTx/>
                <a:latin typeface="Lato"/>
                <a:ea typeface="+mn-ea"/>
                <a:cs typeface="+mn-cs"/>
              </a:endParaRPr>
            </a:p>
          </p:txBody>
        </p:sp>
        <p:cxnSp>
          <p:nvCxnSpPr>
            <p:cNvPr id="114" name="Elbow Connector 113">
              <a:extLst>
                <a:ext uri="{FF2B5EF4-FFF2-40B4-BE49-F238E27FC236}">
                  <a16:creationId xmlns:a16="http://schemas.microsoft.com/office/drawing/2014/main" id="{6366A604-5313-2030-969C-257E066AA8AB}"/>
                </a:ext>
              </a:extLst>
            </p:cNvPr>
            <p:cNvCxnSpPr>
              <a:cxnSpLocks/>
              <a:stCxn id="55" idx="0"/>
            </p:cNvCxnSpPr>
            <p:nvPr/>
          </p:nvCxnSpPr>
          <p:spPr>
            <a:xfrm rot="16200000" flipV="1">
              <a:off x="6015424" y="3888377"/>
              <a:ext cx="322502" cy="1037607"/>
            </a:xfrm>
            <a:prstGeom prst="bentConnector2">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76EC0E0-00B3-F221-E7C2-281DE9C3955A}"/>
                </a:ext>
              </a:extLst>
            </p:cNvPr>
            <p:cNvCxnSpPr>
              <a:cxnSpLocks/>
            </p:cNvCxnSpPr>
            <p:nvPr/>
          </p:nvCxnSpPr>
          <p:spPr>
            <a:xfrm>
              <a:off x="5657871" y="4183035"/>
              <a:ext cx="0" cy="69580"/>
            </a:xfrm>
            <a:prstGeom prst="line">
              <a:avLst/>
            </a:prstGeom>
            <a:ln w="19050">
              <a:solidFill>
                <a:srgbClr val="0097A4"/>
              </a:solidFill>
            </a:ln>
          </p:spPr>
          <p:style>
            <a:lnRef idx="1">
              <a:schemeClr val="accent1"/>
            </a:lnRef>
            <a:fillRef idx="0">
              <a:schemeClr val="accent1"/>
            </a:fillRef>
            <a:effectRef idx="0">
              <a:schemeClr val="accent1"/>
            </a:effectRef>
            <a:fontRef idx="minor">
              <a:schemeClr val="tx1"/>
            </a:fontRef>
          </p:style>
        </p:cxnSp>
        <p:sp>
          <p:nvSpPr>
            <p:cNvPr id="116" name="Rounded Rectangle 115">
              <a:extLst>
                <a:ext uri="{FF2B5EF4-FFF2-40B4-BE49-F238E27FC236}">
                  <a16:creationId xmlns:a16="http://schemas.microsoft.com/office/drawing/2014/main" id="{070BB993-586A-0FFF-6F82-D9E1645D79F0}"/>
                </a:ext>
              </a:extLst>
            </p:cNvPr>
            <p:cNvSpPr/>
            <p:nvPr/>
          </p:nvSpPr>
          <p:spPr>
            <a:xfrm>
              <a:off x="2838730" y="4057200"/>
              <a:ext cx="614545" cy="602807"/>
            </a:xfrm>
            <a:prstGeom prst="roundRect">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TextBox 123">
              <a:extLst>
                <a:ext uri="{FF2B5EF4-FFF2-40B4-BE49-F238E27FC236}">
                  <a16:creationId xmlns:a16="http://schemas.microsoft.com/office/drawing/2014/main" id="{62671DB5-280F-2BD8-9CFA-17769AD09183}"/>
                </a:ext>
              </a:extLst>
            </p:cNvPr>
            <p:cNvSpPr txBox="1"/>
            <p:nvPr/>
          </p:nvSpPr>
          <p:spPr>
            <a:xfrm>
              <a:off x="2987153" y="4055592"/>
              <a:ext cx="317698" cy="230832"/>
            </a:xfrm>
            <a:prstGeom prst="rect">
              <a:avLst/>
            </a:prstGeom>
            <a:noFill/>
          </p:spPr>
          <p:txBody>
            <a:bodyPr wrap="square">
              <a:spAutoFit/>
            </a:bodyPr>
            <a:lstStyle/>
            <a:p>
              <a:pPr algn="ctr"/>
              <a:r>
                <a:rPr lang="en-US" sz="900" kern="0">
                  <a:ea typeface="Lato"/>
                  <a:cs typeface="Lato"/>
                  <a:sym typeface="Lato"/>
                </a:rPr>
                <a:t>•</a:t>
              </a:r>
              <a:endParaRPr lang="en-US" sz="900"/>
            </a:p>
          </p:txBody>
        </p:sp>
      </p:grpSp>
    </p:spTree>
    <p:extLst>
      <p:ext uri="{BB962C8B-B14F-4D97-AF65-F5344CB8AC3E}">
        <p14:creationId xmlns:p14="http://schemas.microsoft.com/office/powerpoint/2010/main" val="22269728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FE5C8-D251-1314-A9B6-D6AF0FFAF719}"/>
              </a:ext>
            </a:extLst>
          </p:cNvPr>
          <p:cNvSpPr>
            <a:spLocks noGrp="1"/>
          </p:cNvSpPr>
          <p:nvPr>
            <p:ph type="title"/>
          </p:nvPr>
        </p:nvSpPr>
        <p:spPr/>
        <p:txBody>
          <a:bodyPr/>
          <a:lstStyle/>
          <a:p>
            <a:r>
              <a:rPr lang="en-CZ">
                <a:ea typeface="Lato Light"/>
                <a:cs typeface="Lato Light"/>
              </a:rPr>
              <a:t>eduroam Integration</a:t>
            </a:r>
          </a:p>
        </p:txBody>
      </p:sp>
      <p:pic>
        <p:nvPicPr>
          <p:cNvPr id="2" name="Picture 1">
            <a:extLst>
              <a:ext uri="{FF2B5EF4-FFF2-40B4-BE49-F238E27FC236}">
                <a16:creationId xmlns:a16="http://schemas.microsoft.com/office/drawing/2014/main" id="{6AD67C94-38A3-A5AA-62DD-681ADA85390C}"/>
              </a:ext>
            </a:extLst>
          </p:cNvPr>
          <p:cNvPicPr>
            <a:picLocks noChangeAspect="1"/>
          </p:cNvPicPr>
          <p:nvPr/>
        </p:nvPicPr>
        <p:blipFill>
          <a:blip r:embed="rId2"/>
          <a:stretch>
            <a:fillRect/>
          </a:stretch>
        </p:blipFill>
        <p:spPr>
          <a:xfrm>
            <a:off x="604011" y="1367772"/>
            <a:ext cx="11071242" cy="1778161"/>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98827434-B93B-EF83-264B-059D8A07F28B}"/>
              </a:ext>
            </a:extLst>
          </p:cNvPr>
          <p:cNvPicPr>
            <a:picLocks noChangeAspect="1"/>
          </p:cNvPicPr>
          <p:nvPr/>
        </p:nvPicPr>
        <p:blipFill>
          <a:blip r:embed="rId3"/>
          <a:stretch>
            <a:fillRect/>
          </a:stretch>
        </p:blipFill>
        <p:spPr>
          <a:xfrm>
            <a:off x="9216306" y="1367772"/>
            <a:ext cx="2842630" cy="4777915"/>
          </a:xfrm>
          <a:prstGeom prst="rect">
            <a:avLst/>
          </a:prstGeom>
          <a:effectLst>
            <a:outerShdw blurRad="63500" sx="102000" sy="102000" algn="ctr" rotWithShape="0">
              <a:prstClr val="black">
                <a:alpha val="40000"/>
              </a:prstClr>
            </a:outerShdw>
          </a:effectLst>
        </p:spPr>
      </p:pic>
      <p:sp>
        <p:nvSpPr>
          <p:cNvPr id="7" name="Text Placeholder 3">
            <a:extLst>
              <a:ext uri="{FF2B5EF4-FFF2-40B4-BE49-F238E27FC236}">
                <a16:creationId xmlns:a16="http://schemas.microsoft.com/office/drawing/2014/main" id="{67AB287B-8D08-5A90-83BD-BC6383E523E5}"/>
              </a:ext>
            </a:extLst>
          </p:cNvPr>
          <p:cNvSpPr txBox="1">
            <a:spLocks/>
          </p:cNvSpPr>
          <p:nvPr/>
        </p:nvSpPr>
        <p:spPr>
          <a:xfrm>
            <a:off x="516748" y="3388683"/>
            <a:ext cx="7051372" cy="3138577"/>
          </a:xfrm>
          <a:prstGeom prst="rect">
            <a:avLst/>
          </a:prstGeom>
        </p:spPr>
        <p:txBody>
          <a:bodyPr vert="horz" lIns="0" tIns="0" rIns="0" bIns="0" rtlCol="0" anchor="t">
            <a:noAutofit/>
          </a:bodyPr>
          <a:lstStyle>
            <a:lvl1pPr marL="173038" indent="-173038" algn="l" defTabSz="914377" rtl="0" eaLnBrk="1" latinLnBrk="0" hangingPunct="1">
              <a:lnSpc>
                <a:spcPct val="110000"/>
              </a:lnSpc>
              <a:spcBef>
                <a:spcPts val="1600"/>
              </a:spcBef>
              <a:buFont typeface="Arial" panose="020B0604020202020204" pitchFamily="34" charset="0"/>
              <a:buChar char="•"/>
              <a:defRPr sz="1800" kern="1200">
                <a:solidFill>
                  <a:schemeClr val="tx1"/>
                </a:solidFill>
                <a:latin typeface="+mn-lt"/>
                <a:ea typeface="+mn-ea"/>
                <a:cs typeface="+mn-cs"/>
              </a:defRPr>
            </a:lvl1pPr>
            <a:lvl2pPr marL="574675" indent="-228600" algn="l" defTabSz="914377" rtl="0" eaLnBrk="1" latinLnBrk="0" hangingPunct="1">
              <a:lnSpc>
                <a:spcPct val="95000"/>
              </a:lnSpc>
              <a:spcBef>
                <a:spcPts val="500"/>
              </a:spcBef>
              <a:buFont typeface="Lato" panose="020F0502020204030203"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2720" indent="-172720"/>
            <a:r>
              <a:rPr lang="en-CZ" sz="2400" b="1" err="1"/>
              <a:t>eduroam</a:t>
            </a:r>
            <a:r>
              <a:rPr lang="en-CZ" sz="2400" b="1"/>
              <a:t> NROs</a:t>
            </a:r>
            <a:r>
              <a:rPr lang="en-CZ" sz="2400"/>
              <a:t> (Internet2, GEANT, JISC </a:t>
            </a:r>
            <a:r>
              <a:rPr lang="en-CZ" sz="2400" err="1"/>
              <a:t>etc</a:t>
            </a:r>
            <a:r>
              <a:rPr lang="en-CZ" sz="2400"/>
              <a:t>) </a:t>
            </a:r>
            <a:endParaRPr lang="en-US" sz="2400"/>
          </a:p>
          <a:p>
            <a:pPr marL="574040" lvl="1" indent="-172720"/>
            <a:r>
              <a:rPr lang="en-US" sz="1800"/>
              <a:t>Each has </a:t>
            </a:r>
            <a:r>
              <a:rPr lang="en-CZ" sz="1800"/>
              <a:t>different views on how to handle SP/I</a:t>
            </a:r>
            <a:r>
              <a:rPr lang="en-US" sz="1800"/>
              <a:t>d</a:t>
            </a:r>
            <a:r>
              <a:rPr lang="en-CZ" sz="1800"/>
              <a:t>P integration and what protocols are supported</a:t>
            </a:r>
            <a:endParaRPr lang="en-US" sz="1800">
              <a:ea typeface="Lato"/>
              <a:cs typeface="Lato"/>
            </a:endParaRPr>
          </a:p>
          <a:p>
            <a:pPr marL="172720" indent="-172720"/>
            <a:r>
              <a:rPr lang="en-CZ" sz="2400" b="1"/>
              <a:t>Access Assurance and </a:t>
            </a:r>
            <a:r>
              <a:rPr lang="en-CZ" sz="2400" b="1" err="1"/>
              <a:t>eduroam</a:t>
            </a:r>
            <a:r>
              <a:rPr lang="en-CZ" sz="2400" b="1"/>
              <a:t> integration </a:t>
            </a:r>
            <a:endParaRPr lang="en-US" sz="2400" b="1"/>
          </a:p>
          <a:p>
            <a:pPr marL="574040" lvl="1" indent="-172720"/>
            <a:r>
              <a:rPr lang="en-US" sz="1800"/>
              <a:t>L</a:t>
            </a:r>
            <a:r>
              <a:rPr lang="en-CZ" sz="1800"/>
              <a:t>everage Mist Edge acting as a gateway into </a:t>
            </a:r>
            <a:r>
              <a:rPr lang="en-CZ" sz="1800" err="1"/>
              <a:t>eduroam</a:t>
            </a:r>
            <a:endParaRPr lang="en-CZ" sz="1800" err="1">
              <a:solidFill>
                <a:schemeClr val="accent1"/>
              </a:solidFill>
              <a:ea typeface="Lato"/>
              <a:cs typeface="Lato"/>
            </a:endParaRPr>
          </a:p>
          <a:p>
            <a:pPr marL="0" indent="0">
              <a:buClrTx/>
              <a:buNone/>
            </a:pPr>
            <a:endParaRPr lang="en-US" sz="1400">
              <a:ea typeface="Lato"/>
              <a:cs typeface="Lato"/>
            </a:endParaRPr>
          </a:p>
          <a:p>
            <a:pPr marL="0" indent="0">
              <a:buClrTx/>
              <a:buNone/>
            </a:pPr>
            <a:r>
              <a:rPr lang="en-US" sz="1400">
                <a:ea typeface="Lato"/>
                <a:cs typeface="Lato"/>
              </a:rPr>
              <a:t>*NRO – National Roaming Operators</a:t>
            </a:r>
            <a:endParaRPr lang="en-CZ" sz="1400">
              <a:ea typeface="Lato"/>
              <a:cs typeface="Lato"/>
            </a:endParaRPr>
          </a:p>
        </p:txBody>
      </p:sp>
    </p:spTree>
    <p:extLst>
      <p:ext uri="{BB962C8B-B14F-4D97-AF65-F5344CB8AC3E}">
        <p14:creationId xmlns:p14="http://schemas.microsoft.com/office/powerpoint/2010/main" val="151839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FE5C8-D251-1314-A9B6-D6AF0FFAF719}"/>
              </a:ext>
            </a:extLst>
          </p:cNvPr>
          <p:cNvSpPr>
            <a:spLocks noGrp="1"/>
          </p:cNvSpPr>
          <p:nvPr>
            <p:ph type="title"/>
          </p:nvPr>
        </p:nvSpPr>
        <p:spPr/>
        <p:txBody>
          <a:bodyPr/>
          <a:lstStyle/>
          <a:p>
            <a:r>
              <a:rPr lang="en-CZ">
                <a:ea typeface="Lato Light"/>
                <a:cs typeface="Lato Light"/>
              </a:rPr>
              <a:t>eduroam Integration</a:t>
            </a:r>
          </a:p>
        </p:txBody>
      </p:sp>
      <p:pic>
        <p:nvPicPr>
          <p:cNvPr id="4" name="Picture 8">
            <a:extLst>
              <a:ext uri="{FF2B5EF4-FFF2-40B4-BE49-F238E27FC236}">
                <a16:creationId xmlns:a16="http://schemas.microsoft.com/office/drawing/2014/main" id="{AEE81010-E0E0-F2F7-23C1-BE6E147307C3}"/>
              </a:ext>
            </a:extLst>
          </p:cNvPr>
          <p:cNvPicPr>
            <a:picLocks noChangeAspect="1"/>
          </p:cNvPicPr>
          <p:nvPr/>
        </p:nvPicPr>
        <p:blipFill>
          <a:blip r:embed="rId2"/>
          <a:stretch>
            <a:fillRect/>
          </a:stretch>
        </p:blipFill>
        <p:spPr>
          <a:xfrm>
            <a:off x="310812" y="1384790"/>
            <a:ext cx="5431009" cy="3293536"/>
          </a:xfrm>
          <a:prstGeom prst="rect">
            <a:avLst/>
          </a:prstGeom>
        </p:spPr>
      </p:pic>
      <p:pic>
        <p:nvPicPr>
          <p:cNvPr id="5" name="Picture 30">
            <a:extLst>
              <a:ext uri="{FF2B5EF4-FFF2-40B4-BE49-F238E27FC236}">
                <a16:creationId xmlns:a16="http://schemas.microsoft.com/office/drawing/2014/main" id="{88F91FE2-3909-E33D-859F-27B338093E7A}"/>
              </a:ext>
            </a:extLst>
          </p:cNvPr>
          <p:cNvPicPr>
            <a:picLocks noChangeAspect="1"/>
          </p:cNvPicPr>
          <p:nvPr/>
        </p:nvPicPr>
        <p:blipFill>
          <a:blip r:embed="rId3"/>
          <a:stretch>
            <a:fillRect/>
          </a:stretch>
        </p:blipFill>
        <p:spPr>
          <a:xfrm>
            <a:off x="6760991" y="669147"/>
            <a:ext cx="5431009" cy="3293536"/>
          </a:xfrm>
          <a:prstGeom prst="rect">
            <a:avLst/>
          </a:prstGeom>
        </p:spPr>
      </p:pic>
      <p:pic>
        <p:nvPicPr>
          <p:cNvPr id="9" name="Picture 5">
            <a:extLst>
              <a:ext uri="{FF2B5EF4-FFF2-40B4-BE49-F238E27FC236}">
                <a16:creationId xmlns:a16="http://schemas.microsoft.com/office/drawing/2014/main" id="{D62964AF-198E-9DA4-2959-7D984F21D245}"/>
              </a:ext>
            </a:extLst>
          </p:cNvPr>
          <p:cNvPicPr>
            <a:picLocks noChangeAspect="1"/>
          </p:cNvPicPr>
          <p:nvPr/>
        </p:nvPicPr>
        <p:blipFill>
          <a:blip r:embed="rId4"/>
          <a:stretch>
            <a:fillRect/>
          </a:stretch>
        </p:blipFill>
        <p:spPr>
          <a:xfrm>
            <a:off x="3380496" y="3429000"/>
            <a:ext cx="5431009" cy="3301853"/>
          </a:xfrm>
          <a:prstGeom prst="rect">
            <a:avLst/>
          </a:prstGeom>
          <a:solidFill>
            <a:schemeClr val="bg1"/>
          </a:solidFill>
        </p:spPr>
      </p:pic>
    </p:spTree>
    <p:extLst>
      <p:ext uri="{BB962C8B-B14F-4D97-AF65-F5344CB8AC3E}">
        <p14:creationId xmlns:p14="http://schemas.microsoft.com/office/powerpoint/2010/main" val="242712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1000" fill="hold"/>
                                        <p:tgtEl>
                                          <p:spTgt spid="5"/>
                                        </p:tgtEl>
                                        <p:attrNameLst>
                                          <p:attrName>ppt_w</p:attrName>
                                        </p:attrNameLst>
                                      </p:cBhvr>
                                      <p:tavLst>
                                        <p:tav tm="0">
                                          <p:val>
                                            <p:strVal val="#ppt_w*0.70"/>
                                          </p:val>
                                        </p:tav>
                                        <p:tav tm="100000">
                                          <p:val>
                                            <p:strVal val="#ppt_w"/>
                                          </p:val>
                                        </p:tav>
                                      </p:tavLst>
                                    </p:anim>
                                    <p:anim calcmode="lin" valueType="num">
                                      <p:cBhvr>
                                        <p:cTn id="15" dur="1000" fill="hold"/>
                                        <p:tgtEl>
                                          <p:spTgt spid="5"/>
                                        </p:tgtEl>
                                        <p:attrNameLst>
                                          <p:attrName>ppt_h</p:attrName>
                                        </p:attrNameLst>
                                      </p:cBhvr>
                                      <p:tavLst>
                                        <p:tav tm="0">
                                          <p:val>
                                            <p:strVal val="#ppt_h"/>
                                          </p:val>
                                        </p:tav>
                                        <p:tav tm="100000">
                                          <p:val>
                                            <p:strVal val="#ppt_h"/>
                                          </p:val>
                                        </p:tav>
                                      </p:tavLst>
                                    </p:anim>
                                    <p:animEffect transition="in" filter="fade">
                                      <p:cBhvr>
                                        <p:cTn id="16" dur="10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55"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w</p:attrName>
                                        </p:attrNameLst>
                                      </p:cBhvr>
                                      <p:tavLst>
                                        <p:tav tm="0">
                                          <p:val>
                                            <p:strVal val="#ppt_w*0.70"/>
                                          </p:val>
                                        </p:tav>
                                        <p:tav tm="100000">
                                          <p:val>
                                            <p:strVal val="#ppt_w"/>
                                          </p:val>
                                        </p:tav>
                                      </p:tavLst>
                                    </p:anim>
                                    <p:anim calcmode="lin" valueType="num">
                                      <p:cBhvr>
                                        <p:cTn id="22" dur="1000" fill="hold"/>
                                        <p:tgtEl>
                                          <p:spTgt spid="9"/>
                                        </p:tgtEl>
                                        <p:attrNameLst>
                                          <p:attrName>ppt_h</p:attrName>
                                        </p:attrNameLst>
                                      </p:cBhvr>
                                      <p:tavLst>
                                        <p:tav tm="0">
                                          <p:val>
                                            <p:strVal val="#ppt_h"/>
                                          </p:val>
                                        </p:tav>
                                        <p:tav tm="100000">
                                          <p:val>
                                            <p:strVal val="#ppt_h"/>
                                          </p:val>
                                        </p:tav>
                                      </p:tavLst>
                                    </p:anim>
                                    <p:animEffect transition="in" filter="fade">
                                      <p:cBhvr>
                                        <p:cTn id="2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FE5C8-D251-1314-A9B6-D6AF0FFAF719}"/>
              </a:ext>
            </a:extLst>
          </p:cNvPr>
          <p:cNvSpPr>
            <a:spLocks noGrp="1"/>
          </p:cNvSpPr>
          <p:nvPr>
            <p:ph type="title"/>
          </p:nvPr>
        </p:nvSpPr>
        <p:spPr/>
        <p:txBody>
          <a:bodyPr/>
          <a:lstStyle/>
          <a:p>
            <a:r>
              <a:rPr lang="en-CZ"/>
              <a:t>eduroam User Onboarding – What are the options?</a:t>
            </a:r>
          </a:p>
        </p:txBody>
      </p:sp>
      <p:sp>
        <p:nvSpPr>
          <p:cNvPr id="4" name="Text Placeholder 3">
            <a:extLst>
              <a:ext uri="{FF2B5EF4-FFF2-40B4-BE49-F238E27FC236}">
                <a16:creationId xmlns:a16="http://schemas.microsoft.com/office/drawing/2014/main" id="{A05F87CB-0EBF-CBE9-DA9F-8AE30EE80AC5}"/>
              </a:ext>
            </a:extLst>
          </p:cNvPr>
          <p:cNvSpPr>
            <a:spLocks noGrp="1"/>
          </p:cNvSpPr>
          <p:nvPr>
            <p:ph type="body" sz="quarter" idx="4294967295"/>
          </p:nvPr>
        </p:nvSpPr>
        <p:spPr>
          <a:xfrm>
            <a:off x="1076291" y="1230820"/>
            <a:ext cx="10039418" cy="3862388"/>
          </a:xfrm>
        </p:spPr>
        <p:txBody>
          <a:bodyPr vert="horz" lIns="0" tIns="0" rIns="0" bIns="0" rtlCol="0" anchor="t">
            <a:noAutofit/>
          </a:bodyPr>
          <a:lstStyle/>
          <a:p>
            <a:pPr marL="172720" indent="-172720"/>
            <a:r>
              <a:rPr lang="en-CZ" sz="2400"/>
              <a:t>PEAP is fading (see Win</a:t>
            </a:r>
            <a:r>
              <a:rPr lang="en-US" sz="2400"/>
              <a:t>dows </a:t>
            </a:r>
            <a:r>
              <a:rPr lang="en-CZ" sz="2400"/>
              <a:t>10/11 </a:t>
            </a:r>
            <a:r>
              <a:rPr lang="en-US" sz="2400"/>
              <a:t>C</a:t>
            </a:r>
            <a:r>
              <a:rPr lang="en-CZ" sz="2400"/>
              <a:t>redential </a:t>
            </a:r>
            <a:r>
              <a:rPr lang="en-US" sz="2400"/>
              <a:t>G</a:t>
            </a:r>
            <a:r>
              <a:rPr lang="en-CZ" sz="2400"/>
              <a:t>uard)</a:t>
            </a:r>
            <a:endParaRPr lang="en-US" sz="2400">
              <a:ea typeface="Lato"/>
              <a:cs typeface="Lato"/>
            </a:endParaRPr>
          </a:p>
          <a:p>
            <a:pPr marL="172720" indent="-172720"/>
            <a:r>
              <a:rPr lang="en-CZ" sz="2400"/>
              <a:t>EAP-TLS is nice, but how do we provision clients when we don’t manage them?</a:t>
            </a:r>
            <a:endParaRPr lang="en-CZ" sz="2400">
              <a:ea typeface="Lato"/>
              <a:cs typeface="Lato"/>
            </a:endParaRPr>
          </a:p>
          <a:p>
            <a:pPr marL="744220" lvl="1" indent="-342900">
              <a:buFont typeface="+mj-lt"/>
              <a:buAutoNum type="arabicPeriod"/>
            </a:pPr>
            <a:r>
              <a:rPr lang="en-CZ" sz="2000" err="1"/>
              <a:t>Eduroam</a:t>
            </a:r>
            <a:r>
              <a:rPr lang="en-CZ" sz="2000"/>
              <a:t> CAT tool </a:t>
            </a:r>
            <a:endParaRPr lang="en-US" sz="2000"/>
          </a:p>
          <a:p>
            <a:pPr marL="744537" lvl="1" indent="-342900">
              <a:buFont typeface="+mj-lt"/>
              <a:buAutoNum type="arabicPeriod"/>
            </a:pPr>
            <a:r>
              <a:rPr lang="en-US" sz="1600"/>
              <a:t>O</a:t>
            </a:r>
            <a:r>
              <a:rPr lang="en-CZ" sz="1600"/>
              <a:t>nly supports PEAP and TTLS(PAP)</a:t>
            </a:r>
            <a:endParaRPr lang="en-US" sz="1600">
              <a:ea typeface="Lato"/>
              <a:cs typeface="Lato"/>
            </a:endParaRPr>
          </a:p>
          <a:p>
            <a:pPr marL="1083945" lvl="2" indent="-342900">
              <a:buFont typeface="+mj-lt"/>
              <a:buAutoNum type="arabicPeriod"/>
            </a:pPr>
            <a:r>
              <a:rPr lang="en-US" sz="1600"/>
              <a:t>N</a:t>
            </a:r>
            <a:r>
              <a:rPr lang="en-CZ" sz="1600"/>
              <a:t>o longer developed</a:t>
            </a:r>
            <a:endParaRPr lang="en-US" sz="1600">
              <a:ea typeface="Lato"/>
              <a:cs typeface="Lato"/>
            </a:endParaRPr>
          </a:p>
          <a:p>
            <a:pPr marL="744220" lvl="1" indent="-342900">
              <a:buFont typeface="+mj-lt"/>
              <a:buAutoNum type="arabicPeriod"/>
            </a:pPr>
            <a:r>
              <a:rPr lang="en-CZ" sz="2000">
                <a:hlinkClick r:id="rId2"/>
              </a:rPr>
              <a:t>Geteduroam</a:t>
            </a:r>
            <a:r>
              <a:rPr lang="en-CZ" sz="2000"/>
              <a:t> tool </a:t>
            </a:r>
            <a:endParaRPr lang="en-US" sz="2000">
              <a:ea typeface="Lato"/>
              <a:cs typeface="Lato"/>
            </a:endParaRPr>
          </a:p>
          <a:p>
            <a:pPr marL="1083945" lvl="2" indent="-342900">
              <a:buFont typeface="+mj-lt"/>
              <a:buAutoNum type="arabicPeriod"/>
            </a:pPr>
            <a:r>
              <a:rPr lang="en-US" sz="1600"/>
              <a:t>S</a:t>
            </a:r>
            <a:r>
              <a:rPr lang="en-CZ" sz="1600"/>
              <a:t>upports EAP-TLS with certificate provisioning</a:t>
            </a:r>
            <a:endParaRPr lang="en-US" sz="1600">
              <a:ea typeface="Lato"/>
              <a:cs typeface="Lato"/>
            </a:endParaRPr>
          </a:p>
          <a:p>
            <a:pPr marL="1083945" lvl="2" indent="-342900">
              <a:buFont typeface="+mj-lt"/>
              <a:buAutoNum type="arabicPeriod"/>
            </a:pPr>
            <a:r>
              <a:rPr lang="en-US" sz="1600"/>
              <a:t>N</a:t>
            </a:r>
            <a:r>
              <a:rPr lang="en-CZ" sz="1600"/>
              <a:t>ew</a:t>
            </a:r>
            <a:r>
              <a:rPr lang="en-US" sz="1600"/>
              <a:t>est</a:t>
            </a:r>
            <a:r>
              <a:rPr lang="en-CZ" sz="1600"/>
              <a:t> tool for all platforms</a:t>
            </a:r>
            <a:endParaRPr lang="en-US" sz="1600">
              <a:ea typeface="Lato"/>
              <a:cs typeface="Lato"/>
            </a:endParaRPr>
          </a:p>
          <a:p>
            <a:pPr marL="1083945" lvl="2" indent="-342900">
              <a:buFont typeface="+mj-lt"/>
              <a:buAutoNum type="arabicPeriod"/>
            </a:pPr>
            <a:r>
              <a:rPr lang="en-US" sz="1600"/>
              <a:t>T</a:t>
            </a:r>
            <a:r>
              <a:rPr lang="en-CZ" sz="1600"/>
              <a:t>akes care of PKI infrastructure and client provisioning</a:t>
            </a:r>
            <a:endParaRPr lang="en-CZ" sz="1600">
              <a:ea typeface="Lato"/>
              <a:cs typeface="Lato"/>
            </a:endParaRPr>
          </a:p>
          <a:p>
            <a:pPr marL="744220" lvl="1" indent="-342900">
              <a:buFont typeface="+mj-lt"/>
              <a:buAutoNum type="arabicPeriod"/>
            </a:pPr>
            <a:r>
              <a:rPr lang="en-CZ" sz="2000"/>
              <a:t>Any commercial onboarding solution (e.g. SecureW2)</a:t>
            </a:r>
            <a:endParaRPr lang="en-CZ" sz="2000">
              <a:ea typeface="Lato"/>
              <a:cs typeface="Lato"/>
            </a:endParaRPr>
          </a:p>
          <a:p>
            <a:pPr marL="744220" lvl="1" indent="-342900">
              <a:buFont typeface="+mj-lt"/>
              <a:buAutoNum type="arabicPeriod"/>
            </a:pPr>
            <a:r>
              <a:rPr lang="en-CZ" sz="2000" i="1">
                <a:solidFill>
                  <a:schemeClr val="accent3"/>
                </a:solidFill>
              </a:rPr>
              <a:t>What about </a:t>
            </a:r>
            <a:r>
              <a:rPr lang="en-US" sz="2000" b="1" i="1">
                <a:solidFill>
                  <a:schemeClr val="accent3"/>
                </a:solidFill>
              </a:rPr>
              <a:t>Juniper </a:t>
            </a:r>
            <a:r>
              <a:rPr lang="en-CZ" sz="2000" b="1" i="1">
                <a:solidFill>
                  <a:schemeClr val="accent3"/>
                </a:solidFill>
              </a:rPr>
              <a:t>Mist</a:t>
            </a:r>
            <a:r>
              <a:rPr lang="en-CZ" sz="2000" i="1">
                <a:solidFill>
                  <a:schemeClr val="accent3"/>
                </a:solidFill>
              </a:rPr>
              <a:t>..?</a:t>
            </a:r>
            <a:endParaRPr lang="en-CZ" sz="2000" i="1">
              <a:solidFill>
                <a:schemeClr val="accent3"/>
              </a:solidFill>
              <a:ea typeface="Lato"/>
              <a:cs typeface="Lato"/>
            </a:endParaRPr>
          </a:p>
        </p:txBody>
      </p:sp>
    </p:spTree>
    <p:extLst>
      <p:ext uri="{BB962C8B-B14F-4D97-AF65-F5344CB8AC3E}">
        <p14:creationId xmlns:p14="http://schemas.microsoft.com/office/powerpoint/2010/main" val="33152225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39D3B-6F89-C889-6D65-915403A4D1FD}"/>
              </a:ext>
            </a:extLst>
          </p:cNvPr>
          <p:cNvSpPr>
            <a:spLocks noGrp="1"/>
          </p:cNvSpPr>
          <p:nvPr>
            <p:ph type="title"/>
          </p:nvPr>
        </p:nvSpPr>
        <p:spPr/>
        <p:txBody>
          <a:bodyPr/>
          <a:lstStyle/>
          <a:p>
            <a:r>
              <a:rPr lang="en-US"/>
              <a:t>Client Onboarding</a:t>
            </a:r>
          </a:p>
        </p:txBody>
      </p:sp>
      <p:pic>
        <p:nvPicPr>
          <p:cNvPr id="18" name="Picture 17">
            <a:extLst>
              <a:ext uri="{FF2B5EF4-FFF2-40B4-BE49-F238E27FC236}">
                <a16:creationId xmlns:a16="http://schemas.microsoft.com/office/drawing/2014/main" id="{6C2DE65B-5298-6498-6C4E-05FC3A4FF4C4}"/>
              </a:ext>
            </a:extLst>
          </p:cNvPr>
          <p:cNvPicPr>
            <a:picLocks noChangeAspect="1"/>
          </p:cNvPicPr>
          <p:nvPr/>
        </p:nvPicPr>
        <p:blipFill>
          <a:blip r:embed="rId2"/>
          <a:stretch>
            <a:fillRect/>
          </a:stretch>
        </p:blipFill>
        <p:spPr>
          <a:xfrm>
            <a:off x="4730066" y="1466987"/>
            <a:ext cx="2568617" cy="4535214"/>
          </a:xfrm>
          <a:prstGeom prst="rect">
            <a:avLst/>
          </a:prstGeom>
        </p:spPr>
      </p:pic>
      <p:pic>
        <p:nvPicPr>
          <p:cNvPr id="22" name="Picture 21">
            <a:extLst>
              <a:ext uri="{FF2B5EF4-FFF2-40B4-BE49-F238E27FC236}">
                <a16:creationId xmlns:a16="http://schemas.microsoft.com/office/drawing/2014/main" id="{FB0C0596-BA9D-8AC9-0378-E663AC399A27}"/>
              </a:ext>
            </a:extLst>
          </p:cNvPr>
          <p:cNvPicPr>
            <a:picLocks noChangeAspect="1"/>
          </p:cNvPicPr>
          <p:nvPr/>
        </p:nvPicPr>
        <p:blipFill>
          <a:blip r:embed="rId3"/>
          <a:stretch>
            <a:fillRect/>
          </a:stretch>
        </p:blipFill>
        <p:spPr>
          <a:xfrm>
            <a:off x="8430961" y="1466986"/>
            <a:ext cx="2568618" cy="4535215"/>
          </a:xfrm>
          <a:prstGeom prst="rect">
            <a:avLst/>
          </a:prstGeom>
        </p:spPr>
      </p:pic>
      <p:grpSp>
        <p:nvGrpSpPr>
          <p:cNvPr id="4" name="Group 3">
            <a:extLst>
              <a:ext uri="{FF2B5EF4-FFF2-40B4-BE49-F238E27FC236}">
                <a16:creationId xmlns:a16="http://schemas.microsoft.com/office/drawing/2014/main" id="{F66D4412-2392-D346-8979-B9BCD3DA4398}"/>
              </a:ext>
            </a:extLst>
          </p:cNvPr>
          <p:cNvGrpSpPr/>
          <p:nvPr/>
        </p:nvGrpSpPr>
        <p:grpSpPr>
          <a:xfrm>
            <a:off x="4064585" y="1467096"/>
            <a:ext cx="3921614" cy="4539182"/>
            <a:chOff x="4064585" y="1467096"/>
            <a:chExt cx="3921614" cy="4539182"/>
          </a:xfrm>
        </p:grpSpPr>
        <p:sp>
          <p:nvSpPr>
            <p:cNvPr id="5" name="TextBox 4">
              <a:extLst>
                <a:ext uri="{FF2B5EF4-FFF2-40B4-BE49-F238E27FC236}">
                  <a16:creationId xmlns:a16="http://schemas.microsoft.com/office/drawing/2014/main" id="{3BD8E928-2C0F-60B9-9081-2FBD928A5304}"/>
                </a:ext>
              </a:extLst>
            </p:cNvPr>
            <p:cNvSpPr txBox="1"/>
            <p:nvPr/>
          </p:nvSpPr>
          <p:spPr>
            <a:xfrm>
              <a:off x="4064585" y="1467096"/>
              <a:ext cx="3921614" cy="4539182"/>
            </a:xfrm>
            <a:prstGeom prst="roundRect">
              <a:avLst>
                <a:gd name="adj" fmla="val 2073"/>
              </a:avLst>
            </a:prstGeom>
            <a:solidFill>
              <a:schemeClr val="accent3"/>
            </a:solidFill>
          </p:spPr>
          <p:txBody>
            <a:bodyPr wrap="square" lIns="457200" tIns="274320" rIns="274320" bIns="0" rtlCol="0" anchor="t">
              <a:noAutofit/>
            </a:bodyPr>
            <a:lstStyle/>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a:ln>
                    <a:noFill/>
                  </a:ln>
                  <a:solidFill>
                    <a:srgbClr val="FFFFFE"/>
                  </a:solidFill>
                  <a:effectLst/>
                  <a:uLnTx/>
                  <a:uFillTx/>
                  <a:latin typeface="Lato"/>
                  <a:ea typeface="Lato"/>
                  <a:cs typeface="Lato"/>
                </a:rPr>
                <a:t>Why does it matter?</a:t>
              </a:r>
            </a:p>
            <a:p>
              <a:pPr marL="627063" marR="0" lvl="0" indent="0" algn="l" defTabSz="914377" rtl="0" eaLnBrk="1" fontAlgn="auto" latinLnBrk="0" hangingPunct="1">
                <a:lnSpc>
                  <a:spcPct val="100000"/>
                </a:lnSpc>
                <a:spcBef>
                  <a:spcPts val="16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panose="020F0502020204030203" pitchFamily="34" charset="0"/>
                  <a:ea typeface="+mn-ea"/>
                  <a:cs typeface="+mn-cs"/>
                </a:rPr>
                <a:t>Simplifying end-user onboarding for unmanaged devices (BYOD, higher ed).</a:t>
              </a:r>
            </a:p>
            <a:p>
              <a:pPr marL="627063" marR="0" lvl="0" indent="0" algn="l" defTabSz="914377" rtl="0" eaLnBrk="1" fontAlgn="auto" latinLnBrk="0" hangingPunct="1">
                <a:lnSpc>
                  <a:spcPct val="100000"/>
                </a:lnSpc>
                <a:spcBef>
                  <a:spcPts val="16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panose="020F0502020204030203" pitchFamily="34" charset="0"/>
                  <a:ea typeface="+mn-ea"/>
                  <a:cs typeface="+mn-cs"/>
                </a:rPr>
                <a:t>Auto-provision </a:t>
              </a:r>
              <a:r>
                <a:rPr kumimoji="0" lang="en-US" sz="1600" b="0" i="0" u="none" strike="noStrike" kern="1200" cap="none" spc="0" normalizeH="0" baseline="0" noProof="0" err="1">
                  <a:ln>
                    <a:noFill/>
                  </a:ln>
                  <a:solidFill>
                    <a:srgbClr val="FFFFFF"/>
                  </a:solidFill>
                  <a:effectLst/>
                  <a:uLnTx/>
                  <a:uFillTx/>
                  <a:latin typeface="Lato" panose="020F0502020204030203" pitchFamily="34" charset="0"/>
                  <a:ea typeface="+mn-ea"/>
                  <a:cs typeface="+mn-cs"/>
                </a:rPr>
                <a:t>WiFi</a:t>
              </a:r>
              <a:r>
                <a:rPr kumimoji="0" lang="en-US" sz="1600" b="0" i="0" u="none" strike="noStrike" kern="1200" cap="none" spc="0" normalizeH="0" baseline="0" noProof="0">
                  <a:ln>
                    <a:noFill/>
                  </a:ln>
                  <a:solidFill>
                    <a:srgbClr val="FFFFFF"/>
                  </a:solidFill>
                  <a:effectLst/>
                  <a:uLnTx/>
                  <a:uFillTx/>
                  <a:latin typeface="Lato" panose="020F0502020204030203" pitchFamily="34" charset="0"/>
                  <a:ea typeface="+mn-ea"/>
                  <a:cs typeface="+mn-cs"/>
                </a:rPr>
                <a:t>/Wired network based on SSO login.</a:t>
              </a:r>
              <a:endParaRPr kumimoji="0" lang="en-US" sz="1600" b="0" i="0" u="none" strike="sngStrike" kern="1200" cap="none" spc="0" normalizeH="0" baseline="0" noProof="0">
                <a:ln>
                  <a:noFill/>
                </a:ln>
                <a:solidFill>
                  <a:srgbClr val="FFFFFF"/>
                </a:solidFill>
                <a:effectLst/>
                <a:uLnTx/>
                <a:uFillTx/>
                <a:latin typeface="Lato" panose="020F0502020204030203" pitchFamily="34" charset="0"/>
                <a:ea typeface="+mn-ea"/>
                <a:cs typeface="+mn-cs"/>
              </a:endParaRPr>
            </a:p>
            <a:p>
              <a:pPr marL="627063" marR="0" lvl="0" indent="0" algn="l" defTabSz="914377" rtl="0" eaLnBrk="1" fontAlgn="auto" latinLnBrk="0" hangingPunct="1">
                <a:lnSpc>
                  <a:spcPct val="100000"/>
                </a:lnSpc>
                <a:spcBef>
                  <a:spcPts val="16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Lato" panose="020F0502020204030203" pitchFamily="34" charset="0"/>
                  <a:ea typeface="+mn-ea"/>
                  <a:cs typeface="+mn-cs"/>
                </a:rPr>
                <a:t>Improve Day2 operations by enabling Marvis Client.</a:t>
              </a:r>
            </a:p>
            <a:p>
              <a:pPr marL="627063" marR="0" lvl="0" indent="0" algn="l" defTabSz="914377" rtl="0" eaLnBrk="1" fontAlgn="auto" latinLnBrk="0" hangingPunct="1">
                <a:lnSpc>
                  <a:spcPct val="100000"/>
                </a:lnSpc>
                <a:spcBef>
                  <a:spcPts val="16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Lato" panose="020F0502020204030203" pitchFamily="34" charset="0"/>
                  <a:ea typeface="+mn-ea"/>
                  <a:cs typeface="+mn-cs"/>
                </a:rPr>
                <a:t>Get granular end user experience view of the network.</a:t>
              </a:r>
            </a:p>
          </p:txBody>
        </p:sp>
        <p:pic>
          <p:nvPicPr>
            <p:cNvPr id="6" name="Graphic 5">
              <a:extLst>
                <a:ext uri="{FF2B5EF4-FFF2-40B4-BE49-F238E27FC236}">
                  <a16:creationId xmlns:a16="http://schemas.microsoft.com/office/drawing/2014/main" id="{62A909C9-542A-99CD-95E9-D03985CD64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49015" y="2535358"/>
              <a:ext cx="457200" cy="466725"/>
            </a:xfrm>
            <a:prstGeom prst="rect">
              <a:avLst/>
            </a:prstGeom>
          </p:spPr>
        </p:pic>
        <p:pic>
          <p:nvPicPr>
            <p:cNvPr id="7" name="Graphic 6">
              <a:extLst>
                <a:ext uri="{FF2B5EF4-FFF2-40B4-BE49-F238E27FC236}">
                  <a16:creationId xmlns:a16="http://schemas.microsoft.com/office/drawing/2014/main" id="{20C99817-D146-3806-9A26-0CB8D5F4C1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41062" y="3503099"/>
              <a:ext cx="473106" cy="436000"/>
            </a:xfrm>
            <a:prstGeom prst="rect">
              <a:avLst/>
            </a:prstGeom>
          </p:spPr>
        </p:pic>
        <p:pic>
          <p:nvPicPr>
            <p:cNvPr id="8" name="Graphic 7">
              <a:extLst>
                <a:ext uri="{FF2B5EF4-FFF2-40B4-BE49-F238E27FC236}">
                  <a16:creationId xmlns:a16="http://schemas.microsoft.com/office/drawing/2014/main" id="{D202090C-FBCC-7F08-2A8B-718F1DC1E6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39490" y="5157568"/>
              <a:ext cx="476250" cy="495300"/>
            </a:xfrm>
            <a:prstGeom prst="rect">
              <a:avLst/>
            </a:prstGeom>
          </p:spPr>
        </p:pic>
        <p:pic>
          <p:nvPicPr>
            <p:cNvPr id="9" name="Graphic 8">
              <a:extLst>
                <a:ext uri="{FF2B5EF4-FFF2-40B4-BE49-F238E27FC236}">
                  <a16:creationId xmlns:a16="http://schemas.microsoft.com/office/drawing/2014/main" id="{32267F12-3DCC-D1D5-7F87-36C44F99561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25203" y="4338387"/>
              <a:ext cx="504825" cy="466725"/>
            </a:xfrm>
            <a:prstGeom prst="rect">
              <a:avLst/>
            </a:prstGeom>
          </p:spPr>
        </p:pic>
      </p:grpSp>
      <p:grpSp>
        <p:nvGrpSpPr>
          <p:cNvPr id="11" name="Group 10">
            <a:extLst>
              <a:ext uri="{FF2B5EF4-FFF2-40B4-BE49-F238E27FC236}">
                <a16:creationId xmlns:a16="http://schemas.microsoft.com/office/drawing/2014/main" id="{9EA54E97-4BA8-4010-48A4-D3A2385A6C62}"/>
              </a:ext>
            </a:extLst>
          </p:cNvPr>
          <p:cNvGrpSpPr/>
          <p:nvPr/>
        </p:nvGrpSpPr>
        <p:grpSpPr>
          <a:xfrm>
            <a:off x="1029171" y="1466986"/>
            <a:ext cx="2568618" cy="4535215"/>
            <a:chOff x="1029171" y="1466986"/>
            <a:chExt cx="2568618" cy="4535215"/>
          </a:xfrm>
        </p:grpSpPr>
        <p:pic>
          <p:nvPicPr>
            <p:cNvPr id="12" name="Picture 11">
              <a:extLst>
                <a:ext uri="{FF2B5EF4-FFF2-40B4-BE49-F238E27FC236}">
                  <a16:creationId xmlns:a16="http://schemas.microsoft.com/office/drawing/2014/main" id="{E42D80EC-A3B3-FF63-DCC9-647627C1E11A}"/>
                </a:ext>
              </a:extLst>
            </p:cNvPr>
            <p:cNvPicPr>
              <a:picLocks noChangeAspect="1"/>
            </p:cNvPicPr>
            <p:nvPr/>
          </p:nvPicPr>
          <p:blipFill>
            <a:blip r:embed="rId12"/>
            <a:stretch>
              <a:fillRect/>
            </a:stretch>
          </p:blipFill>
          <p:spPr>
            <a:xfrm>
              <a:off x="1029171" y="1466986"/>
              <a:ext cx="2568618" cy="4535215"/>
            </a:xfrm>
            <a:prstGeom prst="rect">
              <a:avLst/>
            </a:prstGeom>
          </p:spPr>
        </p:pic>
        <p:pic>
          <p:nvPicPr>
            <p:cNvPr id="13" name="Graphic 12">
              <a:extLst>
                <a:ext uri="{FF2B5EF4-FFF2-40B4-BE49-F238E27FC236}">
                  <a16:creationId xmlns:a16="http://schemas.microsoft.com/office/drawing/2014/main" id="{F686CFEE-5870-69A9-3F04-95E7F5533C4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30444" y="2195467"/>
              <a:ext cx="1366072" cy="373088"/>
            </a:xfrm>
            <a:prstGeom prst="rect">
              <a:avLst/>
            </a:prstGeom>
          </p:spPr>
        </p:pic>
      </p:grpSp>
    </p:spTree>
    <p:extLst>
      <p:ext uri="{BB962C8B-B14F-4D97-AF65-F5344CB8AC3E}">
        <p14:creationId xmlns:p14="http://schemas.microsoft.com/office/powerpoint/2010/main" val="404975952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C6C2-354D-6CC7-1C71-12D0344E295D}"/>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1E988369-0B2C-0E5C-CEE9-20A4F727E8A1}"/>
              </a:ext>
            </a:extLst>
          </p:cNvPr>
          <p:cNvGrpSpPr/>
          <p:nvPr/>
        </p:nvGrpSpPr>
        <p:grpSpPr>
          <a:xfrm>
            <a:off x="1771651" y="1535798"/>
            <a:ext cx="3663429" cy="4592473"/>
            <a:chOff x="1181527" y="1405719"/>
            <a:chExt cx="3663429" cy="4592473"/>
          </a:xfrm>
        </p:grpSpPr>
        <p:sp>
          <p:nvSpPr>
            <p:cNvPr id="5" name="Oval 4">
              <a:extLst>
                <a:ext uri="{FF2B5EF4-FFF2-40B4-BE49-F238E27FC236}">
                  <a16:creationId xmlns:a16="http://schemas.microsoft.com/office/drawing/2014/main" id="{CF88B934-F74B-118C-3CB5-7E2A8D2167F1}"/>
                </a:ext>
              </a:extLst>
            </p:cNvPr>
            <p:cNvSpPr/>
            <p:nvPr/>
          </p:nvSpPr>
          <p:spPr>
            <a:xfrm>
              <a:off x="1678674" y="1405719"/>
              <a:ext cx="996288" cy="996288"/>
            </a:xfrm>
            <a:prstGeom prst="ellipse">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00" b="1" i="0" u="none" strike="noStrike" kern="1200" cap="none" spc="0" normalizeH="0" baseline="0" noProof="0">
                  <a:ln>
                    <a:noFill/>
                  </a:ln>
                  <a:solidFill>
                    <a:srgbClr val="212121"/>
                  </a:solidFill>
                  <a:effectLst/>
                  <a:uLnTx/>
                  <a:uFillTx/>
                  <a:latin typeface="Lato"/>
                  <a:ea typeface="+mn-ea"/>
                  <a:cs typeface="+mn-cs"/>
                </a:rPr>
                <a:t>Juniper </a:t>
              </a:r>
              <a:br>
                <a:rPr kumimoji="0" lang="en-US" sz="1000" b="1" i="0" u="none" strike="noStrike" kern="1200" cap="none" spc="0" normalizeH="0" baseline="0" noProof="0">
                  <a:ln>
                    <a:noFill/>
                  </a:ln>
                  <a:solidFill>
                    <a:srgbClr val="212121"/>
                  </a:solidFill>
                  <a:effectLst/>
                  <a:uLnTx/>
                  <a:uFillTx/>
                  <a:latin typeface="Lato"/>
                  <a:ea typeface="+mn-ea"/>
                  <a:cs typeface="+mn-cs"/>
                </a:rPr>
              </a:br>
              <a:r>
                <a:rPr kumimoji="0" lang="en-US" sz="1000" b="1" i="0" u="none" strike="noStrike" kern="1200" cap="none" spc="0" normalizeH="0" baseline="0" noProof="0">
                  <a:ln>
                    <a:noFill/>
                  </a:ln>
                  <a:solidFill>
                    <a:srgbClr val="212121"/>
                  </a:solidFill>
                  <a:effectLst/>
                  <a:uLnTx/>
                  <a:uFillTx/>
                  <a:latin typeface="Lato"/>
                  <a:ea typeface="+mn-ea"/>
                  <a:cs typeface="+mn-cs"/>
                </a:rPr>
                <a:t>Mist Cloud</a:t>
              </a:r>
            </a:p>
          </p:txBody>
        </p:sp>
        <p:sp>
          <p:nvSpPr>
            <p:cNvPr id="7" name="Rectangle 6">
              <a:extLst>
                <a:ext uri="{FF2B5EF4-FFF2-40B4-BE49-F238E27FC236}">
                  <a16:creationId xmlns:a16="http://schemas.microsoft.com/office/drawing/2014/main" id="{E570ED59-F589-5E65-352D-E273B2D496BC}"/>
                </a:ext>
              </a:extLst>
            </p:cNvPr>
            <p:cNvSpPr/>
            <p:nvPr/>
          </p:nvSpPr>
          <p:spPr>
            <a:xfrm>
              <a:off x="1181527" y="4844956"/>
              <a:ext cx="3540600" cy="1153236"/>
            </a:xfrm>
            <a:prstGeom prst="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cxnSp>
          <p:nvCxnSpPr>
            <p:cNvPr id="8" name="Straight Arrow Connector 7">
              <a:extLst>
                <a:ext uri="{FF2B5EF4-FFF2-40B4-BE49-F238E27FC236}">
                  <a16:creationId xmlns:a16="http://schemas.microsoft.com/office/drawing/2014/main" id="{6B0AFA67-17F0-7E0E-8998-2C5FAD4B56C7}"/>
                </a:ext>
              </a:extLst>
            </p:cNvPr>
            <p:cNvCxnSpPr>
              <a:cxnSpLocks/>
            </p:cNvCxnSpPr>
            <p:nvPr/>
          </p:nvCxnSpPr>
          <p:spPr>
            <a:xfrm>
              <a:off x="2156346" y="2388358"/>
              <a:ext cx="0" cy="2634018"/>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5702231-7DDF-6D76-81A2-C30A03FA9BD3}"/>
                </a:ext>
              </a:extLst>
            </p:cNvPr>
            <p:cNvCxnSpPr>
              <a:cxnSpLocks/>
            </p:cNvCxnSpPr>
            <p:nvPr/>
          </p:nvCxnSpPr>
          <p:spPr>
            <a:xfrm flipH="1" flipV="1">
              <a:off x="2442949" y="2347415"/>
              <a:ext cx="457200" cy="962167"/>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10A1E00-7D67-6D8C-4387-A3646B514E98}"/>
                </a:ext>
              </a:extLst>
            </p:cNvPr>
            <p:cNvCxnSpPr>
              <a:cxnSpLocks/>
            </p:cNvCxnSpPr>
            <p:nvPr/>
          </p:nvCxnSpPr>
          <p:spPr>
            <a:xfrm>
              <a:off x="3198127" y="3930555"/>
              <a:ext cx="432177" cy="1023582"/>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1A0EDC6F-58AF-7BF1-66DB-249F8E9649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10687" y="1536736"/>
              <a:ext cx="525294" cy="353215"/>
            </a:xfrm>
            <a:prstGeom prst="rect">
              <a:avLst/>
            </a:prstGeom>
          </p:spPr>
        </p:pic>
        <p:sp>
          <p:nvSpPr>
            <p:cNvPr id="14" name="TextBox 13">
              <a:extLst>
                <a:ext uri="{FF2B5EF4-FFF2-40B4-BE49-F238E27FC236}">
                  <a16:creationId xmlns:a16="http://schemas.microsoft.com/office/drawing/2014/main" id="{FD0BFBCF-D221-7847-3F6C-0D54D1F8A28B}"/>
                </a:ext>
              </a:extLst>
            </p:cNvPr>
            <p:cNvSpPr txBox="1"/>
            <p:nvPr/>
          </p:nvSpPr>
          <p:spPr>
            <a:xfrm>
              <a:off x="1204943" y="2568204"/>
              <a:ext cx="938284" cy="850560"/>
            </a:xfrm>
            <a:prstGeom prst="rect">
              <a:avLst/>
            </a:prstGeom>
            <a:solidFill>
              <a:schemeClr val="accent4"/>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E"/>
                  </a:solidFill>
                  <a:effectLst/>
                  <a:uLnTx/>
                  <a:uFillTx/>
                  <a:latin typeface="Lato"/>
                  <a:ea typeface="+mn-ea"/>
                  <a:cs typeface="+mn-cs"/>
                </a:rPr>
                <a:t>Push known </a:t>
              </a:r>
              <a:r>
                <a:rPr kumimoji="0" lang="en-US" sz="900" b="0" i="0" u="none" strike="noStrike" kern="1200" cap="none" spc="0" normalizeH="0" baseline="0" noProof="0" err="1">
                  <a:ln>
                    <a:noFill/>
                  </a:ln>
                  <a:solidFill>
                    <a:srgbClr val="FFFFFE"/>
                  </a:solidFill>
                  <a:effectLst/>
                  <a:uLnTx/>
                  <a:uFillTx/>
                  <a:latin typeface="Lato"/>
                  <a:ea typeface="+mn-ea"/>
                  <a:cs typeface="+mn-cs"/>
                </a:rPr>
                <a:t>nac</a:t>
              </a:r>
              <a:r>
                <a:rPr kumimoji="0" lang="en-US" sz="900" b="0" i="0" u="none" strike="noStrike" kern="1200" cap="none" spc="0" normalizeH="0" baseline="0" noProof="0">
                  <a:ln>
                    <a:noFill/>
                  </a:ln>
                  <a:solidFill>
                    <a:srgbClr val="FFFFFE"/>
                  </a:solidFill>
                  <a:effectLst/>
                  <a:uLnTx/>
                  <a:uFillTx/>
                  <a:latin typeface="Lato"/>
                  <a:ea typeface="+mn-ea"/>
                  <a:cs typeface="+mn-cs"/>
                </a:rPr>
                <a:t> clients for Site A and their respective policy assignments</a:t>
              </a:r>
            </a:p>
          </p:txBody>
        </p:sp>
        <p:sp>
          <p:nvSpPr>
            <p:cNvPr id="15" name="TextBox 14">
              <a:extLst>
                <a:ext uri="{FF2B5EF4-FFF2-40B4-BE49-F238E27FC236}">
                  <a16:creationId xmlns:a16="http://schemas.microsoft.com/office/drawing/2014/main" id="{1A41853B-EDD7-7A60-65E7-8E671956AC9D}"/>
                </a:ext>
              </a:extLst>
            </p:cNvPr>
            <p:cNvSpPr txBox="1"/>
            <p:nvPr/>
          </p:nvSpPr>
          <p:spPr>
            <a:xfrm rot="3865536">
              <a:off x="2462581" y="2625111"/>
              <a:ext cx="743767" cy="321656"/>
            </a:xfrm>
            <a:prstGeom prst="rect">
              <a:avLst/>
            </a:prstGeom>
            <a:solidFill>
              <a:schemeClr val="accent4"/>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E"/>
                  </a:solidFill>
                  <a:effectLst/>
                  <a:uLnTx/>
                  <a:uFillTx/>
                  <a:latin typeface="Lato"/>
                  <a:ea typeface="+mn-ea"/>
                  <a:cs typeface="+mn-cs"/>
                </a:rPr>
                <a:t>Pass </a:t>
              </a:r>
              <a:r>
                <a:rPr kumimoji="0" lang="en-US" sz="900" b="0" i="0" u="none" strike="noStrike" kern="1200" cap="none" spc="0" normalizeH="0" baseline="0" noProof="0" err="1">
                  <a:ln>
                    <a:noFill/>
                  </a:ln>
                  <a:solidFill>
                    <a:srgbClr val="FFFFFE"/>
                  </a:solidFill>
                  <a:effectLst/>
                  <a:uLnTx/>
                  <a:uFillTx/>
                  <a:latin typeface="Lato"/>
                  <a:ea typeface="+mn-ea"/>
                  <a:cs typeface="+mn-cs"/>
                </a:rPr>
                <a:t>nac</a:t>
              </a:r>
              <a:r>
                <a:rPr kumimoji="0" lang="en-US" sz="900" b="0" i="0" u="none" strike="noStrike" kern="1200" cap="none" spc="0" normalizeH="0" baseline="0" noProof="0">
                  <a:ln>
                    <a:noFill/>
                  </a:ln>
                  <a:solidFill>
                    <a:srgbClr val="FFFFFE"/>
                  </a:solidFill>
                  <a:effectLst/>
                  <a:uLnTx/>
                  <a:uFillTx/>
                  <a:latin typeface="Lato"/>
                  <a:ea typeface="+mn-ea"/>
                  <a:cs typeface="+mn-cs"/>
                </a:rPr>
                <a:t> client info</a:t>
              </a:r>
            </a:p>
          </p:txBody>
        </p:sp>
        <p:sp>
          <p:nvSpPr>
            <p:cNvPr id="16" name="TextBox 15">
              <a:extLst>
                <a:ext uri="{FF2B5EF4-FFF2-40B4-BE49-F238E27FC236}">
                  <a16:creationId xmlns:a16="http://schemas.microsoft.com/office/drawing/2014/main" id="{F3CBEDFE-4AEF-D708-7D92-82917C19D5A3}"/>
                </a:ext>
              </a:extLst>
            </p:cNvPr>
            <p:cNvSpPr txBox="1"/>
            <p:nvPr/>
          </p:nvSpPr>
          <p:spPr>
            <a:xfrm>
              <a:off x="3656460" y="4009029"/>
              <a:ext cx="1045193" cy="597089"/>
            </a:xfrm>
            <a:prstGeom prst="rect">
              <a:avLst/>
            </a:prstGeom>
            <a:solidFill>
              <a:schemeClr val="accent1"/>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E"/>
                  </a:solidFill>
                  <a:effectLst/>
                  <a:uLnTx/>
                  <a:uFillTx/>
                  <a:latin typeface="Lato"/>
                  <a:ea typeface="+mn-ea"/>
                  <a:cs typeface="+mn-cs"/>
                </a:rPr>
                <a:t>RadSec tunnels terminate on the nearest AA POD based on Geo-IP</a:t>
              </a:r>
            </a:p>
          </p:txBody>
        </p:sp>
        <p:sp>
          <p:nvSpPr>
            <p:cNvPr id="17" name="TextBox 16">
              <a:extLst>
                <a:ext uri="{FF2B5EF4-FFF2-40B4-BE49-F238E27FC236}">
                  <a16:creationId xmlns:a16="http://schemas.microsoft.com/office/drawing/2014/main" id="{77208746-19EE-80DA-73D2-0593F7327707}"/>
                </a:ext>
              </a:extLst>
            </p:cNvPr>
            <p:cNvSpPr txBox="1"/>
            <p:nvPr/>
          </p:nvSpPr>
          <p:spPr>
            <a:xfrm>
              <a:off x="1317579" y="4903384"/>
              <a:ext cx="586853" cy="312761"/>
            </a:xfrm>
            <a:prstGeom prst="rect">
              <a:avLst/>
            </a:prstGeom>
            <a:solidFill>
              <a:schemeClr val="accent4"/>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E"/>
                  </a:solidFill>
                  <a:effectLst/>
                  <a:uLnTx/>
                  <a:uFillTx/>
                  <a:latin typeface="Lato"/>
                  <a:ea typeface="+mn-ea"/>
                  <a:cs typeface="+mn-cs"/>
                </a:rPr>
                <a:t>Caching Service</a:t>
              </a:r>
            </a:p>
          </p:txBody>
        </p:sp>
        <p:sp>
          <p:nvSpPr>
            <p:cNvPr id="18" name="TextBox 17">
              <a:extLst>
                <a:ext uri="{FF2B5EF4-FFF2-40B4-BE49-F238E27FC236}">
                  <a16:creationId xmlns:a16="http://schemas.microsoft.com/office/drawing/2014/main" id="{D4AB8C10-50D6-3933-59EB-55BC6E4ED939}"/>
                </a:ext>
              </a:extLst>
            </p:cNvPr>
            <p:cNvSpPr txBox="1"/>
            <p:nvPr/>
          </p:nvSpPr>
          <p:spPr>
            <a:xfrm rot="16200000">
              <a:off x="1681236" y="3985999"/>
              <a:ext cx="963872" cy="249072"/>
            </a:xfrm>
            <a:prstGeom prst="roundRect">
              <a:avLst>
                <a:gd name="adj" fmla="val 50000"/>
              </a:avLst>
            </a:prstGeom>
            <a:solidFill>
              <a:schemeClr val="accent4"/>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E"/>
                  </a:solidFill>
                  <a:effectLst/>
                  <a:uLnTx/>
                  <a:uFillTx/>
                  <a:latin typeface="Lato"/>
                  <a:ea typeface="+mn-ea"/>
                  <a:cs typeface="+mn-cs"/>
                </a:rPr>
                <a:t>Cache Update</a:t>
              </a:r>
            </a:p>
          </p:txBody>
        </p:sp>
        <p:sp>
          <p:nvSpPr>
            <p:cNvPr id="19" name="TextBox 18">
              <a:extLst>
                <a:ext uri="{FF2B5EF4-FFF2-40B4-BE49-F238E27FC236}">
                  <a16:creationId xmlns:a16="http://schemas.microsoft.com/office/drawing/2014/main" id="{5A0CA117-9205-44F1-87A1-DFACB5D8601E}"/>
                </a:ext>
              </a:extLst>
            </p:cNvPr>
            <p:cNvSpPr txBox="1"/>
            <p:nvPr/>
          </p:nvSpPr>
          <p:spPr>
            <a:xfrm rot="4012383">
              <a:off x="3068027" y="4220545"/>
              <a:ext cx="610596" cy="253499"/>
            </a:xfrm>
            <a:prstGeom prst="roundRect">
              <a:avLst>
                <a:gd name="adj" fmla="val 50000"/>
              </a:avLst>
            </a:prstGeom>
            <a:solidFill>
              <a:schemeClr val="accent1"/>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E"/>
                  </a:solidFill>
                  <a:effectLst/>
                  <a:uLnTx/>
                  <a:uFillTx/>
                  <a:latin typeface="Lato"/>
                  <a:ea typeface="+mn-ea"/>
                  <a:cs typeface="+mn-cs"/>
                </a:rPr>
                <a:t>RadSec</a:t>
              </a:r>
            </a:p>
          </p:txBody>
        </p:sp>
        <p:sp>
          <p:nvSpPr>
            <p:cNvPr id="20" name="TextBox 19">
              <a:extLst>
                <a:ext uri="{FF2B5EF4-FFF2-40B4-BE49-F238E27FC236}">
                  <a16:creationId xmlns:a16="http://schemas.microsoft.com/office/drawing/2014/main" id="{81A70718-C94C-2E04-A1D3-6FB230E13EC2}"/>
                </a:ext>
              </a:extLst>
            </p:cNvPr>
            <p:cNvSpPr txBox="1"/>
            <p:nvPr/>
          </p:nvSpPr>
          <p:spPr>
            <a:xfrm>
              <a:off x="2720454" y="5433829"/>
              <a:ext cx="2124502"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Lato"/>
                  <a:ea typeface="+mn-ea"/>
                  <a:cs typeface="+mn-cs"/>
                </a:rPr>
                <a:t>Wired/wireless infrastructure</a:t>
              </a:r>
            </a:p>
          </p:txBody>
        </p:sp>
        <p:sp>
          <p:nvSpPr>
            <p:cNvPr id="21" name="TextBox 20">
              <a:extLst>
                <a:ext uri="{FF2B5EF4-FFF2-40B4-BE49-F238E27FC236}">
                  <a16:creationId xmlns:a16="http://schemas.microsoft.com/office/drawing/2014/main" id="{3FA5863A-0351-863E-EEEB-32C25495D438}"/>
                </a:ext>
              </a:extLst>
            </p:cNvPr>
            <p:cNvSpPr txBox="1"/>
            <p:nvPr/>
          </p:nvSpPr>
          <p:spPr>
            <a:xfrm>
              <a:off x="1601338" y="5455693"/>
              <a:ext cx="1073623"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12121"/>
                  </a:solidFill>
                  <a:effectLst/>
                  <a:uLnTx/>
                  <a:uFillTx/>
                  <a:latin typeface="Lato"/>
                  <a:ea typeface="+mn-ea"/>
                  <a:cs typeface="+mn-cs"/>
                </a:rPr>
                <a:t>Mist Edge</a:t>
              </a:r>
            </a:p>
          </p:txBody>
        </p:sp>
        <p:sp>
          <p:nvSpPr>
            <p:cNvPr id="24" name="TextBox 23">
              <a:extLst>
                <a:ext uri="{FF2B5EF4-FFF2-40B4-BE49-F238E27FC236}">
                  <a16:creationId xmlns:a16="http://schemas.microsoft.com/office/drawing/2014/main" id="{3B6746D6-5614-BB58-B8DA-EC84EE6D6D43}"/>
                </a:ext>
              </a:extLst>
            </p:cNvPr>
            <p:cNvSpPr txBox="1"/>
            <p:nvPr/>
          </p:nvSpPr>
          <p:spPr>
            <a:xfrm>
              <a:off x="3800901" y="5711590"/>
              <a:ext cx="921225" cy="286602"/>
            </a:xfrm>
            <a:prstGeom prst="rect">
              <a:avLst/>
            </a:prstGeom>
            <a:noFill/>
            <a:ln>
              <a:solidFill>
                <a:schemeClr val="tx1">
                  <a:lumMod val="50000"/>
                  <a:lumOff val="50000"/>
                </a:schemeClr>
              </a:solidFill>
            </a:ln>
          </p:spPr>
          <p:txBody>
            <a:bodyPr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Lato"/>
                  <a:ea typeface="+mn-ea"/>
                  <a:cs typeface="+mn-cs"/>
                </a:rPr>
                <a:t>Critical Site</a:t>
              </a:r>
            </a:p>
          </p:txBody>
        </p:sp>
        <p:sp>
          <p:nvSpPr>
            <p:cNvPr id="25" name="TextBox 24">
              <a:extLst>
                <a:ext uri="{FF2B5EF4-FFF2-40B4-BE49-F238E27FC236}">
                  <a16:creationId xmlns:a16="http://schemas.microsoft.com/office/drawing/2014/main" id="{BCBD49B9-F5C1-7E25-7927-2F3DDF6B4A75}"/>
                </a:ext>
              </a:extLst>
            </p:cNvPr>
            <p:cNvSpPr txBox="1"/>
            <p:nvPr/>
          </p:nvSpPr>
          <p:spPr>
            <a:xfrm>
              <a:off x="2636295" y="3805451"/>
              <a:ext cx="850710" cy="125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Lato"/>
                  <a:ea typeface="+mn-ea"/>
                  <a:cs typeface="+mn-cs"/>
                </a:rPr>
                <a:t>AA POD 1</a:t>
              </a:r>
            </a:p>
          </p:txBody>
        </p:sp>
        <p:sp>
          <p:nvSpPr>
            <p:cNvPr id="26" name="TextBox 25">
              <a:extLst>
                <a:ext uri="{FF2B5EF4-FFF2-40B4-BE49-F238E27FC236}">
                  <a16:creationId xmlns:a16="http://schemas.microsoft.com/office/drawing/2014/main" id="{57A91ED4-362D-E641-2A90-B1F28B9C5445}"/>
                </a:ext>
              </a:extLst>
            </p:cNvPr>
            <p:cNvSpPr txBox="1"/>
            <p:nvPr/>
          </p:nvSpPr>
          <p:spPr>
            <a:xfrm>
              <a:off x="3672386" y="3819098"/>
              <a:ext cx="850710" cy="125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Lato"/>
                  <a:ea typeface="+mn-ea"/>
                  <a:cs typeface="+mn-cs"/>
                </a:rPr>
                <a:t>AA POD N</a:t>
              </a:r>
            </a:p>
          </p:txBody>
        </p:sp>
        <p:pic>
          <p:nvPicPr>
            <p:cNvPr id="28" name="Graphic 27">
              <a:extLst>
                <a:ext uri="{FF2B5EF4-FFF2-40B4-BE49-F238E27FC236}">
                  <a16:creationId xmlns:a16="http://schemas.microsoft.com/office/drawing/2014/main" id="{D68E4C72-70D3-6BFF-34D3-245CEA08F2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79491" y="3284386"/>
              <a:ext cx="504825" cy="457200"/>
            </a:xfrm>
            <a:prstGeom prst="rect">
              <a:avLst/>
            </a:prstGeom>
          </p:spPr>
        </p:pic>
        <p:pic>
          <p:nvPicPr>
            <p:cNvPr id="29" name="Graphic 28">
              <a:extLst>
                <a:ext uri="{FF2B5EF4-FFF2-40B4-BE49-F238E27FC236}">
                  <a16:creationId xmlns:a16="http://schemas.microsoft.com/office/drawing/2014/main" id="{387C7210-98CB-E082-9C8C-8B69DD0351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86200" y="3284386"/>
              <a:ext cx="504825" cy="457200"/>
            </a:xfrm>
            <a:prstGeom prst="rect">
              <a:avLst/>
            </a:prstGeom>
          </p:spPr>
        </p:pic>
        <p:pic>
          <p:nvPicPr>
            <p:cNvPr id="36" name="Graphic 35">
              <a:extLst>
                <a:ext uri="{FF2B5EF4-FFF2-40B4-BE49-F238E27FC236}">
                  <a16:creationId xmlns:a16="http://schemas.microsoft.com/office/drawing/2014/main" id="{400C40A9-4190-C6F7-1D60-61D3FEF360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28379" y="4939702"/>
              <a:ext cx="395102" cy="395102"/>
            </a:xfrm>
            <a:prstGeom prst="rect">
              <a:avLst/>
            </a:prstGeom>
          </p:spPr>
        </p:pic>
        <p:pic>
          <p:nvPicPr>
            <p:cNvPr id="37" name="Graphic 36">
              <a:extLst>
                <a:ext uri="{FF2B5EF4-FFF2-40B4-BE49-F238E27FC236}">
                  <a16:creationId xmlns:a16="http://schemas.microsoft.com/office/drawing/2014/main" id="{7F567908-94A7-DAF7-D831-D9FA8325B0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86867" y="5054984"/>
              <a:ext cx="635612" cy="341522"/>
            </a:xfrm>
            <a:prstGeom prst="rect">
              <a:avLst/>
            </a:prstGeom>
          </p:spPr>
        </p:pic>
        <p:pic>
          <p:nvPicPr>
            <p:cNvPr id="40" name="Graphic 39">
              <a:extLst>
                <a:ext uri="{FF2B5EF4-FFF2-40B4-BE49-F238E27FC236}">
                  <a16:creationId xmlns:a16="http://schemas.microsoft.com/office/drawing/2014/main" id="{54D7E936-6289-5465-5BFC-BA78BAEFA6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82257" y="4954216"/>
              <a:ext cx="409575" cy="409575"/>
            </a:xfrm>
            <a:prstGeom prst="rect">
              <a:avLst/>
            </a:prstGeom>
          </p:spPr>
        </p:pic>
      </p:grpSp>
      <p:sp>
        <p:nvSpPr>
          <p:cNvPr id="2" name="Title 1">
            <a:extLst>
              <a:ext uri="{FF2B5EF4-FFF2-40B4-BE49-F238E27FC236}">
                <a16:creationId xmlns:a16="http://schemas.microsoft.com/office/drawing/2014/main" id="{FCFB01D2-67AF-1C8E-1D78-D8ED7CE7085C}"/>
              </a:ext>
            </a:extLst>
          </p:cNvPr>
          <p:cNvSpPr>
            <a:spLocks noGrp="1"/>
          </p:cNvSpPr>
          <p:nvPr>
            <p:ph type="title"/>
          </p:nvPr>
        </p:nvSpPr>
        <p:spPr>
          <a:xfrm>
            <a:off x="604010" y="60972"/>
            <a:ext cx="11283189" cy="950706"/>
          </a:xfrm>
        </p:spPr>
        <p:txBody>
          <a:bodyPr/>
          <a:lstStyle/>
          <a:p>
            <a:r>
              <a:rPr lang="en-US">
                <a:ea typeface="Lato Light"/>
                <a:cs typeface="Lato Light"/>
              </a:rPr>
              <a:t>High Availability / High Reliability – Site Survivability </a:t>
            </a:r>
            <a:endParaRPr lang="en-US"/>
          </a:p>
        </p:txBody>
      </p:sp>
      <p:sp>
        <p:nvSpPr>
          <p:cNvPr id="12" name="Content Placeholder 3">
            <a:extLst>
              <a:ext uri="{FF2B5EF4-FFF2-40B4-BE49-F238E27FC236}">
                <a16:creationId xmlns:a16="http://schemas.microsoft.com/office/drawing/2014/main" id="{255A4133-899C-4BB0-620A-18B4C723C413}"/>
              </a:ext>
            </a:extLst>
          </p:cNvPr>
          <p:cNvSpPr txBox="1">
            <a:spLocks/>
          </p:cNvSpPr>
          <p:nvPr/>
        </p:nvSpPr>
        <p:spPr>
          <a:xfrm>
            <a:off x="6856719" y="2587693"/>
            <a:ext cx="4867701" cy="2200474"/>
          </a:xfrm>
          <a:prstGeom prst="rect">
            <a:avLst/>
          </a:prstGeom>
        </p:spPr>
        <p:txBody>
          <a:bodyPr vert="horz" wrap="square" lIns="0" tIns="0" rIns="0" bIns="0" rtlCol="0" anchor="t">
            <a:spAutoFit/>
          </a:bodyPr>
          <a:lstStyle>
            <a:lvl1pPr marL="0" indent="0" algn="l" defTabSz="914377" rtl="0" eaLnBrk="1" latinLnBrk="0" hangingPunct="1">
              <a:lnSpc>
                <a:spcPct val="110000"/>
              </a:lnSpc>
              <a:spcBef>
                <a:spcPts val="1600"/>
              </a:spcBef>
              <a:buFont typeface="Arial" panose="020B0604020202020204" pitchFamily="34" charset="0"/>
              <a:buNone/>
              <a:defRPr sz="1800" kern="1200">
                <a:solidFill>
                  <a:schemeClr val="tx1"/>
                </a:solidFill>
                <a:latin typeface="+mn-lt"/>
                <a:ea typeface="+mn-ea"/>
                <a:cs typeface="+mn-cs"/>
              </a:defRPr>
            </a:lvl1pPr>
            <a:lvl2pPr marL="403225" indent="-174625" algn="l" defTabSz="914377" rtl="0" eaLnBrk="1" latinLnBrk="0" hangingPunct="1">
              <a:lnSpc>
                <a:spcPct val="95000"/>
              </a:lnSpc>
              <a:spcBef>
                <a:spcPts val="500"/>
              </a:spcBef>
              <a:buFont typeface="Arial" panose="020B0604020202020204"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377" rtl="0" eaLnBrk="1" fontAlgn="auto" latinLnBrk="0" hangingPunct="1">
              <a:lnSpc>
                <a:spcPct val="110000"/>
              </a:lnSpc>
              <a:spcBef>
                <a:spcPts val="1600"/>
              </a:spcBef>
              <a:spcAft>
                <a:spcPts val="0"/>
              </a:spcAft>
              <a:buClrTx/>
              <a:buSzTx/>
              <a:buFont typeface="Arial" panose="020B0604020202020204" pitchFamily="34" charset="0"/>
              <a:buChar char="•"/>
              <a:tabLst/>
              <a:defRPr/>
            </a:pPr>
            <a:r>
              <a:rPr kumimoji="0" lang="en-CZ" sz="2400" b="0" i="0" u="none" strike="noStrike" kern="1200" cap="none" spc="0" normalizeH="0" baseline="0" noProof="0">
                <a:ln>
                  <a:noFill/>
                </a:ln>
                <a:solidFill>
                  <a:srgbClr val="212121"/>
                </a:solidFill>
                <a:effectLst/>
                <a:uLnTx/>
                <a:uFillTx/>
                <a:latin typeface="Lato"/>
                <a:ea typeface="+mn-ea"/>
                <a:cs typeface="+mn-cs"/>
              </a:rPr>
              <a:t>Access Assurance performs all the authentication/policy assignment</a:t>
            </a:r>
            <a:endParaRPr kumimoji="0" lang="en-US" sz="2400" b="0" i="0" u="none" strike="noStrike" kern="1200" cap="none" spc="0" normalizeH="0" baseline="0" noProof="0">
              <a:ln>
                <a:noFill/>
              </a:ln>
              <a:solidFill>
                <a:srgbClr val="212121"/>
              </a:solidFill>
              <a:effectLst/>
              <a:uLnTx/>
              <a:uFillTx/>
              <a:latin typeface="Lato"/>
              <a:ea typeface="Lato"/>
              <a:cs typeface="Lato"/>
            </a:endParaRPr>
          </a:p>
          <a:p>
            <a:pPr marL="342900" marR="0" lvl="0" indent="-342900" algn="l" defTabSz="914377" rtl="0" eaLnBrk="1" fontAlgn="auto" latinLnBrk="0" hangingPunct="1">
              <a:lnSpc>
                <a:spcPct val="110000"/>
              </a:lnSpc>
              <a:spcBef>
                <a:spcPts val="1600"/>
              </a:spcBef>
              <a:spcAft>
                <a:spcPts val="0"/>
              </a:spcAft>
              <a:buClrTx/>
              <a:buSzTx/>
              <a:buFont typeface="Arial" panose="020B0604020202020204" pitchFamily="34" charset="0"/>
              <a:buChar char="•"/>
              <a:tabLst/>
              <a:defRPr/>
            </a:pPr>
            <a:r>
              <a:rPr kumimoji="0" lang="en-CZ" sz="2400" b="0" i="0" u="none" strike="noStrike" kern="1200" cap="none" spc="0" normalizeH="0" baseline="0" noProof="0">
                <a:ln>
                  <a:noFill/>
                </a:ln>
                <a:solidFill>
                  <a:srgbClr val="212121"/>
                </a:solidFill>
                <a:effectLst/>
                <a:uLnTx/>
                <a:uFillTx/>
                <a:latin typeface="Lato"/>
                <a:ea typeface="+mn-ea"/>
                <a:cs typeface="+mn-cs"/>
              </a:rPr>
              <a:t>Cache gets distributed to a local Mist Edge(s) on critical sites</a:t>
            </a:r>
            <a:endParaRPr kumimoji="0" lang="en-CZ" sz="2400" b="0" i="0" u="none" strike="noStrike" kern="1200" cap="none" spc="0" normalizeH="0" baseline="0" noProof="0">
              <a:ln>
                <a:noFill/>
              </a:ln>
              <a:solidFill>
                <a:srgbClr val="212121"/>
              </a:solidFill>
              <a:effectLst/>
              <a:uLnTx/>
              <a:uFillTx/>
              <a:latin typeface="Lato"/>
              <a:ea typeface="Lato"/>
              <a:cs typeface="Lato"/>
            </a:endParaRPr>
          </a:p>
        </p:txBody>
      </p:sp>
      <p:sp>
        <p:nvSpPr>
          <p:cNvPr id="4" name="Rectangle 3">
            <a:extLst>
              <a:ext uri="{FF2B5EF4-FFF2-40B4-BE49-F238E27FC236}">
                <a16:creationId xmlns:a16="http://schemas.microsoft.com/office/drawing/2014/main" id="{464DC44E-0C25-BD1D-0DEC-43E661A78C99}"/>
              </a:ext>
            </a:extLst>
          </p:cNvPr>
          <p:cNvSpPr/>
          <p:nvPr/>
        </p:nvSpPr>
        <p:spPr>
          <a:xfrm>
            <a:off x="3864747" y="1628013"/>
            <a:ext cx="2004157" cy="9541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Z" sz="2800" b="0" i="0" u="none" strike="noStrike" kern="1200" cap="none" spc="0" normalizeH="0" baseline="0" noProof="0">
                <a:ln>
                  <a:noFill/>
                </a:ln>
                <a:solidFill>
                  <a:srgbClr val="2D6A00"/>
                </a:solidFill>
                <a:effectLst/>
                <a:uLnTx/>
                <a:uFillTx/>
                <a:latin typeface="Lato Black"/>
                <a:ea typeface="+mn-ea"/>
                <a:cs typeface="+mn-cs"/>
              </a:rPr>
              <a:t>Cloud Reachable</a:t>
            </a:r>
          </a:p>
        </p:txBody>
      </p:sp>
    </p:spTree>
    <p:extLst>
      <p:ext uri="{BB962C8B-B14F-4D97-AF65-F5344CB8AC3E}">
        <p14:creationId xmlns:p14="http://schemas.microsoft.com/office/powerpoint/2010/main" val="201065602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36260-3DA5-30E1-4D74-BCF96D464916}"/>
              </a:ext>
            </a:extLst>
          </p:cNvPr>
          <p:cNvSpPr>
            <a:spLocks noGrp="1"/>
          </p:cNvSpPr>
          <p:nvPr>
            <p:ph type="title"/>
          </p:nvPr>
        </p:nvSpPr>
        <p:spPr/>
        <p:txBody>
          <a:bodyPr/>
          <a:lstStyle/>
          <a:p>
            <a:r>
              <a:rPr lang="en-US"/>
              <a:t>High Availability / High Reliability – Site Survivability </a:t>
            </a:r>
          </a:p>
        </p:txBody>
      </p:sp>
      <p:grpSp>
        <p:nvGrpSpPr>
          <p:cNvPr id="3" name="Group 2">
            <a:extLst>
              <a:ext uri="{FF2B5EF4-FFF2-40B4-BE49-F238E27FC236}">
                <a16:creationId xmlns:a16="http://schemas.microsoft.com/office/drawing/2014/main" id="{43E6A8C8-CBD8-8135-B353-04DE1F226848}"/>
              </a:ext>
            </a:extLst>
          </p:cNvPr>
          <p:cNvGrpSpPr/>
          <p:nvPr/>
        </p:nvGrpSpPr>
        <p:grpSpPr>
          <a:xfrm>
            <a:off x="753035" y="3082068"/>
            <a:ext cx="5383587" cy="2926080"/>
            <a:chOff x="753035" y="3082068"/>
            <a:chExt cx="5394960" cy="2926080"/>
          </a:xfrm>
        </p:grpSpPr>
        <p:sp>
          <p:nvSpPr>
            <p:cNvPr id="25" name="TextBox 24">
              <a:extLst>
                <a:ext uri="{FF2B5EF4-FFF2-40B4-BE49-F238E27FC236}">
                  <a16:creationId xmlns:a16="http://schemas.microsoft.com/office/drawing/2014/main" id="{4D5BA9FB-FA29-AC35-FAC6-CA2F740653E0}"/>
                </a:ext>
              </a:extLst>
            </p:cNvPr>
            <p:cNvSpPr txBox="1"/>
            <p:nvPr/>
          </p:nvSpPr>
          <p:spPr>
            <a:xfrm>
              <a:off x="753035" y="3082068"/>
              <a:ext cx="5394960" cy="2926080"/>
            </a:xfrm>
            <a:prstGeom prst="rect">
              <a:avLst/>
            </a:prstGeom>
            <a:solidFill>
              <a:srgbClr val="2D6A00"/>
            </a:solidFill>
          </p:spPr>
          <p:txBody>
            <a:bodyPr wrap="square" lIns="457200" tIns="182880" rIns="274320" bIns="0" rtlCol="0" anchor="t">
              <a:noAutofit/>
            </a:bodyPr>
            <a:lstStyle/>
            <a:p>
              <a:pPr marL="0" marR="0" lvl="0" indent="0" algn="ctr" defTabSz="914377" rtl="0" eaLnBrk="1" fontAlgn="auto" latinLnBrk="0" hangingPunct="1">
                <a:lnSpc>
                  <a:spcPct val="100000"/>
                </a:lnSpc>
                <a:spcBef>
                  <a:spcPts val="0"/>
                </a:spcBef>
                <a:spcAft>
                  <a:spcPts val="1800"/>
                </a:spcAft>
                <a:buClrTx/>
                <a:buSzTx/>
                <a:buFontTx/>
                <a:buNone/>
                <a:tabLst/>
                <a:defRPr/>
              </a:pPr>
              <a:r>
                <a:rPr kumimoji="0" lang="en-US" sz="2400" b="1" i="0" u="none" strike="noStrike" kern="0" cap="none" spc="0" normalizeH="0" baseline="0" noProof="0">
                  <a:ln>
                    <a:noFill/>
                  </a:ln>
                  <a:solidFill>
                    <a:srgbClr val="FFFFFE"/>
                  </a:solidFill>
                  <a:effectLst/>
                  <a:uLnTx/>
                  <a:uFillTx/>
                  <a:latin typeface="Lato"/>
                  <a:ea typeface="Lato"/>
                  <a:cs typeface="Lato"/>
                </a:rPr>
                <a:t>Why does it matter?</a:t>
              </a:r>
              <a:endParaRPr kumimoji="0" lang="en-US" sz="1600" b="0" i="0" u="none" strike="noStrike" kern="0" cap="none" spc="0" normalizeH="0" baseline="0" noProof="0">
                <a:ln>
                  <a:noFill/>
                </a:ln>
                <a:solidFill>
                  <a:srgbClr val="FFFFFE"/>
                </a:solidFill>
                <a:effectLst/>
                <a:uLnTx/>
                <a:uFillTx/>
                <a:latin typeface="Lato"/>
                <a:ea typeface="+mn-ea"/>
                <a:cs typeface="+mn-cs"/>
              </a:endParaRPr>
            </a:p>
            <a:p>
              <a:pPr marL="627063" marR="0" lvl="0" indent="0" algn="l" defTabSz="914377" rtl="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a:ln>
                    <a:noFill/>
                  </a:ln>
                  <a:solidFill>
                    <a:srgbClr val="FFFFFF"/>
                  </a:solidFill>
                  <a:effectLst/>
                  <a:uLnTx/>
                  <a:uFillTx/>
                  <a:latin typeface="Lato"/>
                  <a:ea typeface="+mn-ea"/>
                  <a:cs typeface="+mn-cs"/>
                </a:rPr>
                <a:t>Cloud Microservices are used for the heavy lifting of authentication and authorization services.</a:t>
              </a:r>
            </a:p>
            <a:p>
              <a:pPr marL="627063" marR="0" lvl="0" indent="0" algn="l" defTabSz="914377" rtl="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a:ln>
                    <a:noFill/>
                  </a:ln>
                  <a:solidFill>
                    <a:srgbClr val="FFFFFF"/>
                  </a:solidFill>
                  <a:effectLst/>
                  <a:uLnTx/>
                  <a:uFillTx/>
                  <a:latin typeface="Lato"/>
                  <a:ea typeface="+mn-ea"/>
                  <a:cs typeface="+mn-cs"/>
                </a:rPr>
                <a:t>Mist Edge provides a local on-premises point of presence for site survivability functions.</a:t>
              </a:r>
            </a:p>
            <a:p>
              <a:pPr marL="627063" marR="0" lvl="0" indent="0" algn="l" defTabSz="914377" rtl="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a:ln>
                    <a:noFill/>
                  </a:ln>
                  <a:solidFill>
                    <a:srgbClr val="FFFFFF"/>
                  </a:solidFill>
                  <a:effectLst/>
                  <a:uLnTx/>
                  <a:uFillTx/>
                  <a:latin typeface="Lato"/>
                  <a:ea typeface="+mn-ea"/>
                  <a:cs typeface="+mn-cs"/>
                </a:rPr>
                <a:t>Lean operations on the Mist Edge side.</a:t>
              </a:r>
            </a:p>
          </p:txBody>
        </p:sp>
        <p:pic>
          <p:nvPicPr>
            <p:cNvPr id="26" name="Graphic 25">
              <a:extLst>
                <a:ext uri="{FF2B5EF4-FFF2-40B4-BE49-F238E27FC236}">
                  <a16:creationId xmlns:a16="http://schemas.microsoft.com/office/drawing/2014/main" id="{B395A517-7C36-E136-3848-5E8AB255F8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86057" y="3843867"/>
              <a:ext cx="427590" cy="436498"/>
            </a:xfrm>
            <a:prstGeom prst="rect">
              <a:avLst/>
            </a:prstGeom>
          </p:spPr>
        </p:pic>
        <p:pic>
          <p:nvPicPr>
            <p:cNvPr id="27" name="Graphic 26">
              <a:extLst>
                <a:ext uri="{FF2B5EF4-FFF2-40B4-BE49-F238E27FC236}">
                  <a16:creationId xmlns:a16="http://schemas.microsoft.com/office/drawing/2014/main" id="{D6929BB0-F5D8-2626-F064-D034F24178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9650" y="4700609"/>
              <a:ext cx="442466" cy="407763"/>
            </a:xfrm>
            <a:prstGeom prst="rect">
              <a:avLst/>
            </a:prstGeom>
          </p:spPr>
        </p:pic>
        <p:pic>
          <p:nvPicPr>
            <p:cNvPr id="28" name="Graphic 27">
              <a:extLst>
                <a:ext uri="{FF2B5EF4-FFF2-40B4-BE49-F238E27FC236}">
                  <a16:creationId xmlns:a16="http://schemas.microsoft.com/office/drawing/2014/main" id="{D607008C-AC19-0C16-3CFB-6D5D014431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4999" y="5358309"/>
              <a:ext cx="472131" cy="436498"/>
            </a:xfrm>
            <a:prstGeom prst="rect">
              <a:avLst/>
            </a:prstGeom>
          </p:spPr>
        </p:pic>
      </p:grpSp>
      <p:grpSp>
        <p:nvGrpSpPr>
          <p:cNvPr id="34" name="Group 33">
            <a:extLst>
              <a:ext uri="{FF2B5EF4-FFF2-40B4-BE49-F238E27FC236}">
                <a16:creationId xmlns:a16="http://schemas.microsoft.com/office/drawing/2014/main" id="{A021FAD0-8F9D-6F51-333C-455B25141C53}"/>
              </a:ext>
            </a:extLst>
          </p:cNvPr>
          <p:cNvGrpSpPr/>
          <p:nvPr/>
        </p:nvGrpSpPr>
        <p:grpSpPr>
          <a:xfrm>
            <a:off x="6320867" y="3082068"/>
            <a:ext cx="4825192" cy="2926080"/>
            <a:chOff x="6712771" y="3307978"/>
            <a:chExt cx="4825192" cy="2926080"/>
          </a:xfrm>
        </p:grpSpPr>
        <p:sp>
          <p:nvSpPr>
            <p:cNvPr id="19" name="Rectangle 18">
              <a:extLst>
                <a:ext uri="{FF2B5EF4-FFF2-40B4-BE49-F238E27FC236}">
                  <a16:creationId xmlns:a16="http://schemas.microsoft.com/office/drawing/2014/main" id="{8C99BB82-FF87-4177-13A1-79A5BBAF6DB3}"/>
                </a:ext>
              </a:extLst>
            </p:cNvPr>
            <p:cNvSpPr/>
            <p:nvPr/>
          </p:nvSpPr>
          <p:spPr>
            <a:xfrm>
              <a:off x="6712771" y="3307978"/>
              <a:ext cx="4807323" cy="2926080"/>
            </a:xfrm>
            <a:prstGeom prst="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cxnSp>
          <p:nvCxnSpPr>
            <p:cNvPr id="20" name="Straight Arrow Connector 19">
              <a:extLst>
                <a:ext uri="{FF2B5EF4-FFF2-40B4-BE49-F238E27FC236}">
                  <a16:creationId xmlns:a16="http://schemas.microsoft.com/office/drawing/2014/main" id="{BBFD9606-33F6-CA72-D910-42B1F1BFB747}"/>
                </a:ext>
              </a:extLst>
            </p:cNvPr>
            <p:cNvCxnSpPr>
              <a:cxnSpLocks/>
            </p:cNvCxnSpPr>
            <p:nvPr/>
          </p:nvCxnSpPr>
          <p:spPr>
            <a:xfrm flipH="1" flipV="1">
              <a:off x="7919283" y="4018809"/>
              <a:ext cx="1445331" cy="931985"/>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438F79E7-E155-77D2-B17B-A9D861010F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56913" y="4762249"/>
              <a:ext cx="600049" cy="600049"/>
            </a:xfrm>
            <a:prstGeom prst="rect">
              <a:avLst/>
            </a:prstGeom>
          </p:spPr>
        </p:pic>
        <p:pic>
          <p:nvPicPr>
            <p:cNvPr id="7" name="Graphic 6">
              <a:extLst>
                <a:ext uri="{FF2B5EF4-FFF2-40B4-BE49-F238E27FC236}">
                  <a16:creationId xmlns:a16="http://schemas.microsoft.com/office/drawing/2014/main" id="{31B35FBE-E771-50C1-CC2E-11BAF505A3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65770" y="4769256"/>
              <a:ext cx="622029" cy="622029"/>
            </a:xfrm>
            <a:prstGeom prst="rect">
              <a:avLst/>
            </a:prstGeom>
          </p:spPr>
        </p:pic>
        <p:sp>
          <p:nvSpPr>
            <p:cNvPr id="10" name="TextBox 9">
              <a:extLst>
                <a:ext uri="{FF2B5EF4-FFF2-40B4-BE49-F238E27FC236}">
                  <a16:creationId xmlns:a16="http://schemas.microsoft.com/office/drawing/2014/main" id="{3F2901BF-1259-B0D8-2EF1-1DEB31CA51EC}"/>
                </a:ext>
              </a:extLst>
            </p:cNvPr>
            <p:cNvSpPr txBox="1"/>
            <p:nvPr/>
          </p:nvSpPr>
          <p:spPr>
            <a:xfrm>
              <a:off x="9151213" y="5505285"/>
              <a:ext cx="2124502" cy="1661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12121"/>
                  </a:solidFill>
                  <a:effectLst/>
                  <a:uLnTx/>
                  <a:uFillTx/>
                  <a:latin typeface="Lato"/>
                  <a:ea typeface="+mn-ea"/>
                  <a:cs typeface="+mn-cs"/>
                </a:rPr>
                <a:t>Wired/wireless infrastructure</a:t>
              </a:r>
            </a:p>
          </p:txBody>
        </p:sp>
        <p:sp>
          <p:nvSpPr>
            <p:cNvPr id="12" name="TextBox 11">
              <a:extLst>
                <a:ext uri="{FF2B5EF4-FFF2-40B4-BE49-F238E27FC236}">
                  <a16:creationId xmlns:a16="http://schemas.microsoft.com/office/drawing/2014/main" id="{C6AEB9F5-FAA3-1F26-D74C-B67EFA42488C}"/>
                </a:ext>
              </a:extLst>
            </p:cNvPr>
            <p:cNvSpPr txBox="1"/>
            <p:nvPr/>
          </p:nvSpPr>
          <p:spPr>
            <a:xfrm>
              <a:off x="10183664" y="5924776"/>
              <a:ext cx="1336431" cy="309282"/>
            </a:xfrm>
            <a:prstGeom prst="rect">
              <a:avLst/>
            </a:prstGeom>
            <a:noFill/>
            <a:ln w="28575">
              <a:solidFill>
                <a:schemeClr val="tx1">
                  <a:lumMod val="50000"/>
                  <a:lumOff val="50000"/>
                </a:schemeClr>
              </a:solidFill>
            </a:ln>
          </p:spPr>
          <p:txBody>
            <a:bodyPr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212121"/>
                  </a:solidFill>
                  <a:effectLst/>
                  <a:uLnTx/>
                  <a:uFillTx/>
                  <a:latin typeface="Lato"/>
                  <a:ea typeface="+mn-ea"/>
                  <a:cs typeface="+mn-cs"/>
                </a:rPr>
                <a:t>Critical Site</a:t>
              </a:r>
            </a:p>
          </p:txBody>
        </p:sp>
        <p:sp>
          <p:nvSpPr>
            <p:cNvPr id="13" name="TextBox 12">
              <a:extLst>
                <a:ext uri="{FF2B5EF4-FFF2-40B4-BE49-F238E27FC236}">
                  <a16:creationId xmlns:a16="http://schemas.microsoft.com/office/drawing/2014/main" id="{56EA5B8D-7896-22B7-7382-16C5AB9C7D60}"/>
                </a:ext>
              </a:extLst>
            </p:cNvPr>
            <p:cNvSpPr txBox="1"/>
            <p:nvPr/>
          </p:nvSpPr>
          <p:spPr>
            <a:xfrm rot="1815583">
              <a:off x="8238095" y="4345257"/>
              <a:ext cx="948877" cy="364713"/>
            </a:xfrm>
            <a:prstGeom prst="roundRect">
              <a:avLst>
                <a:gd name="adj" fmla="val 50000"/>
              </a:avLst>
            </a:prstGeom>
            <a:solidFill>
              <a:schemeClr val="accent1"/>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E"/>
                  </a:solidFill>
                  <a:effectLst/>
                  <a:uLnTx/>
                  <a:uFillTx/>
                  <a:latin typeface="Lato"/>
                  <a:ea typeface="+mn-ea"/>
                  <a:cs typeface="+mn-cs"/>
                </a:rPr>
                <a:t>RadSec</a:t>
              </a:r>
              <a:endParaRPr kumimoji="0" lang="en-US" sz="1400" b="0" i="0" u="none" strike="noStrike" kern="1200" cap="none" spc="0" normalizeH="0" baseline="0" noProof="0">
                <a:ln>
                  <a:noFill/>
                </a:ln>
                <a:solidFill>
                  <a:srgbClr val="FFFFFE"/>
                </a:solidFill>
                <a:effectLst/>
                <a:uLnTx/>
                <a:uFillTx/>
                <a:latin typeface="Lato"/>
                <a:ea typeface="+mn-ea"/>
                <a:cs typeface="+mn-cs"/>
              </a:endParaRPr>
            </a:p>
          </p:txBody>
        </p:sp>
        <p:sp>
          <p:nvSpPr>
            <p:cNvPr id="14" name="TextBox 13">
              <a:extLst>
                <a:ext uri="{FF2B5EF4-FFF2-40B4-BE49-F238E27FC236}">
                  <a16:creationId xmlns:a16="http://schemas.microsoft.com/office/drawing/2014/main" id="{A00930DF-08C8-FDF4-07AA-B5B3BC43D6A8}"/>
                </a:ext>
              </a:extLst>
            </p:cNvPr>
            <p:cNvSpPr txBox="1"/>
            <p:nvPr/>
          </p:nvSpPr>
          <p:spPr>
            <a:xfrm>
              <a:off x="6969365" y="4147688"/>
              <a:ext cx="10736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12121"/>
                  </a:solidFill>
                  <a:effectLst/>
                  <a:uLnTx/>
                  <a:uFillTx/>
                  <a:latin typeface="Lato"/>
                  <a:ea typeface="+mn-ea"/>
                  <a:cs typeface="+mn-cs"/>
                </a:rPr>
                <a:t>Mist Edge</a:t>
              </a:r>
            </a:p>
          </p:txBody>
        </p:sp>
        <p:pic>
          <p:nvPicPr>
            <p:cNvPr id="17" name="Graphic 16">
              <a:extLst>
                <a:ext uri="{FF2B5EF4-FFF2-40B4-BE49-F238E27FC236}">
                  <a16:creationId xmlns:a16="http://schemas.microsoft.com/office/drawing/2014/main" id="{58D55C8E-BD9D-14A4-ACED-7E869E7DE1A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88925" y="3631748"/>
              <a:ext cx="765526" cy="411326"/>
            </a:xfrm>
            <a:prstGeom prst="rect">
              <a:avLst/>
            </a:prstGeom>
          </p:spPr>
        </p:pic>
        <p:sp>
          <p:nvSpPr>
            <p:cNvPr id="18" name="TextBox 17">
              <a:extLst>
                <a:ext uri="{FF2B5EF4-FFF2-40B4-BE49-F238E27FC236}">
                  <a16:creationId xmlns:a16="http://schemas.microsoft.com/office/drawing/2014/main" id="{BBCB9F39-655E-90F7-CBF6-E0463FE50AA9}"/>
                </a:ext>
              </a:extLst>
            </p:cNvPr>
            <p:cNvSpPr txBox="1"/>
            <p:nvPr/>
          </p:nvSpPr>
          <p:spPr>
            <a:xfrm>
              <a:off x="7832503" y="3453037"/>
              <a:ext cx="930014" cy="363549"/>
            </a:xfrm>
            <a:prstGeom prst="rect">
              <a:avLst/>
            </a:prstGeom>
            <a:solidFill>
              <a:schemeClr val="accent4"/>
            </a:solidFill>
          </p:spPr>
          <p:txBody>
            <a:bodyPr wrap="square" lIns="45720" tIns="45720" rIns="45720" bIns="54864"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E"/>
                  </a:solidFill>
                  <a:effectLst/>
                  <a:uLnTx/>
                  <a:uFillTx/>
                  <a:latin typeface="Lato"/>
                  <a:ea typeface="+mn-ea"/>
                  <a:cs typeface="+mn-cs"/>
                </a:rPr>
                <a:t>Caching Auth Service</a:t>
              </a:r>
            </a:p>
          </p:txBody>
        </p:sp>
        <p:sp>
          <p:nvSpPr>
            <p:cNvPr id="29" name="Rectangle 28">
              <a:extLst>
                <a:ext uri="{FF2B5EF4-FFF2-40B4-BE49-F238E27FC236}">
                  <a16:creationId xmlns:a16="http://schemas.microsoft.com/office/drawing/2014/main" id="{B493DB6C-F793-2DDC-F0D2-5104F2EF9AEE}"/>
                </a:ext>
              </a:extLst>
            </p:cNvPr>
            <p:cNvSpPr/>
            <p:nvPr/>
          </p:nvSpPr>
          <p:spPr>
            <a:xfrm>
              <a:off x="9470651" y="3437874"/>
              <a:ext cx="2067312" cy="830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Z" sz="2400" b="0" i="0" u="none" strike="noStrike" kern="1200" cap="none" spc="0" normalizeH="0" baseline="0" noProof="0">
                  <a:ln>
                    <a:noFill/>
                  </a:ln>
                  <a:solidFill>
                    <a:srgbClr val="2D6A00"/>
                  </a:solidFill>
                  <a:effectLst/>
                  <a:uLnTx/>
                  <a:uFillTx/>
                  <a:latin typeface="Lato Black"/>
                  <a:ea typeface="+mn-ea"/>
                  <a:cs typeface="+mn-cs"/>
                </a:rPr>
                <a:t>Cloud </a:t>
              </a:r>
              <a:r>
                <a:rPr kumimoji="0" lang="en-US" sz="2400" b="0" i="0" u="none" strike="noStrike" kern="1200" cap="none" spc="0" normalizeH="0" baseline="0" noProof="0">
                  <a:ln>
                    <a:noFill/>
                  </a:ln>
                  <a:solidFill>
                    <a:srgbClr val="2D6A00"/>
                  </a:solidFill>
                  <a:effectLst/>
                  <a:uLnTx/>
                  <a:uFillTx/>
                  <a:latin typeface="Lato Black"/>
                  <a:ea typeface="+mn-ea"/>
                  <a:cs typeface="+mn-cs"/>
                </a:rPr>
                <a:t>Unreachable</a:t>
              </a:r>
              <a:endParaRPr kumimoji="0" lang="en-CZ" sz="2400" b="0" i="0" u="none" strike="noStrike" kern="1200" cap="none" spc="0" normalizeH="0" baseline="0" noProof="0">
                <a:ln>
                  <a:noFill/>
                </a:ln>
                <a:solidFill>
                  <a:srgbClr val="2D6A00"/>
                </a:solidFill>
                <a:effectLst/>
                <a:uLnTx/>
                <a:uFillTx/>
                <a:latin typeface="Lato Black"/>
                <a:ea typeface="+mn-ea"/>
                <a:cs typeface="+mn-cs"/>
              </a:endParaRPr>
            </a:p>
          </p:txBody>
        </p:sp>
      </p:grpSp>
      <p:sp>
        <p:nvSpPr>
          <p:cNvPr id="32" name="Content Placeholder 3">
            <a:extLst>
              <a:ext uri="{FF2B5EF4-FFF2-40B4-BE49-F238E27FC236}">
                <a16:creationId xmlns:a16="http://schemas.microsoft.com/office/drawing/2014/main" id="{83DD6AB5-2F2E-E578-FDD1-2E54991E359A}"/>
              </a:ext>
            </a:extLst>
          </p:cNvPr>
          <p:cNvSpPr txBox="1">
            <a:spLocks/>
          </p:cNvSpPr>
          <p:nvPr/>
        </p:nvSpPr>
        <p:spPr>
          <a:xfrm>
            <a:off x="756727" y="1389566"/>
            <a:ext cx="9874022" cy="1289392"/>
          </a:xfrm>
          <a:prstGeom prst="rect">
            <a:avLst/>
          </a:prstGeom>
        </p:spPr>
        <p:txBody>
          <a:bodyPr vert="horz" wrap="square" lIns="0" tIns="0" rIns="0" bIns="0" rtlCol="0" anchor="t">
            <a:spAutoFit/>
          </a:bodyPr>
          <a:lstStyle>
            <a:lvl1pPr marL="173038" indent="-173038" algn="l" defTabSz="914377" rtl="0" eaLnBrk="1" latinLnBrk="0" hangingPunct="1">
              <a:lnSpc>
                <a:spcPct val="110000"/>
              </a:lnSpc>
              <a:spcBef>
                <a:spcPts val="1600"/>
              </a:spcBef>
              <a:buFont typeface="Arial" panose="020B0604020202020204" pitchFamily="34" charset="0"/>
              <a:buChar char="•"/>
              <a:defRPr sz="1800" kern="1200">
                <a:solidFill>
                  <a:schemeClr val="tx1"/>
                </a:solidFill>
                <a:latin typeface="+mn-lt"/>
                <a:ea typeface="+mn-ea"/>
                <a:cs typeface="+mn-cs"/>
              </a:defRPr>
            </a:lvl1pPr>
            <a:lvl2pPr marL="574675" indent="-228600" algn="l" defTabSz="914377" rtl="0" eaLnBrk="1" latinLnBrk="0" hangingPunct="1">
              <a:lnSpc>
                <a:spcPct val="95000"/>
              </a:lnSpc>
              <a:spcBef>
                <a:spcPts val="500"/>
              </a:spcBef>
              <a:buFont typeface="Lato" panose="020F0502020204030203" pitchFamily="34" charset="0"/>
              <a:buChar char="–"/>
              <a:defRPr sz="1400" kern="1200">
                <a:solidFill>
                  <a:schemeClr val="tx1"/>
                </a:solidFill>
                <a:latin typeface="+mn-lt"/>
                <a:ea typeface="+mn-ea"/>
                <a:cs typeface="+mn-cs"/>
              </a:defRPr>
            </a:lvl2pPr>
            <a:lvl3pPr marL="914400" indent="-173038" algn="l" defTabSz="914377" rtl="0" eaLnBrk="1" latinLnBrk="0" hangingPunct="1">
              <a:lnSpc>
                <a:spcPct val="95000"/>
              </a:lnSpc>
              <a:spcBef>
                <a:spcPts val="500"/>
              </a:spcBef>
              <a:buFont typeface="Arial" panose="020B0604020202020204" pitchFamily="34" charset="0"/>
              <a:buChar char="•"/>
              <a:defRPr sz="1200" kern="1200">
                <a:solidFill>
                  <a:schemeClr val="tx1"/>
                </a:solidFill>
                <a:latin typeface="+mn-lt"/>
                <a:ea typeface="+mn-ea"/>
                <a:cs typeface="+mn-cs"/>
              </a:defRPr>
            </a:lvl3pPr>
            <a:lvl4pPr marL="1260475" indent="-195263"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4pPr>
            <a:lvl5pPr marL="1600200" indent="-171450" algn="l" defTabSz="914377" rtl="0" eaLnBrk="1" latinLnBrk="0" hangingPunct="1">
              <a:lnSpc>
                <a:spcPct val="95000"/>
              </a:lnSpc>
              <a:spcBef>
                <a:spcPts val="500"/>
              </a:spcBef>
              <a:buFont typeface="Lato" panose="020F0502020204030203"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2720" marR="0" lvl="0" indent="-172720" algn="l" defTabSz="914377" rtl="0" eaLnBrk="1" fontAlgn="auto" latinLnBrk="0" hangingPunct="1">
              <a:lnSpc>
                <a:spcPct val="110000"/>
              </a:lnSpc>
              <a:spcBef>
                <a:spcPts val="1600"/>
              </a:spcBef>
              <a:spcAft>
                <a:spcPts val="0"/>
              </a:spcAft>
              <a:buClrTx/>
              <a:buSzTx/>
              <a:buFont typeface="Arial" panose="020B0604020202020204" pitchFamily="34" charset="0"/>
              <a:buChar char="•"/>
              <a:tabLst/>
              <a:defRPr/>
            </a:pPr>
            <a:r>
              <a:rPr kumimoji="0" lang="en-CZ" sz="2200" b="0" i="0" u="none" strike="noStrike" kern="1200" cap="none" spc="0" normalizeH="0" baseline="0" noProof="0">
                <a:ln>
                  <a:noFill/>
                </a:ln>
                <a:solidFill>
                  <a:srgbClr val="212121"/>
                </a:solidFill>
                <a:effectLst/>
                <a:uLnTx/>
                <a:uFillTx/>
                <a:latin typeface="Lato"/>
                <a:ea typeface="+mn-ea"/>
                <a:cs typeface="+mn-cs"/>
              </a:rPr>
              <a:t>All previously known clients (regardless of the auth method) get authenticated and full policy gets applied (VLANs, GBP tags, Roles, </a:t>
            </a:r>
            <a:r>
              <a:rPr kumimoji="0" lang="en-CZ" sz="2200" b="0" i="0" u="none" strike="noStrike" kern="1200" cap="none" spc="0" normalizeH="0" baseline="0" noProof="0" err="1">
                <a:ln>
                  <a:noFill/>
                </a:ln>
                <a:solidFill>
                  <a:srgbClr val="212121"/>
                </a:solidFill>
                <a:effectLst/>
                <a:uLnTx/>
                <a:uFillTx/>
                <a:latin typeface="Lato"/>
                <a:ea typeface="+mn-ea"/>
                <a:cs typeface="+mn-cs"/>
              </a:rPr>
              <a:t>etc</a:t>
            </a:r>
            <a:r>
              <a:rPr kumimoji="0" lang="en-CZ" sz="2200" b="0" i="0" u="none" strike="noStrike" kern="1200" cap="none" spc="0" normalizeH="0" baseline="0" noProof="0">
                <a:ln>
                  <a:noFill/>
                </a:ln>
                <a:solidFill>
                  <a:srgbClr val="212121"/>
                </a:solidFill>
                <a:effectLst/>
                <a:uLnTx/>
                <a:uFillTx/>
                <a:latin typeface="Lato"/>
                <a:ea typeface="+mn-ea"/>
                <a:cs typeface="+mn-cs"/>
              </a:rPr>
              <a:t>)</a:t>
            </a:r>
            <a:endParaRPr kumimoji="0" lang="en-US" sz="2200" b="0" i="0" u="none" strike="noStrike" kern="1200" cap="none" spc="0" normalizeH="0" baseline="0" noProof="0">
              <a:ln>
                <a:noFill/>
              </a:ln>
              <a:solidFill>
                <a:srgbClr val="212121"/>
              </a:solidFill>
              <a:effectLst/>
              <a:uLnTx/>
              <a:uFillTx/>
              <a:latin typeface="Lato"/>
              <a:ea typeface="Lato"/>
              <a:cs typeface="Lato"/>
            </a:endParaRPr>
          </a:p>
          <a:p>
            <a:pPr marL="172720" marR="0" lvl="0" indent="-172720" algn="l" defTabSz="914377" rtl="0" eaLnBrk="1" fontAlgn="auto" latinLnBrk="0" hangingPunct="1">
              <a:lnSpc>
                <a:spcPct val="110000"/>
              </a:lnSpc>
              <a:spcBef>
                <a:spcPts val="1600"/>
              </a:spcBef>
              <a:spcAft>
                <a:spcPts val="0"/>
              </a:spcAft>
              <a:buClrTx/>
              <a:buSzTx/>
              <a:buFont typeface="Arial" panose="020B0604020202020204" pitchFamily="34" charset="0"/>
              <a:buChar char="•"/>
              <a:tabLst/>
              <a:defRPr/>
            </a:pPr>
            <a:r>
              <a:rPr kumimoji="0" lang="en-CZ" sz="2200" b="0" i="0" u="none" strike="noStrike" kern="1200" cap="none" spc="0" normalizeH="0" baseline="0" noProof="0">
                <a:ln>
                  <a:noFill/>
                </a:ln>
                <a:solidFill>
                  <a:srgbClr val="212121"/>
                </a:solidFill>
                <a:effectLst/>
                <a:uLnTx/>
                <a:uFillTx/>
                <a:latin typeface="Lato"/>
                <a:ea typeface="+mn-ea"/>
                <a:cs typeface="+mn-cs"/>
              </a:rPr>
              <a:t>New clients are authenticated and applied default critical service policy</a:t>
            </a:r>
            <a:endParaRPr kumimoji="0" lang="en-US" sz="2200" b="0" i="0" u="none" strike="noStrike" kern="1200" cap="none" spc="0" normalizeH="0" baseline="0" noProof="0">
              <a:ln>
                <a:noFill/>
              </a:ln>
              <a:solidFill>
                <a:srgbClr val="212121"/>
              </a:solidFill>
              <a:effectLst/>
              <a:uLnTx/>
              <a:uFillTx/>
              <a:latin typeface="Lato"/>
              <a:ea typeface="Lato"/>
              <a:cs typeface="Lato"/>
            </a:endParaRPr>
          </a:p>
        </p:txBody>
      </p:sp>
    </p:spTree>
    <p:extLst>
      <p:ext uri="{BB962C8B-B14F-4D97-AF65-F5344CB8AC3E}">
        <p14:creationId xmlns:p14="http://schemas.microsoft.com/office/powerpoint/2010/main" val="193347856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een lines in a black background&#10;&#10;Description automatically generated">
            <a:extLst>
              <a:ext uri="{FF2B5EF4-FFF2-40B4-BE49-F238E27FC236}">
                <a16:creationId xmlns:a16="http://schemas.microsoft.com/office/drawing/2014/main" id="{DADCD247-4FBA-CC34-519C-F1518030CDC2}"/>
              </a:ext>
            </a:extLst>
          </p:cNvPr>
          <p:cNvPicPr>
            <a:picLocks noChangeAspect="1"/>
          </p:cNvPicPr>
          <p:nvPr/>
        </p:nvPicPr>
        <p:blipFill>
          <a:blip r:embed="rId3"/>
          <a:stretch>
            <a:fillRect/>
          </a:stretch>
        </p:blipFill>
        <p:spPr>
          <a:xfrm>
            <a:off x="0" y="0"/>
            <a:ext cx="12192000" cy="6858000"/>
          </a:xfrm>
          <a:prstGeom prst="rect">
            <a:avLst/>
          </a:prstGeom>
        </p:spPr>
      </p:pic>
      <p:pic>
        <p:nvPicPr>
          <p:cNvPr id="27" name="Picture 26" descr="A white and green pie chart&#10;&#10;Description automatically generated">
            <a:extLst>
              <a:ext uri="{FF2B5EF4-FFF2-40B4-BE49-F238E27FC236}">
                <a16:creationId xmlns:a16="http://schemas.microsoft.com/office/drawing/2014/main" id="{F78E0779-0524-6F68-6963-227D30C34B9B}"/>
              </a:ext>
            </a:extLst>
          </p:cNvPr>
          <p:cNvPicPr>
            <a:picLocks noChangeAspect="1"/>
          </p:cNvPicPr>
          <p:nvPr/>
        </p:nvPicPr>
        <p:blipFill>
          <a:blip r:embed="rId4"/>
          <a:stretch>
            <a:fillRect/>
          </a:stretch>
        </p:blipFill>
        <p:spPr>
          <a:xfrm>
            <a:off x="0" y="9676"/>
            <a:ext cx="12192000" cy="6858000"/>
          </a:xfrm>
          <a:prstGeom prst="rect">
            <a:avLst/>
          </a:prstGeom>
        </p:spPr>
      </p:pic>
      <p:pic>
        <p:nvPicPr>
          <p:cNvPr id="2" name="Image 0" descr="preencoded.png"/>
          <p:cNvPicPr>
            <a:picLocks noChangeAspect="1"/>
          </p:cNvPicPr>
          <p:nvPr/>
        </p:nvPicPr>
        <p:blipFill>
          <a:blip r:embed="rId5"/>
          <a:srcRect/>
          <a:stretch/>
        </p:blipFill>
        <p:spPr>
          <a:xfrm>
            <a:off x="317500" y="6337300"/>
            <a:ext cx="685800" cy="247650"/>
          </a:xfrm>
          <a:prstGeom prst="rect">
            <a:avLst/>
          </a:prstGeom>
        </p:spPr>
      </p:pic>
      <p:sp>
        <p:nvSpPr>
          <p:cNvPr id="4" name="Text 10">
            <a:extLst>
              <a:ext uri="{FF2B5EF4-FFF2-40B4-BE49-F238E27FC236}">
                <a16:creationId xmlns:a16="http://schemas.microsoft.com/office/drawing/2014/main" id="{C5E8E853-0C90-0AD4-088C-E0AE2492801C}"/>
              </a:ext>
            </a:extLst>
          </p:cNvPr>
          <p:cNvSpPr/>
          <p:nvPr/>
        </p:nvSpPr>
        <p:spPr>
          <a:xfrm>
            <a:off x="9255093" y="4748134"/>
            <a:ext cx="535323" cy="184150"/>
          </a:xfrm>
          <a:prstGeom prst="rect">
            <a:avLst/>
          </a:prstGeom>
          <a:noFill/>
          <a:ln/>
        </p:spPr>
        <p:txBody>
          <a:bodyPr wrap="square" lIns="0" tIns="0" rIns="0" bIns="0" rtlCol="0" anchor="t"/>
          <a:lstStyle/>
          <a:p>
            <a:pPr marL="0" marR="0" lvl="0" indent="0" algn="l"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Core</a:t>
            </a:r>
          </a:p>
        </p:txBody>
      </p:sp>
      <p:sp>
        <p:nvSpPr>
          <p:cNvPr id="6" name="Text 11">
            <a:extLst>
              <a:ext uri="{FF2B5EF4-FFF2-40B4-BE49-F238E27FC236}">
                <a16:creationId xmlns:a16="http://schemas.microsoft.com/office/drawing/2014/main" id="{D3280C5F-9BF6-FDB5-2AA1-08C630C7AE7D}"/>
              </a:ext>
            </a:extLst>
          </p:cNvPr>
          <p:cNvSpPr/>
          <p:nvPr/>
        </p:nvSpPr>
        <p:spPr>
          <a:xfrm>
            <a:off x="9014138" y="5168922"/>
            <a:ext cx="468754" cy="184150"/>
          </a:xfrm>
          <a:prstGeom prst="rect">
            <a:avLst/>
          </a:prstGeom>
          <a:noFill/>
          <a:ln/>
        </p:spPr>
        <p:txBody>
          <a:bodyPr wrap="square" lIns="0" tIns="0" rIns="0" bIns="0" rtlCol="0" anchor="t"/>
          <a:lstStyle/>
          <a:p>
            <a:pPr marL="0" marR="0" lvl="0" indent="0" algn="l"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Edge</a:t>
            </a:r>
          </a:p>
        </p:txBody>
      </p:sp>
      <p:sp>
        <p:nvSpPr>
          <p:cNvPr id="7" name="Text 12">
            <a:extLst>
              <a:ext uri="{FF2B5EF4-FFF2-40B4-BE49-F238E27FC236}">
                <a16:creationId xmlns:a16="http://schemas.microsoft.com/office/drawing/2014/main" id="{DC33B07E-1955-F1E6-6CAF-EEC76367295D}"/>
              </a:ext>
            </a:extLst>
          </p:cNvPr>
          <p:cNvSpPr/>
          <p:nvPr/>
        </p:nvSpPr>
        <p:spPr>
          <a:xfrm>
            <a:off x="8582026" y="5564118"/>
            <a:ext cx="700775" cy="184150"/>
          </a:xfrm>
          <a:prstGeom prst="rect">
            <a:avLst/>
          </a:prstGeom>
          <a:noFill/>
          <a:ln/>
        </p:spPr>
        <p:txBody>
          <a:bodyPr wrap="square" lIns="0" tIns="0" rIns="0" bIns="0" rtlCol="0" anchor="t"/>
          <a:lstStyle/>
          <a:p>
            <a:pPr marL="0" marR="0" lvl="0" indent="0" algn="l"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Metro</a:t>
            </a:r>
          </a:p>
        </p:txBody>
      </p:sp>
      <p:sp>
        <p:nvSpPr>
          <p:cNvPr id="8" name="Text 13">
            <a:extLst>
              <a:ext uri="{FF2B5EF4-FFF2-40B4-BE49-F238E27FC236}">
                <a16:creationId xmlns:a16="http://schemas.microsoft.com/office/drawing/2014/main" id="{6E28662E-8C00-7B8B-EEB8-3C340B32F425}"/>
              </a:ext>
            </a:extLst>
          </p:cNvPr>
          <p:cNvSpPr/>
          <p:nvPr/>
        </p:nvSpPr>
        <p:spPr>
          <a:xfrm>
            <a:off x="7094462" y="6069078"/>
            <a:ext cx="1303607" cy="184150"/>
          </a:xfrm>
          <a:prstGeom prst="rect">
            <a:avLst/>
          </a:prstGeom>
          <a:noFill/>
          <a:ln/>
        </p:spPr>
        <p:txBody>
          <a:bodyPr wrap="square" lIns="0" tIns="0" rIns="0" bIns="0" rtlCol="0" anchor="t"/>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AI Data Center</a:t>
            </a:r>
          </a:p>
        </p:txBody>
      </p:sp>
      <p:sp>
        <p:nvSpPr>
          <p:cNvPr id="11" name="Text 15">
            <a:extLst>
              <a:ext uri="{FF2B5EF4-FFF2-40B4-BE49-F238E27FC236}">
                <a16:creationId xmlns:a16="http://schemas.microsoft.com/office/drawing/2014/main" id="{23BC886C-D29E-CA8C-82E1-B8EAE996AAFD}"/>
              </a:ext>
            </a:extLst>
          </p:cNvPr>
          <p:cNvSpPr/>
          <p:nvPr/>
        </p:nvSpPr>
        <p:spPr>
          <a:xfrm>
            <a:off x="3435661" y="6017613"/>
            <a:ext cx="1661883" cy="368300"/>
          </a:xfrm>
          <a:prstGeom prst="rect">
            <a:avLst/>
          </a:prstGeom>
          <a:noFill/>
          <a:ln/>
        </p:spPr>
        <p:txBody>
          <a:bodyPr wrap="square" lIns="0" tIns="0" rIns="0" bIns="0" rtlCol="0" anchor="t"/>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Automated Secure</a:t>
            </a:r>
            <a:b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b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Data Center</a:t>
            </a:r>
          </a:p>
        </p:txBody>
      </p:sp>
      <p:sp>
        <p:nvSpPr>
          <p:cNvPr id="12" name="Text 16">
            <a:extLst>
              <a:ext uri="{FF2B5EF4-FFF2-40B4-BE49-F238E27FC236}">
                <a16:creationId xmlns:a16="http://schemas.microsoft.com/office/drawing/2014/main" id="{8B0B67E4-9C4B-B579-0320-846C6EEDAB86}"/>
              </a:ext>
            </a:extLst>
          </p:cNvPr>
          <p:cNvSpPr/>
          <p:nvPr/>
        </p:nvSpPr>
        <p:spPr>
          <a:xfrm>
            <a:off x="715207" y="4273318"/>
            <a:ext cx="2057311" cy="153615"/>
          </a:xfrm>
          <a:prstGeom prst="rect">
            <a:avLst/>
          </a:prstGeom>
          <a:noFill/>
          <a:ln/>
        </p:spPr>
        <p:txBody>
          <a:bodyPr wrap="square" lIns="0" tIns="0" rIns="0" bIns="0" rtlCol="0" anchor="t"/>
          <a:lstStyle/>
          <a:p>
            <a:pPr marL="0" marR="0" lvl="0" indent="0" algn="r"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Wired Access</a:t>
            </a:r>
          </a:p>
        </p:txBody>
      </p:sp>
      <p:sp>
        <p:nvSpPr>
          <p:cNvPr id="13" name="Text 17">
            <a:extLst>
              <a:ext uri="{FF2B5EF4-FFF2-40B4-BE49-F238E27FC236}">
                <a16:creationId xmlns:a16="http://schemas.microsoft.com/office/drawing/2014/main" id="{69B57D41-CF09-CDAF-86C7-1629215E37AB}"/>
              </a:ext>
            </a:extLst>
          </p:cNvPr>
          <p:cNvSpPr/>
          <p:nvPr/>
        </p:nvSpPr>
        <p:spPr>
          <a:xfrm>
            <a:off x="802170" y="4740615"/>
            <a:ext cx="2057311" cy="139181"/>
          </a:xfrm>
          <a:prstGeom prst="rect">
            <a:avLst/>
          </a:prstGeom>
          <a:noFill/>
          <a:ln/>
        </p:spPr>
        <p:txBody>
          <a:bodyPr wrap="square" lIns="0" tIns="0" rIns="0" bIns="0" rtlCol="0" anchor="t"/>
          <a:lstStyle/>
          <a:p>
            <a:pPr marL="0" marR="0" lvl="0" indent="0" algn="r"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Wireless Access</a:t>
            </a:r>
          </a:p>
        </p:txBody>
      </p:sp>
      <p:sp>
        <p:nvSpPr>
          <p:cNvPr id="14" name="Text 18">
            <a:extLst>
              <a:ext uri="{FF2B5EF4-FFF2-40B4-BE49-F238E27FC236}">
                <a16:creationId xmlns:a16="http://schemas.microsoft.com/office/drawing/2014/main" id="{1A1AD8BD-5C01-C524-5BD8-C390C20AF7BF}"/>
              </a:ext>
            </a:extLst>
          </p:cNvPr>
          <p:cNvSpPr/>
          <p:nvPr/>
        </p:nvSpPr>
        <p:spPr>
          <a:xfrm>
            <a:off x="900107" y="5168922"/>
            <a:ext cx="2246371" cy="175169"/>
          </a:xfrm>
          <a:prstGeom prst="rect">
            <a:avLst/>
          </a:prstGeom>
          <a:noFill/>
          <a:ln/>
        </p:spPr>
        <p:txBody>
          <a:bodyPr wrap="square" lIns="0" tIns="0" rIns="0" bIns="0" rtlCol="0" anchor="t"/>
          <a:lstStyle/>
          <a:p>
            <a:pPr marL="0" marR="0" lvl="0" indent="0" algn="r"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Location Services</a:t>
            </a:r>
          </a:p>
        </p:txBody>
      </p:sp>
      <p:sp>
        <p:nvSpPr>
          <p:cNvPr id="15" name="Text 19">
            <a:extLst>
              <a:ext uri="{FF2B5EF4-FFF2-40B4-BE49-F238E27FC236}">
                <a16:creationId xmlns:a16="http://schemas.microsoft.com/office/drawing/2014/main" id="{6A34B02E-6491-4AAF-3FCD-325B2AC16444}"/>
              </a:ext>
            </a:extLst>
          </p:cNvPr>
          <p:cNvSpPr/>
          <p:nvPr/>
        </p:nvSpPr>
        <p:spPr>
          <a:xfrm>
            <a:off x="722960" y="5564118"/>
            <a:ext cx="2779165" cy="184150"/>
          </a:xfrm>
          <a:prstGeom prst="rect">
            <a:avLst/>
          </a:prstGeom>
          <a:noFill/>
          <a:ln/>
        </p:spPr>
        <p:txBody>
          <a:bodyPr wrap="square" lIns="0" tIns="0" rIns="0" bIns="0" rtlCol="0" anchor="t"/>
          <a:lstStyle/>
          <a:p>
            <a:pPr marL="0" marR="0" lvl="0" indent="0" algn="r"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Secure Branch Access</a:t>
            </a:r>
          </a:p>
        </p:txBody>
      </p:sp>
      <p:sp>
        <p:nvSpPr>
          <p:cNvPr id="17" name="TextBox 16">
            <a:extLst>
              <a:ext uri="{FF2B5EF4-FFF2-40B4-BE49-F238E27FC236}">
                <a16:creationId xmlns:a16="http://schemas.microsoft.com/office/drawing/2014/main" id="{17A55DDD-1082-6F92-3C55-73030E9ADEA2}"/>
              </a:ext>
            </a:extLst>
          </p:cNvPr>
          <p:cNvSpPr txBox="1"/>
          <p:nvPr/>
        </p:nvSpPr>
        <p:spPr>
          <a:xfrm>
            <a:off x="5459886" y="1532284"/>
            <a:ext cx="1272226" cy="461665"/>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D6A00"/>
                </a:solidFill>
                <a:effectLst/>
                <a:uLnTx/>
                <a:uFillTx/>
                <a:latin typeface="Lato Black" panose="020F0502020204030203" pitchFamily="34" charset="0"/>
                <a:ea typeface="Lato Black" panose="020F0502020204030203" pitchFamily="34" charset="0"/>
                <a:cs typeface="Lato Black" panose="020F0502020204030203" pitchFamily="34" charset="0"/>
              </a:rPr>
              <a:t>EXPERIENCE–</a:t>
            </a:r>
            <a:br>
              <a:rPr kumimoji="0" lang="en-US" sz="1200" b="1" i="0" u="none" strike="noStrike" kern="1200" cap="none" spc="0" normalizeH="0" baseline="0" noProof="0">
                <a:ln>
                  <a:noFill/>
                </a:ln>
                <a:solidFill>
                  <a:srgbClr val="2D6A00"/>
                </a:solidFill>
                <a:effectLst/>
                <a:uLnTx/>
                <a:uFillTx/>
                <a:latin typeface="Lato Black" panose="020F0502020204030203" pitchFamily="34" charset="0"/>
                <a:ea typeface="Lato Black" panose="020F0502020204030203" pitchFamily="34" charset="0"/>
                <a:cs typeface="Lato Black" panose="020F0502020204030203" pitchFamily="34" charset="0"/>
              </a:rPr>
            </a:br>
            <a:r>
              <a:rPr kumimoji="0" lang="en-US" sz="1200" b="1" i="0" u="none" strike="noStrike" kern="1200" cap="none" spc="0" normalizeH="0" baseline="0" noProof="0">
                <a:ln>
                  <a:noFill/>
                </a:ln>
                <a:solidFill>
                  <a:srgbClr val="2D6A00"/>
                </a:solidFill>
                <a:effectLst/>
                <a:uLnTx/>
                <a:uFillTx/>
                <a:latin typeface="Lato Black" panose="020F0502020204030203" pitchFamily="34" charset="0"/>
                <a:ea typeface="Lato Black" panose="020F0502020204030203" pitchFamily="34" charset="0"/>
                <a:cs typeface="Lato Black" panose="020F0502020204030203" pitchFamily="34" charset="0"/>
              </a:rPr>
              <a:t>FIRST</a:t>
            </a:r>
          </a:p>
        </p:txBody>
      </p:sp>
      <p:sp>
        <p:nvSpPr>
          <p:cNvPr id="43" name="Text 0">
            <a:extLst>
              <a:ext uri="{FF2B5EF4-FFF2-40B4-BE49-F238E27FC236}">
                <a16:creationId xmlns:a16="http://schemas.microsoft.com/office/drawing/2014/main" id="{5F1FD429-1B8C-8C4E-07FA-2EE32D543BCF}"/>
              </a:ext>
            </a:extLst>
          </p:cNvPr>
          <p:cNvSpPr/>
          <p:nvPr/>
        </p:nvSpPr>
        <p:spPr>
          <a:xfrm>
            <a:off x="4040892" y="3848204"/>
            <a:ext cx="1394321" cy="609144"/>
          </a:xfrm>
          <a:prstGeom prst="rect">
            <a:avLst/>
          </a:prstGeom>
          <a:noFill/>
          <a:ln/>
        </p:spPr>
        <p:txBody>
          <a:bodyPr wrap="square" lIns="0" tIns="0" rIns="0" bIns="0" rtlCol="0" anchor="ctr"/>
          <a:lstStyle/>
          <a:p>
            <a:pPr marL="0" marR="0" lvl="0" indent="0" algn="ctr" defTabSz="609630" rtl="0" eaLnBrk="1" fontAlgn="auto" latinLnBrk="0" hangingPunct="1">
              <a:lnSpc>
                <a:spcPct val="100000"/>
              </a:lnSpc>
              <a:spcBef>
                <a:spcPts val="0"/>
              </a:spcBef>
              <a:spcAft>
                <a:spcPts val="1601"/>
              </a:spcAft>
              <a:buClrTx/>
              <a:buSzTx/>
              <a:buFontTx/>
              <a:buNone/>
              <a:tabLst/>
              <a:defRPr/>
            </a:pP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TRANSFORM </a:t>
            </a:r>
            <a:br>
              <a:rPr kumimoji="0" sz="1067"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NEXT-GEN CAMPUS AND BRANCH</a:t>
            </a:r>
            <a:endParaRPr kumimoji="0" lang="en-US" sz="106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Text 1">
            <a:extLst>
              <a:ext uri="{FF2B5EF4-FFF2-40B4-BE49-F238E27FC236}">
                <a16:creationId xmlns:a16="http://schemas.microsoft.com/office/drawing/2014/main" id="{A294A528-88EF-E45A-4831-7AC411A1B706}"/>
              </a:ext>
            </a:extLst>
          </p:cNvPr>
          <p:cNvSpPr/>
          <p:nvPr/>
        </p:nvSpPr>
        <p:spPr>
          <a:xfrm>
            <a:off x="6677509" y="3842587"/>
            <a:ext cx="1448995" cy="620384"/>
          </a:xfrm>
          <a:prstGeom prst="rect">
            <a:avLst/>
          </a:prstGeom>
          <a:noFill/>
          <a:ln/>
        </p:spPr>
        <p:txBody>
          <a:bodyPr wrap="square" lIns="0" tIns="0" rIns="0" bIns="0" rtlCol="0" anchor="ctr"/>
          <a:lstStyle/>
          <a:p>
            <a:pPr marL="0" marR="0" lvl="0" indent="0" algn="ctr" defTabSz="609630" rtl="0" eaLnBrk="1" fontAlgn="auto" latinLnBrk="0" hangingPunct="1">
              <a:lnSpc>
                <a:spcPct val="100000"/>
              </a:lnSpc>
              <a:spcBef>
                <a:spcPts val="0"/>
              </a:spcBef>
              <a:spcAft>
                <a:spcPts val="1601"/>
              </a:spcAft>
              <a:buClrTx/>
              <a:buSzTx/>
              <a:buFontTx/>
              <a:buNone/>
              <a:tabLst/>
              <a:defRPr/>
            </a:pP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SCALE </a:t>
            </a:r>
            <a:br>
              <a:rPr kumimoji="0" sz="1067"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AUTOMATED</a:t>
            </a:r>
            <a:br>
              <a:rPr kumimoji="0" sz="1067"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WAN</a:t>
            </a:r>
            <a:endParaRPr kumimoji="0" lang="en-US" sz="106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Text 2">
            <a:extLst>
              <a:ext uri="{FF2B5EF4-FFF2-40B4-BE49-F238E27FC236}">
                <a16:creationId xmlns:a16="http://schemas.microsoft.com/office/drawing/2014/main" id="{2A3982C9-9E17-F511-FF64-3DD2A428BE73}"/>
              </a:ext>
            </a:extLst>
          </p:cNvPr>
          <p:cNvSpPr/>
          <p:nvPr/>
        </p:nvSpPr>
        <p:spPr>
          <a:xfrm>
            <a:off x="5307108" y="4646447"/>
            <a:ext cx="1546401" cy="590028"/>
          </a:xfrm>
          <a:prstGeom prst="rect">
            <a:avLst/>
          </a:prstGeom>
          <a:noFill/>
          <a:ln/>
        </p:spPr>
        <p:txBody>
          <a:bodyPr wrap="square" lIns="0" tIns="0" rIns="0" bIns="0" rtlCol="0" anchor="ctr"/>
          <a:lstStyle/>
          <a:p>
            <a:pPr marL="0" marR="0" lvl="0" indent="0" algn="ctr" defTabSz="609630" rtl="0" eaLnBrk="1" fontAlgn="auto" latinLnBrk="0" hangingPunct="1">
              <a:lnSpc>
                <a:spcPct val="100000"/>
              </a:lnSpc>
              <a:spcBef>
                <a:spcPts val="0"/>
              </a:spcBef>
              <a:spcAft>
                <a:spcPts val="1601"/>
              </a:spcAft>
              <a:buClrTx/>
              <a:buSzTx/>
              <a:buFontTx/>
              <a:buNone/>
              <a:tabLst/>
              <a:defRPr/>
            </a:pP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MODERNIZE </a:t>
            </a:r>
            <a:br>
              <a:rPr kumimoji="0" sz="1067"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67" b="0" i="0" u="none" strike="noStrike" kern="1200" cap="none" spc="0" normalizeH="0" baseline="0" noProof="0">
                <a:ln>
                  <a:noFill/>
                </a:ln>
                <a:solidFill>
                  <a:srgbClr val="2D6A00"/>
                </a:solidFill>
                <a:effectLst/>
                <a:uLnTx/>
                <a:uFillTx/>
                <a:latin typeface="Lato Black" pitchFamily="34" charset="0"/>
                <a:ea typeface="Lato Black" pitchFamily="34" charset="-122"/>
                <a:cs typeface="Lato Black" pitchFamily="34" charset="-120"/>
              </a:rPr>
              <a:t>DATA CENTER</a:t>
            </a:r>
            <a:endParaRPr kumimoji="0" lang="en-US" sz="1067"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 name="Straight Connector 2">
            <a:extLst>
              <a:ext uri="{FF2B5EF4-FFF2-40B4-BE49-F238E27FC236}">
                <a16:creationId xmlns:a16="http://schemas.microsoft.com/office/drawing/2014/main" id="{E0B7D306-7BAD-2D5C-711D-521480A9D27D}"/>
              </a:ext>
            </a:extLst>
          </p:cNvPr>
          <p:cNvCxnSpPr>
            <a:cxnSpLocks/>
          </p:cNvCxnSpPr>
          <p:nvPr/>
        </p:nvCxnSpPr>
        <p:spPr>
          <a:xfrm flipH="1">
            <a:off x="8350250" y="3556575"/>
            <a:ext cx="463550" cy="0"/>
          </a:xfrm>
          <a:prstGeom prst="line">
            <a:avLst/>
          </a:prstGeom>
          <a:ln w="38100">
            <a:solidFill>
              <a:srgbClr val="83B135"/>
            </a:solidFill>
            <a:prstDash val="sysDot"/>
            <a:head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8031F27-6010-6591-A6C3-092F5E54D3AA}"/>
              </a:ext>
            </a:extLst>
          </p:cNvPr>
          <p:cNvCxnSpPr>
            <a:cxnSpLocks/>
          </p:cNvCxnSpPr>
          <p:nvPr/>
        </p:nvCxnSpPr>
        <p:spPr>
          <a:xfrm flipH="1">
            <a:off x="3382346" y="3552443"/>
            <a:ext cx="443530" cy="0"/>
          </a:xfrm>
          <a:prstGeom prst="line">
            <a:avLst/>
          </a:prstGeom>
          <a:ln w="38100">
            <a:solidFill>
              <a:srgbClr val="83B135"/>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C216CF0-65F3-153C-E11F-0DEC1C5AA5F9}"/>
              </a:ext>
            </a:extLst>
          </p:cNvPr>
          <p:cNvSpPr txBox="1"/>
          <p:nvPr/>
        </p:nvSpPr>
        <p:spPr>
          <a:xfrm>
            <a:off x="2035926" y="3388155"/>
            <a:ext cx="1336675" cy="338554"/>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CLIENTS</a:t>
            </a:r>
          </a:p>
        </p:txBody>
      </p:sp>
      <p:sp>
        <p:nvSpPr>
          <p:cNvPr id="22" name="TextBox 21">
            <a:extLst>
              <a:ext uri="{FF2B5EF4-FFF2-40B4-BE49-F238E27FC236}">
                <a16:creationId xmlns:a16="http://schemas.microsoft.com/office/drawing/2014/main" id="{269921EB-2B78-4B02-170F-FC065E2AF9FE}"/>
              </a:ext>
            </a:extLst>
          </p:cNvPr>
          <p:cNvSpPr txBox="1"/>
          <p:nvPr/>
        </p:nvSpPr>
        <p:spPr>
          <a:xfrm>
            <a:off x="8780375" y="3388155"/>
            <a:ext cx="1336675" cy="338554"/>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CLOUDS</a:t>
            </a:r>
          </a:p>
        </p:txBody>
      </p:sp>
      <p:cxnSp>
        <p:nvCxnSpPr>
          <p:cNvPr id="24" name="Straight Connector 23">
            <a:extLst>
              <a:ext uri="{FF2B5EF4-FFF2-40B4-BE49-F238E27FC236}">
                <a16:creationId xmlns:a16="http://schemas.microsoft.com/office/drawing/2014/main" id="{05EFCFC8-6BF8-FAE5-A18D-18344BD9487B}"/>
              </a:ext>
            </a:extLst>
          </p:cNvPr>
          <p:cNvCxnSpPr>
            <a:cxnSpLocks/>
          </p:cNvCxnSpPr>
          <p:nvPr/>
        </p:nvCxnSpPr>
        <p:spPr>
          <a:xfrm flipH="1">
            <a:off x="3848279" y="3552443"/>
            <a:ext cx="1520816" cy="0"/>
          </a:xfrm>
          <a:prstGeom prst="line">
            <a:avLst/>
          </a:prstGeom>
          <a:ln w="38100">
            <a:solidFill>
              <a:srgbClr val="2D6A00"/>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D0BB462-EE00-090D-7AD1-2E29136CD349}"/>
              </a:ext>
            </a:extLst>
          </p:cNvPr>
          <p:cNvCxnSpPr>
            <a:cxnSpLocks/>
          </p:cNvCxnSpPr>
          <p:nvPr/>
        </p:nvCxnSpPr>
        <p:spPr>
          <a:xfrm flipH="1">
            <a:off x="6822905" y="3552443"/>
            <a:ext cx="1527347" cy="0"/>
          </a:xfrm>
          <a:prstGeom prst="line">
            <a:avLst/>
          </a:prstGeom>
          <a:ln w="38100">
            <a:solidFill>
              <a:srgbClr val="2D6A00"/>
            </a:solidFill>
            <a:prstDash val="sysDot"/>
          </a:ln>
        </p:spPr>
        <p:style>
          <a:lnRef idx="1">
            <a:schemeClr val="accent1"/>
          </a:lnRef>
          <a:fillRef idx="0">
            <a:schemeClr val="accent1"/>
          </a:fillRef>
          <a:effectRef idx="0">
            <a:schemeClr val="accent1"/>
          </a:effectRef>
          <a:fontRef idx="minor">
            <a:schemeClr val="tx1"/>
          </a:fontRef>
        </p:style>
      </p:cxnSp>
      <p:sp>
        <p:nvSpPr>
          <p:cNvPr id="32" name="Text 12">
            <a:extLst>
              <a:ext uri="{FF2B5EF4-FFF2-40B4-BE49-F238E27FC236}">
                <a16:creationId xmlns:a16="http://schemas.microsoft.com/office/drawing/2014/main" id="{8EC7BED3-DEF0-AB29-D444-7FDEA8CA4E28}"/>
              </a:ext>
            </a:extLst>
          </p:cNvPr>
          <p:cNvSpPr/>
          <p:nvPr/>
        </p:nvSpPr>
        <p:spPr>
          <a:xfrm>
            <a:off x="9428945" y="4206230"/>
            <a:ext cx="1460615" cy="338553"/>
          </a:xfrm>
          <a:prstGeom prst="rect">
            <a:avLst/>
          </a:prstGeom>
          <a:noFill/>
          <a:ln/>
        </p:spPr>
        <p:txBody>
          <a:bodyPr wrap="square" lIns="0" tIns="0" rIns="0" bIns="0" rtlCol="0" anchor="t"/>
          <a:lstStyle/>
          <a:p>
            <a:pPr marL="0" marR="0" lvl="0" indent="0" algn="l" defTabSz="609630" rtl="0" eaLnBrk="1" fontAlgn="auto" latinLnBrk="0" hangingPunct="1">
              <a:lnSpc>
                <a:spcPts val="144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Enterprise</a:t>
            </a:r>
            <a:b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br>
            <a:r>
              <a:rPr kumimoji="0" lang="en-US" sz="1333"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Routing</a:t>
            </a:r>
          </a:p>
        </p:txBody>
      </p:sp>
      <p:sp>
        <p:nvSpPr>
          <p:cNvPr id="10" name="TextBox 9">
            <a:extLst>
              <a:ext uri="{FF2B5EF4-FFF2-40B4-BE49-F238E27FC236}">
                <a16:creationId xmlns:a16="http://schemas.microsoft.com/office/drawing/2014/main" id="{5AA29BB9-B07C-FD56-DA01-78B8AEC2F3A8}"/>
              </a:ext>
            </a:extLst>
          </p:cNvPr>
          <p:cNvSpPr txBox="1"/>
          <p:nvPr/>
        </p:nvSpPr>
        <p:spPr>
          <a:xfrm>
            <a:off x="4714328" y="3433447"/>
            <a:ext cx="2763340" cy="276999"/>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D6A00"/>
                </a:solidFill>
                <a:effectLst/>
                <a:uLnTx/>
                <a:uFillTx/>
                <a:latin typeface="Lato Black" panose="020F0502020204030203" pitchFamily="34" charset="0"/>
                <a:ea typeface="Lato Black" panose="020F0502020204030203" pitchFamily="34" charset="0"/>
                <a:cs typeface="Lato Black" panose="020F0502020204030203" pitchFamily="34" charset="0"/>
              </a:rPr>
              <a:t>COMMON CLOUD</a:t>
            </a:r>
          </a:p>
        </p:txBody>
      </p:sp>
      <p:sp>
        <p:nvSpPr>
          <p:cNvPr id="19" name="TextBox 18">
            <a:extLst>
              <a:ext uri="{FF2B5EF4-FFF2-40B4-BE49-F238E27FC236}">
                <a16:creationId xmlns:a16="http://schemas.microsoft.com/office/drawing/2014/main" id="{2B7C99E8-2F71-E8B3-CC31-70695EF6CBE6}"/>
              </a:ext>
            </a:extLst>
          </p:cNvPr>
          <p:cNvSpPr txBox="1"/>
          <p:nvPr/>
        </p:nvSpPr>
        <p:spPr>
          <a:xfrm>
            <a:off x="5209165" y="2631926"/>
            <a:ext cx="1800961" cy="646331"/>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2D6A00"/>
                </a:solidFill>
                <a:effectLst/>
                <a:uLnTx/>
                <a:uFillTx/>
                <a:latin typeface="Lato Black" panose="020F0502020204030203" pitchFamily="34" charset="0"/>
                <a:ea typeface="Lato Black" panose="020F0502020204030203" pitchFamily="34" charset="0"/>
                <a:cs typeface="Lato Black" panose="020F0502020204030203" pitchFamily="34" charset="0"/>
              </a:rPr>
              <a:t>AIOPS</a:t>
            </a:r>
          </a:p>
        </p:txBody>
      </p:sp>
      <p:sp>
        <p:nvSpPr>
          <p:cNvPr id="18" name="Text 0">
            <a:extLst>
              <a:ext uri="{FF2B5EF4-FFF2-40B4-BE49-F238E27FC236}">
                <a16:creationId xmlns:a16="http://schemas.microsoft.com/office/drawing/2014/main" id="{F11A5FE0-5E12-7066-6F47-0775B04CAC3A}"/>
              </a:ext>
            </a:extLst>
          </p:cNvPr>
          <p:cNvSpPr/>
          <p:nvPr/>
        </p:nvSpPr>
        <p:spPr>
          <a:xfrm>
            <a:off x="1" y="552570"/>
            <a:ext cx="12191999" cy="457200"/>
          </a:xfrm>
          <a:prstGeom prst="rect">
            <a:avLst/>
          </a:prstGeom>
          <a:noFill/>
          <a:ln/>
        </p:spPr>
        <p:txBody>
          <a:bodyPr wrap="square" lIns="0" tIns="0" rIns="0" bIns="0" rtlCol="0" anchor="t"/>
          <a:lstStyle/>
          <a:p>
            <a:pPr marL="0" marR="0" lvl="0" indent="0" algn="ctr" defTabSz="914492" rtl="0" eaLnBrk="1" fontAlgn="auto" latinLnBrk="0" hangingPunct="1">
              <a:lnSpc>
                <a:spcPts val="29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Interoperable, extensible, and secure from client to cloud</a:t>
            </a:r>
          </a:p>
        </p:txBody>
      </p:sp>
      <p:sp>
        <p:nvSpPr>
          <p:cNvPr id="23" name="Text 2">
            <a:extLst>
              <a:ext uri="{FF2B5EF4-FFF2-40B4-BE49-F238E27FC236}">
                <a16:creationId xmlns:a16="http://schemas.microsoft.com/office/drawing/2014/main" id="{DC2C847C-B089-6847-86FE-99DAA919F325}"/>
              </a:ext>
            </a:extLst>
          </p:cNvPr>
          <p:cNvSpPr/>
          <p:nvPr/>
        </p:nvSpPr>
        <p:spPr>
          <a:xfrm>
            <a:off x="3435659" y="144712"/>
            <a:ext cx="5238750" cy="457200"/>
          </a:xfrm>
          <a:prstGeom prst="rect">
            <a:avLst/>
          </a:prstGeom>
          <a:noFill/>
          <a:ln/>
        </p:spPr>
        <p:txBody>
          <a:bodyPr wrap="square" lIns="0" tIns="0" rIns="0" bIns="0" rtlCol="0" anchor="ctr"/>
          <a:lstStyle/>
          <a:p>
            <a:pPr marL="0" marR="0" lvl="0" indent="0" algn="ctr" defTabSz="609630" rtl="0" eaLnBrk="1" fontAlgn="auto" latinLnBrk="0" hangingPunct="1">
              <a:lnSpc>
                <a:spcPts val="2150"/>
              </a:lnSpc>
              <a:spcBef>
                <a:spcPts val="0"/>
              </a:spcBef>
              <a:spcAft>
                <a:spcPts val="1601"/>
              </a:spcAft>
              <a:buClrTx/>
              <a:buSzTx/>
              <a:buFontTx/>
              <a:buNone/>
              <a:tabLst/>
              <a:defRPr/>
            </a:pPr>
            <a:r>
              <a:rPr kumimoji="0" lang="en-US" sz="1800" b="0" i="0" u="none" strike="noStrike" kern="0" cap="none" spc="90" normalizeH="0" baseline="0" noProof="0">
                <a:ln>
                  <a:noFill/>
                </a:ln>
                <a:solidFill>
                  <a:srgbClr val="9CCC4B"/>
                </a:solidFill>
                <a:effectLst/>
                <a:uLnTx/>
                <a:uFillTx/>
                <a:latin typeface="Lato Black" pitchFamily="34" charset="0"/>
                <a:ea typeface="Lato Black" pitchFamily="34" charset="-122"/>
                <a:cs typeface="Lato Black" pitchFamily="34" charset="-120"/>
              </a:rPr>
              <a:t>AI-NATIVE NETWORKING PLATFORM</a:t>
            </a:r>
            <a:endParaRPr kumimoji="0" lang="en-US" sz="1800" b="0" i="0" u="none" strike="noStrike" kern="1200" cap="none" spc="0" normalizeH="0" baseline="0" noProof="0">
              <a:ln>
                <a:noFill/>
              </a:ln>
              <a:solidFill>
                <a:srgbClr val="9CCC4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48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rcRect/>
          <a:stretch/>
        </p:blipFill>
        <p:spPr>
          <a:xfrm>
            <a:off x="317500" y="6337300"/>
            <a:ext cx="685800" cy="247650"/>
          </a:xfrm>
          <a:prstGeom prst="rect">
            <a:avLst/>
          </a:prstGeom>
        </p:spPr>
      </p:pic>
      <p:sp>
        <p:nvSpPr>
          <p:cNvPr id="3" name="Text 0"/>
          <p:cNvSpPr/>
          <p:nvPr/>
        </p:nvSpPr>
        <p:spPr>
          <a:xfrm>
            <a:off x="965200" y="3200400"/>
            <a:ext cx="10255250" cy="457200"/>
          </a:xfrm>
          <a:prstGeom prst="rect">
            <a:avLst/>
          </a:prstGeom>
          <a:noFill/>
          <a:ln/>
        </p:spPr>
        <p:txBody>
          <a:bodyPr wrap="square" lIns="0" tIns="0" rIns="0" bIns="0" rtlCol="0" anchor="t"/>
          <a:lstStyle/>
          <a:p>
            <a:pPr marL="0" marR="0" lvl="0" indent="0" algn="ctr" defTabSz="609630" rtl="0" eaLnBrk="1" fontAlgn="auto" latinLnBrk="0" hangingPunct="1">
              <a:lnSpc>
                <a:spcPts val="36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Lato Black" panose="020F0502020204030203" pitchFamily="34" charset="0"/>
                <a:ea typeface="Lato Black" panose="020F0502020204030203" pitchFamily="34" charset="0"/>
                <a:cs typeface="Lato Black" panose="020F0502020204030203" pitchFamily="34" charset="0"/>
              </a:rPr>
              <a:t>AI Stories in </a:t>
            </a:r>
            <a:r>
              <a:rPr kumimoji="0" lang="en-US" sz="3000" b="1" i="0" u="none" strike="noStrike" kern="1200" cap="none" spc="0" normalizeH="0" baseline="0" noProof="0" dirty="0">
                <a:ln>
                  <a:noFill/>
                </a:ln>
                <a:solidFill>
                  <a:srgbClr val="70AD47"/>
                </a:solidFill>
                <a:effectLst/>
                <a:uLnTx/>
                <a:uFillTx/>
                <a:latin typeface="Lato Black" panose="020F0502020204030203" pitchFamily="34" charset="0"/>
                <a:ea typeface="Lato Black" panose="020F0502020204030203" pitchFamily="34" charset="0"/>
                <a:cs typeface="Lato Black" panose="020F0502020204030203" pitchFamily="34" charset="0"/>
              </a:rPr>
              <a:t>Higher</a:t>
            </a:r>
            <a:r>
              <a:rPr kumimoji="0" lang="en-US" sz="3000" b="1" i="0" u="none" strike="noStrike" kern="1200" cap="none" spc="0" normalizeH="0" baseline="0" noProof="0" dirty="0">
                <a:ln>
                  <a:noFill/>
                </a:ln>
                <a:solidFill>
                  <a:srgbClr val="FFFFFF"/>
                </a:solidFill>
                <a:effectLst/>
                <a:uLnTx/>
                <a:uFillTx/>
                <a:latin typeface="Lato Black" panose="020F0502020204030203" pitchFamily="34" charset="0"/>
                <a:ea typeface="Lato Black" panose="020F0502020204030203" pitchFamily="34" charset="0"/>
                <a:cs typeface="Lato Black" panose="020F0502020204030203" pitchFamily="34" charset="0"/>
              </a:rPr>
              <a:t> Edu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DA7834F-D118-B29D-D3E8-5E5A522411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47622" y="0"/>
            <a:ext cx="1544378" cy="2141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249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41FD31BF-7FB8-4373-995E-564F77B0D0EF}"/>
              </a:ext>
            </a:extLst>
          </p:cNvPr>
          <p:cNvGrpSpPr/>
          <p:nvPr/>
        </p:nvGrpSpPr>
        <p:grpSpPr>
          <a:xfrm>
            <a:off x="4692861" y="5079698"/>
            <a:ext cx="445238" cy="445238"/>
            <a:chOff x="6825881" y="3493932"/>
            <a:chExt cx="445238" cy="445238"/>
          </a:xfrm>
        </p:grpSpPr>
        <p:sp>
          <p:nvSpPr>
            <p:cNvPr id="16" name="Oval 15">
              <a:extLst>
                <a:ext uri="{FF2B5EF4-FFF2-40B4-BE49-F238E27FC236}">
                  <a16:creationId xmlns:a16="http://schemas.microsoft.com/office/drawing/2014/main" id="{BCF98BF3-3D47-46CD-B789-87BE44DD3D37}"/>
                </a:ext>
              </a:extLst>
            </p:cNvPr>
            <p:cNvSpPr/>
            <p:nvPr/>
          </p:nvSpPr>
          <p:spPr>
            <a:xfrm>
              <a:off x="6825881" y="3493932"/>
              <a:ext cx="445238" cy="445238"/>
            </a:xfrm>
            <a:prstGeom prst="ellips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17" name="Oval 16">
              <a:extLst>
                <a:ext uri="{FF2B5EF4-FFF2-40B4-BE49-F238E27FC236}">
                  <a16:creationId xmlns:a16="http://schemas.microsoft.com/office/drawing/2014/main" id="{DB84D063-B875-46C1-941F-5CB924ABBB48}"/>
                </a:ext>
              </a:extLst>
            </p:cNvPr>
            <p:cNvSpPr/>
            <p:nvPr/>
          </p:nvSpPr>
          <p:spPr>
            <a:xfrm>
              <a:off x="6934200" y="3602251"/>
              <a:ext cx="228600" cy="228600"/>
            </a:xfrm>
            <a:prstGeom prst="ellipse">
              <a:avLst/>
            </a:prstGeom>
            <a:gradFill>
              <a:gsLst>
                <a:gs pos="0">
                  <a:schemeClr val="accent1">
                    <a:lumMod val="60000"/>
                    <a:lumOff val="40000"/>
                  </a:schemeClr>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nvGrpSpPr>
          <p:cNvPr id="18" name="Group 17">
            <a:extLst>
              <a:ext uri="{FF2B5EF4-FFF2-40B4-BE49-F238E27FC236}">
                <a16:creationId xmlns:a16="http://schemas.microsoft.com/office/drawing/2014/main" id="{166E559C-AFAF-4286-9D39-E5086B7F18F3}"/>
              </a:ext>
            </a:extLst>
          </p:cNvPr>
          <p:cNvGrpSpPr/>
          <p:nvPr/>
        </p:nvGrpSpPr>
        <p:grpSpPr>
          <a:xfrm>
            <a:off x="7053901" y="5079698"/>
            <a:ext cx="445238" cy="445238"/>
            <a:chOff x="6825881" y="3493932"/>
            <a:chExt cx="445238" cy="445238"/>
          </a:xfrm>
        </p:grpSpPr>
        <p:sp>
          <p:nvSpPr>
            <p:cNvPr id="19" name="Oval 18">
              <a:extLst>
                <a:ext uri="{FF2B5EF4-FFF2-40B4-BE49-F238E27FC236}">
                  <a16:creationId xmlns:a16="http://schemas.microsoft.com/office/drawing/2014/main" id="{745DCD34-A3CA-49CE-BD32-BE18BC5B5D3B}"/>
                </a:ext>
              </a:extLst>
            </p:cNvPr>
            <p:cNvSpPr/>
            <p:nvPr/>
          </p:nvSpPr>
          <p:spPr>
            <a:xfrm>
              <a:off x="6825881" y="3493932"/>
              <a:ext cx="445238" cy="445238"/>
            </a:xfrm>
            <a:prstGeom prst="ellips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0" name="Oval 19">
              <a:extLst>
                <a:ext uri="{FF2B5EF4-FFF2-40B4-BE49-F238E27FC236}">
                  <a16:creationId xmlns:a16="http://schemas.microsoft.com/office/drawing/2014/main" id="{C72D60E7-9ED9-4B72-B4BF-32D7AE150C12}"/>
                </a:ext>
              </a:extLst>
            </p:cNvPr>
            <p:cNvSpPr/>
            <p:nvPr/>
          </p:nvSpPr>
          <p:spPr>
            <a:xfrm>
              <a:off x="6934200" y="3602251"/>
              <a:ext cx="228600" cy="228600"/>
            </a:xfrm>
            <a:prstGeom prst="ellipse">
              <a:avLst/>
            </a:prstGeom>
            <a:gradFill>
              <a:gsLst>
                <a:gs pos="0">
                  <a:schemeClr val="accent1">
                    <a:lumMod val="60000"/>
                    <a:lumOff val="40000"/>
                  </a:schemeClr>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nvGrpSpPr>
          <p:cNvPr id="9" name="Group 8">
            <a:extLst>
              <a:ext uri="{FF2B5EF4-FFF2-40B4-BE49-F238E27FC236}">
                <a16:creationId xmlns:a16="http://schemas.microsoft.com/office/drawing/2014/main" id="{B5B788EB-2CA2-4E91-888B-24CBCFF03BBD}"/>
              </a:ext>
            </a:extLst>
          </p:cNvPr>
          <p:cNvGrpSpPr/>
          <p:nvPr/>
        </p:nvGrpSpPr>
        <p:grpSpPr>
          <a:xfrm>
            <a:off x="3593362" y="2922497"/>
            <a:ext cx="445238" cy="445238"/>
            <a:chOff x="6825881" y="3493932"/>
            <a:chExt cx="445238" cy="445238"/>
          </a:xfrm>
        </p:grpSpPr>
        <p:sp>
          <p:nvSpPr>
            <p:cNvPr id="11" name="Oval 10">
              <a:extLst>
                <a:ext uri="{FF2B5EF4-FFF2-40B4-BE49-F238E27FC236}">
                  <a16:creationId xmlns:a16="http://schemas.microsoft.com/office/drawing/2014/main" id="{30CAC68B-C4BC-4CA1-9524-8932D9B6F46F}"/>
                </a:ext>
              </a:extLst>
            </p:cNvPr>
            <p:cNvSpPr/>
            <p:nvPr/>
          </p:nvSpPr>
          <p:spPr>
            <a:xfrm>
              <a:off x="6825881" y="3493932"/>
              <a:ext cx="445238" cy="445238"/>
            </a:xfrm>
            <a:prstGeom prst="ellips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12" name="Oval 11">
              <a:extLst>
                <a:ext uri="{FF2B5EF4-FFF2-40B4-BE49-F238E27FC236}">
                  <a16:creationId xmlns:a16="http://schemas.microsoft.com/office/drawing/2014/main" id="{7401154D-8C75-4812-9B9B-8119D286A9E7}"/>
                </a:ext>
              </a:extLst>
            </p:cNvPr>
            <p:cNvSpPr/>
            <p:nvPr/>
          </p:nvSpPr>
          <p:spPr>
            <a:xfrm>
              <a:off x="6934200" y="3602251"/>
              <a:ext cx="228600" cy="228600"/>
            </a:xfrm>
            <a:prstGeom prst="ellipse">
              <a:avLst/>
            </a:prstGeom>
            <a:gradFill>
              <a:gsLst>
                <a:gs pos="0">
                  <a:schemeClr val="accent1">
                    <a:lumMod val="60000"/>
                    <a:lumOff val="40000"/>
                  </a:schemeClr>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nvGrpSpPr>
          <p:cNvPr id="21" name="Group 20">
            <a:extLst>
              <a:ext uri="{FF2B5EF4-FFF2-40B4-BE49-F238E27FC236}">
                <a16:creationId xmlns:a16="http://schemas.microsoft.com/office/drawing/2014/main" id="{8061A50C-7498-4599-85B0-B5C101AB245E}"/>
              </a:ext>
            </a:extLst>
          </p:cNvPr>
          <p:cNvGrpSpPr/>
          <p:nvPr/>
        </p:nvGrpSpPr>
        <p:grpSpPr>
          <a:xfrm>
            <a:off x="8136173" y="2922497"/>
            <a:ext cx="445238" cy="445238"/>
            <a:chOff x="6825881" y="3493932"/>
            <a:chExt cx="445238" cy="445238"/>
          </a:xfrm>
        </p:grpSpPr>
        <p:sp>
          <p:nvSpPr>
            <p:cNvPr id="22" name="Oval 21">
              <a:extLst>
                <a:ext uri="{FF2B5EF4-FFF2-40B4-BE49-F238E27FC236}">
                  <a16:creationId xmlns:a16="http://schemas.microsoft.com/office/drawing/2014/main" id="{CA722759-94F5-40FE-90D7-799D01D2561D}"/>
                </a:ext>
              </a:extLst>
            </p:cNvPr>
            <p:cNvSpPr/>
            <p:nvPr/>
          </p:nvSpPr>
          <p:spPr>
            <a:xfrm>
              <a:off x="6825881" y="3493932"/>
              <a:ext cx="445238" cy="445238"/>
            </a:xfrm>
            <a:prstGeom prst="ellips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3" name="Oval 22">
              <a:extLst>
                <a:ext uri="{FF2B5EF4-FFF2-40B4-BE49-F238E27FC236}">
                  <a16:creationId xmlns:a16="http://schemas.microsoft.com/office/drawing/2014/main" id="{4178B450-4482-44B8-B6A8-0488A81263DD}"/>
                </a:ext>
              </a:extLst>
            </p:cNvPr>
            <p:cNvSpPr/>
            <p:nvPr/>
          </p:nvSpPr>
          <p:spPr>
            <a:xfrm>
              <a:off x="6934200" y="3602251"/>
              <a:ext cx="228600" cy="228600"/>
            </a:xfrm>
            <a:prstGeom prst="ellipse">
              <a:avLst/>
            </a:prstGeom>
            <a:gradFill>
              <a:gsLst>
                <a:gs pos="0">
                  <a:schemeClr val="accent1">
                    <a:lumMod val="60000"/>
                    <a:lumOff val="40000"/>
                  </a:schemeClr>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nvGrpSpPr>
          <p:cNvPr id="10" name="Group 9">
            <a:extLst>
              <a:ext uri="{FF2B5EF4-FFF2-40B4-BE49-F238E27FC236}">
                <a16:creationId xmlns:a16="http://schemas.microsoft.com/office/drawing/2014/main" id="{B156A17D-68D9-4364-A6D8-FF1C32822048}"/>
              </a:ext>
            </a:extLst>
          </p:cNvPr>
          <p:cNvGrpSpPr/>
          <p:nvPr/>
        </p:nvGrpSpPr>
        <p:grpSpPr>
          <a:xfrm>
            <a:off x="504756" y="2951138"/>
            <a:ext cx="3090898" cy="1036582"/>
            <a:chOff x="302931" y="2957340"/>
            <a:chExt cx="3090898" cy="1036582"/>
          </a:xfrm>
        </p:grpSpPr>
        <p:sp>
          <p:nvSpPr>
            <p:cNvPr id="52" name="TextBox 51">
              <a:extLst>
                <a:ext uri="{FF2B5EF4-FFF2-40B4-BE49-F238E27FC236}">
                  <a16:creationId xmlns:a16="http://schemas.microsoft.com/office/drawing/2014/main" id="{F8539FF6-A3FB-473E-826A-C633D9DF59A1}"/>
                </a:ext>
              </a:extLst>
            </p:cNvPr>
            <p:cNvSpPr txBox="1"/>
            <p:nvPr/>
          </p:nvSpPr>
          <p:spPr>
            <a:xfrm>
              <a:off x="675880" y="2957340"/>
              <a:ext cx="2717948" cy="375552"/>
            </a:xfrm>
            <a:prstGeom prst="rect">
              <a:avLst/>
            </a:prstGeom>
            <a:noFill/>
          </p:spPr>
          <p:txBody>
            <a:bodyPr wrap="square" rtlCol="0">
              <a:spAutoFit/>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4B135"/>
                  </a:solidFill>
                  <a:effectLst/>
                  <a:uLnTx/>
                  <a:uFillTx/>
                  <a:latin typeface="Lato" panose="020F0502020204030203" pitchFamily="34" charset="0"/>
                  <a:ea typeface="Lato" panose="020F0502020204030203" pitchFamily="34" charset="0"/>
                  <a:cs typeface="Lato" panose="020F0502020204030203" pitchFamily="34" charset="0"/>
                </a:rPr>
                <a:t>User Experience</a:t>
              </a:r>
            </a:p>
          </p:txBody>
        </p:sp>
        <p:sp>
          <p:nvSpPr>
            <p:cNvPr id="78" name="TextBox 77">
              <a:extLst>
                <a:ext uri="{FF2B5EF4-FFF2-40B4-BE49-F238E27FC236}">
                  <a16:creationId xmlns:a16="http://schemas.microsoft.com/office/drawing/2014/main" id="{14127679-DA93-4286-989B-7E295651FB88}"/>
                </a:ext>
              </a:extLst>
            </p:cNvPr>
            <p:cNvSpPr txBox="1"/>
            <p:nvPr/>
          </p:nvSpPr>
          <p:spPr>
            <a:xfrm>
              <a:off x="302931" y="3301425"/>
              <a:ext cx="3090898" cy="692497"/>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Mist is the only vendor in the industry with a cloud built to measure and improve user level visibility</a:t>
              </a:r>
            </a:p>
          </p:txBody>
        </p:sp>
      </p:grpSp>
      <p:grpSp>
        <p:nvGrpSpPr>
          <p:cNvPr id="24" name="Group 23">
            <a:extLst>
              <a:ext uri="{FF2B5EF4-FFF2-40B4-BE49-F238E27FC236}">
                <a16:creationId xmlns:a16="http://schemas.microsoft.com/office/drawing/2014/main" id="{C9DBB479-4711-42C3-97EB-C95FBF4E094B}"/>
              </a:ext>
            </a:extLst>
          </p:cNvPr>
          <p:cNvGrpSpPr/>
          <p:nvPr/>
        </p:nvGrpSpPr>
        <p:grpSpPr>
          <a:xfrm>
            <a:off x="8704478" y="2957340"/>
            <a:ext cx="2954122" cy="867305"/>
            <a:chOff x="8704478" y="2957340"/>
            <a:chExt cx="2954122" cy="867305"/>
          </a:xfrm>
        </p:grpSpPr>
        <p:sp>
          <p:nvSpPr>
            <p:cNvPr id="54" name="TextBox 53">
              <a:extLst>
                <a:ext uri="{FF2B5EF4-FFF2-40B4-BE49-F238E27FC236}">
                  <a16:creationId xmlns:a16="http://schemas.microsoft.com/office/drawing/2014/main" id="{87A46D61-C625-4BD0-9FCF-5E0E486890FE}"/>
                </a:ext>
              </a:extLst>
            </p:cNvPr>
            <p:cNvSpPr txBox="1"/>
            <p:nvPr/>
          </p:nvSpPr>
          <p:spPr>
            <a:xfrm>
              <a:off x="8704478" y="2957340"/>
              <a:ext cx="2717948" cy="375552"/>
            </a:xfrm>
            <a:prstGeom prst="rect">
              <a:avLst/>
            </a:prstGeom>
            <a:noFill/>
          </p:spPr>
          <p:txBody>
            <a:bodyPr wrap="square" rtlCol="0">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4B135"/>
                  </a:solidFill>
                  <a:effectLst/>
                  <a:uLnTx/>
                  <a:uFillTx/>
                  <a:latin typeface="Lato" panose="020F0502020204030203" pitchFamily="34" charset="0"/>
                  <a:ea typeface="Lato" panose="020F0502020204030203" pitchFamily="34" charset="0"/>
                  <a:cs typeface="Lato" panose="020F0502020204030203" pitchFamily="34" charset="0"/>
                </a:rPr>
                <a:t>Digital Engagement</a:t>
              </a:r>
            </a:p>
          </p:txBody>
        </p:sp>
        <p:sp>
          <p:nvSpPr>
            <p:cNvPr id="79" name="TextBox 78">
              <a:extLst>
                <a:ext uri="{FF2B5EF4-FFF2-40B4-BE49-F238E27FC236}">
                  <a16:creationId xmlns:a16="http://schemas.microsoft.com/office/drawing/2014/main" id="{33A97C3C-6E5B-4039-95A1-2FF7DA374E7F}"/>
                </a:ext>
              </a:extLst>
            </p:cNvPr>
            <p:cNvSpPr txBox="1"/>
            <p:nvPr/>
          </p:nvSpPr>
          <p:spPr>
            <a:xfrm>
              <a:off x="8704478" y="3301425"/>
              <a:ext cx="2954122"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Engage visitors and associates digitally without overlay systems</a:t>
              </a:r>
            </a:p>
          </p:txBody>
        </p:sp>
      </p:grpSp>
      <p:grpSp>
        <p:nvGrpSpPr>
          <p:cNvPr id="14" name="Group 13">
            <a:extLst>
              <a:ext uri="{FF2B5EF4-FFF2-40B4-BE49-F238E27FC236}">
                <a16:creationId xmlns:a16="http://schemas.microsoft.com/office/drawing/2014/main" id="{DC6EE1DB-87AF-4F8B-9AC9-6E4A6EF95E0F}"/>
              </a:ext>
            </a:extLst>
          </p:cNvPr>
          <p:cNvGrpSpPr/>
          <p:nvPr/>
        </p:nvGrpSpPr>
        <p:grpSpPr>
          <a:xfrm>
            <a:off x="7652795" y="5114541"/>
            <a:ext cx="3107504" cy="1044032"/>
            <a:chOff x="7652795" y="5114541"/>
            <a:chExt cx="3107504" cy="1044032"/>
          </a:xfrm>
        </p:grpSpPr>
        <p:sp>
          <p:nvSpPr>
            <p:cNvPr id="56" name="TextBox 55">
              <a:extLst>
                <a:ext uri="{FF2B5EF4-FFF2-40B4-BE49-F238E27FC236}">
                  <a16:creationId xmlns:a16="http://schemas.microsoft.com/office/drawing/2014/main" id="{6F946332-B1FB-4BD2-B7E5-C1FC29AB8623}"/>
                </a:ext>
              </a:extLst>
            </p:cNvPr>
            <p:cNvSpPr txBox="1"/>
            <p:nvPr/>
          </p:nvSpPr>
          <p:spPr>
            <a:xfrm>
              <a:off x="7652795" y="5114541"/>
              <a:ext cx="2717948" cy="375552"/>
            </a:xfrm>
            <a:prstGeom prst="rect">
              <a:avLst/>
            </a:prstGeom>
            <a:noFill/>
          </p:spPr>
          <p:txBody>
            <a:bodyPr wrap="square" rtlCol="0">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4B135"/>
                  </a:solidFill>
                  <a:effectLst/>
                  <a:uLnTx/>
                  <a:uFillTx/>
                  <a:latin typeface="Lato" panose="020F0502020204030203" pitchFamily="34" charset="0"/>
                  <a:ea typeface="Lato" panose="020F0502020204030203" pitchFamily="34" charset="0"/>
                  <a:cs typeface="Lato" panose="020F0502020204030203" pitchFamily="34" charset="0"/>
                </a:rPr>
                <a:t>Microservices Cloud</a:t>
              </a:r>
            </a:p>
          </p:txBody>
        </p:sp>
        <p:sp>
          <p:nvSpPr>
            <p:cNvPr id="80" name="TextBox 79">
              <a:extLst>
                <a:ext uri="{FF2B5EF4-FFF2-40B4-BE49-F238E27FC236}">
                  <a16:creationId xmlns:a16="http://schemas.microsoft.com/office/drawing/2014/main" id="{2F94E8AD-A3D4-46EC-88C6-F37FFBCA2AF1}"/>
                </a:ext>
              </a:extLst>
            </p:cNvPr>
            <p:cNvSpPr txBox="1"/>
            <p:nvPr/>
          </p:nvSpPr>
          <p:spPr>
            <a:xfrm>
              <a:off x="7652795" y="5419909"/>
              <a:ext cx="3107504" cy="73866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A modern microservices architecture ensures a network that is easy to operate and agile</a:t>
              </a:r>
            </a:p>
          </p:txBody>
        </p:sp>
      </p:grpSp>
      <p:grpSp>
        <p:nvGrpSpPr>
          <p:cNvPr id="13" name="Group 12">
            <a:extLst>
              <a:ext uri="{FF2B5EF4-FFF2-40B4-BE49-F238E27FC236}">
                <a16:creationId xmlns:a16="http://schemas.microsoft.com/office/drawing/2014/main" id="{4049A97A-B447-4EC4-AB47-DAA5839216CC}"/>
              </a:ext>
            </a:extLst>
          </p:cNvPr>
          <p:cNvGrpSpPr/>
          <p:nvPr/>
        </p:nvGrpSpPr>
        <p:grpSpPr>
          <a:xfrm>
            <a:off x="560379" y="5114541"/>
            <a:ext cx="3948744" cy="1044032"/>
            <a:chOff x="560379" y="5114541"/>
            <a:chExt cx="3948744" cy="1044032"/>
          </a:xfrm>
        </p:grpSpPr>
        <p:sp>
          <p:nvSpPr>
            <p:cNvPr id="53" name="TextBox 52">
              <a:extLst>
                <a:ext uri="{FF2B5EF4-FFF2-40B4-BE49-F238E27FC236}">
                  <a16:creationId xmlns:a16="http://schemas.microsoft.com/office/drawing/2014/main" id="{CF101452-3072-48B1-9663-6EB64C38624E}"/>
                </a:ext>
              </a:extLst>
            </p:cNvPr>
            <p:cNvSpPr txBox="1"/>
            <p:nvPr/>
          </p:nvSpPr>
          <p:spPr>
            <a:xfrm>
              <a:off x="1791174" y="5114541"/>
              <a:ext cx="2717948" cy="375552"/>
            </a:xfrm>
            <a:prstGeom prst="rect">
              <a:avLst/>
            </a:prstGeom>
            <a:noFill/>
          </p:spPr>
          <p:txBody>
            <a:bodyPr wrap="square" rtlCol="0">
              <a:spAutoFit/>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4B135"/>
                  </a:solidFill>
                  <a:effectLst/>
                  <a:uLnTx/>
                  <a:uFillTx/>
                  <a:latin typeface="Lato" panose="020F0502020204030203" pitchFamily="34" charset="0"/>
                  <a:ea typeface="Lato" panose="020F0502020204030203" pitchFamily="34" charset="0"/>
                  <a:cs typeface="Lato" panose="020F0502020204030203" pitchFamily="34" charset="0"/>
                </a:rPr>
                <a:t>AI</a:t>
              </a:r>
            </a:p>
          </p:txBody>
        </p:sp>
        <p:sp>
          <p:nvSpPr>
            <p:cNvPr id="82" name="TextBox 81">
              <a:extLst>
                <a:ext uri="{FF2B5EF4-FFF2-40B4-BE49-F238E27FC236}">
                  <a16:creationId xmlns:a16="http://schemas.microsoft.com/office/drawing/2014/main" id="{3439E39E-0945-4140-8DCB-4B20D272E801}"/>
                </a:ext>
              </a:extLst>
            </p:cNvPr>
            <p:cNvSpPr txBox="1"/>
            <p:nvPr/>
          </p:nvSpPr>
          <p:spPr>
            <a:xfrm>
              <a:off x="560379" y="5419909"/>
              <a:ext cx="3948744" cy="73866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Mist has the industry’s only Self Driving Network – means fewer tickets and happier users</a:t>
              </a:r>
            </a:p>
          </p:txBody>
        </p:sp>
      </p:grpSp>
      <p:grpSp>
        <p:nvGrpSpPr>
          <p:cNvPr id="33" name="Group 32">
            <a:extLst>
              <a:ext uri="{FF2B5EF4-FFF2-40B4-BE49-F238E27FC236}">
                <a16:creationId xmlns:a16="http://schemas.microsoft.com/office/drawing/2014/main" id="{A2E1BB09-D50D-44ED-8CF1-FC22BB16CE62}"/>
              </a:ext>
            </a:extLst>
          </p:cNvPr>
          <p:cNvGrpSpPr/>
          <p:nvPr/>
        </p:nvGrpSpPr>
        <p:grpSpPr>
          <a:xfrm>
            <a:off x="3553535" y="1610662"/>
            <a:ext cx="4895566" cy="3338232"/>
            <a:chOff x="283411" y="1179378"/>
            <a:chExt cx="6500172" cy="4499245"/>
          </a:xfrm>
          <a:solidFill>
            <a:schemeClr val="bg1">
              <a:lumMod val="95000"/>
              <a:alpha val="31920"/>
            </a:schemeClr>
          </a:solidFill>
        </p:grpSpPr>
        <p:sp>
          <p:nvSpPr>
            <p:cNvPr id="34" name="Freeform: Shape 33">
              <a:extLst>
                <a:ext uri="{FF2B5EF4-FFF2-40B4-BE49-F238E27FC236}">
                  <a16:creationId xmlns:a16="http://schemas.microsoft.com/office/drawing/2014/main" id="{DCB19E8D-D65A-44EF-AF88-5CBA2F540E66}"/>
                </a:ext>
              </a:extLst>
            </p:cNvPr>
            <p:cNvSpPr/>
            <p:nvPr/>
          </p:nvSpPr>
          <p:spPr>
            <a:xfrm rot="3075087">
              <a:off x="4423115" y="3318156"/>
              <a:ext cx="1012437" cy="3708498"/>
            </a:xfrm>
            <a:custGeom>
              <a:avLst/>
              <a:gdLst>
                <a:gd name="connsiteX0" fmla="*/ 298393 w 1054303"/>
                <a:gd name="connsiteY0" fmla="*/ 0 h 3861854"/>
                <a:gd name="connsiteX1" fmla="*/ 402070 w 1054303"/>
                <a:gd name="connsiteY1" fmla="*/ 114073 h 3861854"/>
                <a:gd name="connsiteX2" fmla="*/ 1054303 w 1054303"/>
                <a:gd name="connsiteY2" fmla="*/ 1930927 h 3861854"/>
                <a:gd name="connsiteX3" fmla="*/ 402070 w 1054303"/>
                <a:gd name="connsiteY3" fmla="*/ 3747781 h 3861854"/>
                <a:gd name="connsiteX4" fmla="*/ 298393 w 1054303"/>
                <a:gd name="connsiteY4" fmla="*/ 3861854 h 3861854"/>
                <a:gd name="connsiteX5" fmla="*/ 0 w 1054303"/>
                <a:gd name="connsiteY5" fmla="*/ 3628857 h 3861854"/>
                <a:gd name="connsiteX6" fmla="*/ 110420 w 1054303"/>
                <a:gd name="connsiteY6" fmla="*/ 3507365 h 3861854"/>
                <a:gd name="connsiteX7" fmla="*/ 676346 w 1054303"/>
                <a:gd name="connsiteY7" fmla="*/ 1930927 h 3861854"/>
                <a:gd name="connsiteX8" fmla="*/ 110420 w 1054303"/>
                <a:gd name="connsiteY8" fmla="*/ 354489 h 3861854"/>
                <a:gd name="connsiteX9" fmla="*/ 0 w 1054303"/>
                <a:gd name="connsiteY9" fmla="*/ 232997 h 3861854"/>
                <a:gd name="connsiteX10" fmla="*/ 298393 w 1054303"/>
                <a:gd name="connsiteY10" fmla="*/ 0 h 386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303" h="3861854">
                  <a:moveTo>
                    <a:pt x="298393" y="0"/>
                  </a:moveTo>
                  <a:lnTo>
                    <a:pt x="402070" y="114073"/>
                  </a:lnTo>
                  <a:cubicBezTo>
                    <a:pt x="809533" y="607806"/>
                    <a:pt x="1054303" y="1240782"/>
                    <a:pt x="1054303" y="1930927"/>
                  </a:cubicBezTo>
                  <a:cubicBezTo>
                    <a:pt x="1054303" y="2621073"/>
                    <a:pt x="809533" y="3254049"/>
                    <a:pt x="402070" y="3747781"/>
                  </a:cubicBezTo>
                  <a:lnTo>
                    <a:pt x="298393" y="3861854"/>
                  </a:lnTo>
                  <a:lnTo>
                    <a:pt x="0" y="3628857"/>
                  </a:lnTo>
                  <a:lnTo>
                    <a:pt x="110420" y="3507365"/>
                  </a:lnTo>
                  <a:cubicBezTo>
                    <a:pt x="463966" y="3078966"/>
                    <a:pt x="676346" y="2529749"/>
                    <a:pt x="676346" y="1930927"/>
                  </a:cubicBezTo>
                  <a:cubicBezTo>
                    <a:pt x="676346" y="1332106"/>
                    <a:pt x="463966" y="782888"/>
                    <a:pt x="110420" y="354489"/>
                  </a:cubicBezTo>
                  <a:lnTo>
                    <a:pt x="0" y="232997"/>
                  </a:lnTo>
                  <a:lnTo>
                    <a:pt x="298393" y="0"/>
                  </a:lnTo>
                  <a:close/>
                </a:path>
              </a:pathLst>
            </a:custGeom>
            <a:grpFill/>
            <a:ln w="69850" cap="rnd">
              <a:noFill/>
              <a:roun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14141"/>
                </a:solidFill>
                <a:effectLst/>
                <a:uLnTx/>
                <a:uFillTx/>
                <a:latin typeface="Lato"/>
                <a:ea typeface="+mn-ea"/>
                <a:cs typeface="+mn-cs"/>
              </a:endParaRPr>
            </a:p>
          </p:txBody>
        </p:sp>
        <p:sp>
          <p:nvSpPr>
            <p:cNvPr id="35" name="Freeform: Shape 34">
              <a:extLst>
                <a:ext uri="{FF2B5EF4-FFF2-40B4-BE49-F238E27FC236}">
                  <a16:creationId xmlns:a16="http://schemas.microsoft.com/office/drawing/2014/main" id="{058781A7-27E4-4AA3-A0E8-65FF950898B9}"/>
                </a:ext>
              </a:extLst>
            </p:cNvPr>
            <p:cNvSpPr/>
            <p:nvPr/>
          </p:nvSpPr>
          <p:spPr>
            <a:xfrm rot="3075087">
              <a:off x="1626491" y="-163702"/>
              <a:ext cx="995299" cy="3681459"/>
            </a:xfrm>
            <a:custGeom>
              <a:avLst/>
              <a:gdLst>
                <a:gd name="connsiteX0" fmla="*/ 743115 w 1036457"/>
                <a:gd name="connsiteY0" fmla="*/ 0 h 3833697"/>
                <a:gd name="connsiteX1" fmla="*/ 1036457 w 1036457"/>
                <a:gd name="connsiteY1" fmla="*/ 238554 h 3833697"/>
                <a:gd name="connsiteX2" fmla="*/ 943884 w 1036457"/>
                <a:gd name="connsiteY2" fmla="*/ 340410 h 3833697"/>
                <a:gd name="connsiteX3" fmla="*/ 377957 w 1036457"/>
                <a:gd name="connsiteY3" fmla="*/ 1916848 h 3833697"/>
                <a:gd name="connsiteX4" fmla="*/ 943884 w 1036457"/>
                <a:gd name="connsiteY4" fmla="*/ 3493286 h 3833697"/>
                <a:gd name="connsiteX5" fmla="*/ 1036457 w 1036457"/>
                <a:gd name="connsiteY5" fmla="*/ 3595142 h 3833697"/>
                <a:gd name="connsiteX6" fmla="*/ 743115 w 1036457"/>
                <a:gd name="connsiteY6" fmla="*/ 3833697 h 3833697"/>
                <a:gd name="connsiteX7" fmla="*/ 652234 w 1036457"/>
                <a:gd name="connsiteY7" fmla="*/ 3733702 h 3833697"/>
                <a:gd name="connsiteX8" fmla="*/ 0 w 1036457"/>
                <a:gd name="connsiteY8" fmla="*/ 1916848 h 3833697"/>
                <a:gd name="connsiteX9" fmla="*/ 652234 w 1036457"/>
                <a:gd name="connsiteY9" fmla="*/ 99994 h 3833697"/>
                <a:gd name="connsiteX10" fmla="*/ 743115 w 1036457"/>
                <a:gd name="connsiteY10" fmla="*/ 0 h 383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457" h="3833697">
                  <a:moveTo>
                    <a:pt x="743115" y="0"/>
                  </a:moveTo>
                  <a:lnTo>
                    <a:pt x="1036457" y="238554"/>
                  </a:lnTo>
                  <a:lnTo>
                    <a:pt x="943884" y="340410"/>
                  </a:lnTo>
                  <a:cubicBezTo>
                    <a:pt x="590338" y="768809"/>
                    <a:pt x="377957" y="1318027"/>
                    <a:pt x="377957" y="1916848"/>
                  </a:cubicBezTo>
                  <a:cubicBezTo>
                    <a:pt x="377957" y="2515670"/>
                    <a:pt x="590338" y="3064887"/>
                    <a:pt x="943884" y="3493286"/>
                  </a:cubicBezTo>
                  <a:lnTo>
                    <a:pt x="1036457" y="3595142"/>
                  </a:lnTo>
                  <a:lnTo>
                    <a:pt x="743115" y="3833697"/>
                  </a:lnTo>
                  <a:lnTo>
                    <a:pt x="652234" y="3733702"/>
                  </a:lnTo>
                  <a:cubicBezTo>
                    <a:pt x="244770" y="3239970"/>
                    <a:pt x="0" y="2606994"/>
                    <a:pt x="0" y="1916848"/>
                  </a:cubicBezTo>
                  <a:cubicBezTo>
                    <a:pt x="0" y="1226703"/>
                    <a:pt x="244770" y="593727"/>
                    <a:pt x="652234" y="99994"/>
                  </a:cubicBezTo>
                  <a:lnTo>
                    <a:pt x="743115" y="0"/>
                  </a:lnTo>
                  <a:close/>
                </a:path>
              </a:pathLst>
            </a:custGeom>
            <a:grpFill/>
            <a:ln w="69850" cap="rnd">
              <a:noFill/>
              <a:round/>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14141"/>
                </a:solidFill>
                <a:effectLst/>
                <a:uLnTx/>
                <a:uFillTx/>
                <a:latin typeface="Lato"/>
                <a:ea typeface="+mn-ea"/>
                <a:cs typeface="+mn-cs"/>
              </a:endParaRPr>
            </a:p>
          </p:txBody>
        </p:sp>
      </p:grpSp>
      <p:pic>
        <p:nvPicPr>
          <p:cNvPr id="58" name="Picture 57">
            <a:extLst>
              <a:ext uri="{FF2B5EF4-FFF2-40B4-BE49-F238E27FC236}">
                <a16:creationId xmlns:a16="http://schemas.microsoft.com/office/drawing/2014/main" id="{394A4F97-1D81-9C4B-B8E7-23D0AFCF9A8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52424" y="2437218"/>
            <a:ext cx="915918" cy="740061"/>
          </a:xfrm>
          <a:prstGeom prst="rect">
            <a:avLst/>
          </a:prstGeom>
        </p:spPr>
      </p:pic>
      <p:pic>
        <p:nvPicPr>
          <p:cNvPr id="1026" name="Picture 2">
            <a:extLst>
              <a:ext uri="{FF2B5EF4-FFF2-40B4-BE49-F238E27FC236}">
                <a16:creationId xmlns:a16="http://schemas.microsoft.com/office/drawing/2014/main" id="{AA39783F-D060-2E48-9C00-260A1A96EA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5530" y="1541296"/>
            <a:ext cx="798067" cy="4118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West Virginia Mountaineers - Wikipedia">
            <a:extLst>
              <a:ext uri="{FF2B5EF4-FFF2-40B4-BE49-F238E27FC236}">
                <a16:creationId xmlns:a16="http://schemas.microsoft.com/office/drawing/2014/main" id="{42DD01BA-61E6-47C5-B156-C4F07C45FD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47613" y="3546003"/>
            <a:ext cx="457166" cy="471238"/>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Home - Centre for Book Cultures and Publishing">
            <a:extLst>
              <a:ext uri="{FF2B5EF4-FFF2-40B4-BE49-F238E27FC236}">
                <a16:creationId xmlns:a16="http://schemas.microsoft.com/office/drawing/2014/main" id="{942EEE59-3931-48E2-B8F2-89C8AED277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69711" y="4571272"/>
            <a:ext cx="1492509" cy="489146"/>
          </a:xfrm>
          <a:prstGeom prst="rect">
            <a:avLst/>
          </a:prstGeom>
          <a:solidFill>
            <a:schemeClr val="bg1">
              <a:alpha val="54000"/>
            </a:schemeClr>
          </a:solidFill>
          <a:effectLst/>
        </p:spPr>
      </p:pic>
      <p:pic>
        <p:nvPicPr>
          <p:cNvPr id="10246" name="Picture 6" descr="Forsyth Tech - Community College">
            <a:extLst>
              <a:ext uri="{FF2B5EF4-FFF2-40B4-BE49-F238E27FC236}">
                <a16:creationId xmlns:a16="http://schemas.microsoft.com/office/drawing/2014/main" id="{4A315195-827B-4B09-97F3-ED59F2379AF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78339" y="2827408"/>
            <a:ext cx="1204489" cy="61027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Dartmouth College Logo | Dartmouth college, College logo, Dartmouth  university">
            <a:extLst>
              <a:ext uri="{FF2B5EF4-FFF2-40B4-BE49-F238E27FC236}">
                <a16:creationId xmlns:a16="http://schemas.microsoft.com/office/drawing/2014/main" id="{1B2159C9-A466-4681-A7E1-BC51B8C3B1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22923" y="3342396"/>
            <a:ext cx="1091599" cy="826158"/>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Visual Identity Guidelines - Logos and Marks">
            <a:extLst>
              <a:ext uri="{FF2B5EF4-FFF2-40B4-BE49-F238E27FC236}">
                <a16:creationId xmlns:a16="http://schemas.microsoft.com/office/drawing/2014/main" id="{3E5F3B7C-54AA-4750-8A5F-EE477C420A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23228" y="2262893"/>
            <a:ext cx="2354317" cy="327704"/>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Logo Lockups | Springfield College">
            <a:extLst>
              <a:ext uri="{FF2B5EF4-FFF2-40B4-BE49-F238E27FC236}">
                <a16:creationId xmlns:a16="http://schemas.microsoft.com/office/drawing/2014/main" id="{FE684E4D-2231-451A-9A4F-3935159B925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23984" y="3308689"/>
            <a:ext cx="1456879" cy="489876"/>
          </a:xfrm>
          <a:prstGeom prst="rect">
            <a:avLst/>
          </a:prstGeom>
          <a:noFill/>
          <a:extLst>
            <a:ext uri="{909E8E84-426E-40DD-AFC4-6F175D3DCCD1}">
              <a14:hiddenFill xmlns:a14="http://schemas.microsoft.com/office/drawing/2010/main">
                <a:solidFill>
                  <a:srgbClr val="FFFFFF"/>
                </a:solidFill>
              </a14:hiddenFill>
            </a:ext>
          </a:extLst>
        </p:spPr>
      </p:pic>
      <p:pic>
        <p:nvPicPr>
          <p:cNvPr id="10254" name="Picture 14" descr="Brand Look and Feel | University of Massachusetts Office of the President">
            <a:extLst>
              <a:ext uri="{FF2B5EF4-FFF2-40B4-BE49-F238E27FC236}">
                <a16:creationId xmlns:a16="http://schemas.microsoft.com/office/drawing/2014/main" id="{9358190E-8B35-4EFF-99EC-5CF597EF24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71229" y="1758578"/>
            <a:ext cx="1758478" cy="354626"/>
          </a:xfrm>
          <a:prstGeom prst="rect">
            <a:avLst/>
          </a:prstGeom>
          <a:noFill/>
          <a:extLst>
            <a:ext uri="{909E8E84-426E-40DD-AFC4-6F175D3DCCD1}">
              <a14:hiddenFill xmlns:a14="http://schemas.microsoft.com/office/drawing/2010/main">
                <a:solidFill>
                  <a:srgbClr val="FFFFFF"/>
                </a:solidFill>
              </a14:hiddenFill>
            </a:ext>
          </a:extLst>
        </p:spPr>
      </p:pic>
      <p:pic>
        <p:nvPicPr>
          <p:cNvPr id="10256" name="Picture 16" descr="OTEMON GAKUIN UNIVERSITY">
            <a:extLst>
              <a:ext uri="{FF2B5EF4-FFF2-40B4-BE49-F238E27FC236}">
                <a16:creationId xmlns:a16="http://schemas.microsoft.com/office/drawing/2014/main" id="{40CED6F6-CB83-4CCA-BF60-60C31C629F8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60509" y="4085659"/>
            <a:ext cx="778404" cy="69629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3" descr="Text&#10;&#10;Description automatically generated with medium confidence">
            <a:extLst>
              <a:ext uri="{FF2B5EF4-FFF2-40B4-BE49-F238E27FC236}">
                <a16:creationId xmlns:a16="http://schemas.microsoft.com/office/drawing/2014/main" id="{64AECE38-81A4-1A6E-B951-CF8F2022C34A}"/>
              </a:ext>
            </a:extLst>
          </p:cNvPr>
          <p:cNvPicPr>
            <a:picLocks noChangeAspect="1"/>
          </p:cNvPicPr>
          <p:nvPr/>
        </p:nvPicPr>
        <p:blipFill>
          <a:blip r:embed="rId12"/>
          <a:stretch>
            <a:fillRect/>
          </a:stretch>
        </p:blipFill>
        <p:spPr>
          <a:xfrm>
            <a:off x="3584912" y="4670057"/>
            <a:ext cx="1238993" cy="433648"/>
          </a:xfrm>
          <a:prstGeom prst="rect">
            <a:avLst/>
          </a:prstGeom>
        </p:spPr>
      </p:pic>
      <p:pic>
        <p:nvPicPr>
          <p:cNvPr id="3" name="Picture 17" descr="Logo&#10;&#10;Description automatically generated">
            <a:extLst>
              <a:ext uri="{FF2B5EF4-FFF2-40B4-BE49-F238E27FC236}">
                <a16:creationId xmlns:a16="http://schemas.microsoft.com/office/drawing/2014/main" id="{459D565A-3A0D-D2EF-35EA-47EB6FB455B7}"/>
              </a:ext>
            </a:extLst>
          </p:cNvPr>
          <p:cNvPicPr>
            <a:picLocks noChangeAspect="1"/>
          </p:cNvPicPr>
          <p:nvPr/>
        </p:nvPicPr>
        <p:blipFill rotWithShape="1">
          <a:blip r:embed="rId13"/>
          <a:srcRect l="12018" t="23903" r="13477" b="33285"/>
          <a:stretch/>
        </p:blipFill>
        <p:spPr>
          <a:xfrm>
            <a:off x="3093811" y="4001127"/>
            <a:ext cx="1605388" cy="484305"/>
          </a:xfrm>
          <a:prstGeom prst="rect">
            <a:avLst/>
          </a:prstGeom>
        </p:spPr>
      </p:pic>
      <p:pic>
        <p:nvPicPr>
          <p:cNvPr id="4" name="Picture 14" descr="Logo, company name&#10;&#10;Description automatically generated">
            <a:extLst>
              <a:ext uri="{FF2B5EF4-FFF2-40B4-BE49-F238E27FC236}">
                <a16:creationId xmlns:a16="http://schemas.microsoft.com/office/drawing/2014/main" id="{64A5C46F-86E1-DDD7-0BDF-6EBD31FF7786}"/>
              </a:ext>
            </a:extLst>
          </p:cNvPr>
          <p:cNvPicPr>
            <a:picLocks noChangeAspect="1"/>
          </p:cNvPicPr>
          <p:nvPr/>
        </p:nvPicPr>
        <p:blipFill rotWithShape="1">
          <a:blip r:embed="rId14"/>
          <a:srcRect t="15532" b="17041"/>
          <a:stretch/>
        </p:blipFill>
        <p:spPr>
          <a:xfrm>
            <a:off x="7150505" y="3892231"/>
            <a:ext cx="1169592" cy="570722"/>
          </a:xfrm>
          <a:prstGeom prst="rect">
            <a:avLst/>
          </a:prstGeom>
        </p:spPr>
      </p:pic>
      <p:sp>
        <p:nvSpPr>
          <p:cNvPr id="5" name="Text 0">
            <a:extLst>
              <a:ext uri="{FF2B5EF4-FFF2-40B4-BE49-F238E27FC236}">
                <a16:creationId xmlns:a16="http://schemas.microsoft.com/office/drawing/2014/main" id="{CCDC7B00-BDA9-7DA2-DE93-EEB8AD2B983E}"/>
              </a:ext>
            </a:extLst>
          </p:cNvPr>
          <p:cNvSpPr/>
          <p:nvPr/>
        </p:nvSpPr>
        <p:spPr>
          <a:xfrm>
            <a:off x="124988" y="345356"/>
            <a:ext cx="11686798" cy="919162"/>
          </a:xfrm>
          <a:prstGeom prst="rect">
            <a:avLst/>
          </a:prstGeom>
          <a:noFill/>
          <a:ln/>
        </p:spPr>
        <p:txBody>
          <a:bodyPr wrap="square" lIns="0" tIns="0" rIns="0" bIns="0" rtlCol="0" anchor="t"/>
          <a:lstStyle/>
          <a:p>
            <a:pPr marL="0" marR="0" lvl="0" indent="0" algn="l" defTabSz="914377" rtl="0" eaLnBrk="1" fontAlgn="auto" latinLnBrk="0" hangingPunct="1">
              <a:lnSpc>
                <a:spcPts val="54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Higher Ed Institutions </a:t>
            </a:r>
            <a:r>
              <a:rPr kumimoji="0" lang="en-US" sz="3600" b="1" i="0" u="none" strike="noStrike" kern="1200" cap="none" spc="0" normalizeH="0" baseline="0" noProof="0" dirty="0">
                <a:ln>
                  <a:noFill/>
                </a:ln>
                <a:solidFill>
                  <a:srgbClr val="70AD47"/>
                </a:solidFill>
                <a:effectLst/>
                <a:uLnTx/>
                <a:uFillTx/>
                <a:latin typeface="Lato Black" panose="020F0502020204030203" pitchFamily="34" charset="0"/>
                <a:ea typeface="Lato Black" panose="020F0502020204030203" pitchFamily="34" charset="0"/>
                <a:cs typeface="Lato Black" panose="020F0502020204030203" pitchFamily="34" charset="0"/>
              </a:rPr>
              <a:t>are choosing</a:t>
            </a:r>
            <a:endParaRPr kumimoji="0" lang="en-US" sz="3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pic>
        <p:nvPicPr>
          <p:cNvPr id="6" name="Graphic 1">
            <a:extLst>
              <a:ext uri="{FF2B5EF4-FFF2-40B4-BE49-F238E27FC236}">
                <a16:creationId xmlns:a16="http://schemas.microsoft.com/office/drawing/2014/main" id="{7C147574-B0C9-286F-B11D-231A7F877A0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99139" y="338808"/>
            <a:ext cx="3504963" cy="778880"/>
          </a:xfrm>
          <a:prstGeom prst="rect">
            <a:avLst/>
          </a:prstGeom>
        </p:spPr>
      </p:pic>
    </p:spTree>
    <p:extLst>
      <p:ext uri="{BB962C8B-B14F-4D97-AF65-F5344CB8AC3E}">
        <p14:creationId xmlns:p14="http://schemas.microsoft.com/office/powerpoint/2010/main" val="151605199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41C76-055A-ECF2-0D73-8A0C4F75A166}"/>
            </a:ext>
          </a:extLst>
        </p:cNvPr>
        <p:cNvGrpSpPr/>
        <p:nvPr/>
      </p:nvGrpSpPr>
      <p:grpSpPr>
        <a:xfrm>
          <a:off x="0" y="0"/>
          <a:ext cx="0" cy="0"/>
          <a:chOff x="0" y="0"/>
          <a:chExt cx="0" cy="0"/>
        </a:xfrm>
      </p:grpSpPr>
      <p:sp>
        <p:nvSpPr>
          <p:cNvPr id="31" name="Rectangle 30">
            <a:extLst>
              <a:ext uri="{FF2B5EF4-FFF2-40B4-BE49-F238E27FC236}">
                <a16:creationId xmlns:a16="http://schemas.microsoft.com/office/drawing/2014/main" id="{604A9626-C690-86C8-5332-942810FC6287}"/>
              </a:ext>
            </a:extLst>
          </p:cNvPr>
          <p:cNvSpPr/>
          <p:nvPr/>
        </p:nvSpPr>
        <p:spPr>
          <a:xfrm>
            <a:off x="0" y="0"/>
            <a:ext cx="3603009" cy="6858000"/>
          </a:xfrm>
          <a:prstGeom prst="rect">
            <a:avLst/>
          </a:prstGeom>
          <a:solidFill>
            <a:srgbClr val="1B39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 name="TextBox 4">
            <a:extLst>
              <a:ext uri="{FF2B5EF4-FFF2-40B4-BE49-F238E27FC236}">
                <a16:creationId xmlns:a16="http://schemas.microsoft.com/office/drawing/2014/main" id="{07D9EE5F-782D-CCD1-B180-9AC8B1EEA163}"/>
              </a:ext>
            </a:extLst>
          </p:cNvPr>
          <p:cNvSpPr txBox="1"/>
          <p:nvPr/>
        </p:nvSpPr>
        <p:spPr>
          <a:xfrm>
            <a:off x="4272806" y="725302"/>
            <a:ext cx="3556704" cy="666849"/>
          </a:xfrm>
          <a:prstGeom prst="rect">
            <a:avLst/>
          </a:prstGeom>
          <a:noFill/>
        </p:spPr>
        <p:txBody>
          <a:bodyPr wrap="square" lIns="0" tIns="0" rIns="0" bIns="0" rtlCol="0" anchor="t" anchorCtr="0">
            <a:spAutoFit/>
          </a:bodyPr>
          <a:lstStyle/>
          <a:p>
            <a:pPr marL="0" marR="0" lvl="0" indent="0" algn="ctr" defTabSz="914423" rtl="0" eaLnBrk="1" fontAlgn="auto" latinLnBrk="0" hangingPunct="1">
              <a:lnSpc>
                <a:spcPct val="100000"/>
              </a:lnSpc>
              <a:spcBef>
                <a:spcPts val="200"/>
              </a:spcBef>
              <a:spcAft>
                <a:spcPts val="0"/>
              </a:spcAft>
              <a:buClrTx/>
              <a:buSzTx/>
              <a:buFontTx/>
              <a:buNone/>
              <a:tabLst/>
              <a:defRPr/>
            </a:pPr>
            <a:r>
              <a:rPr lang="en-US" sz="1600" b="1" spc="10" dirty="0">
                <a:solidFill>
                  <a:srgbClr val="00B0F0"/>
                </a:solidFill>
                <a:latin typeface="Lato Black"/>
              </a:rPr>
              <a:t>THE</a:t>
            </a:r>
            <a:r>
              <a:rPr kumimoji="0" lang="en-US" sz="1600" b="1" i="0" u="none" strike="noStrike" kern="1200" cap="none" spc="10" normalizeH="0" baseline="0" noProof="0" dirty="0">
                <a:ln>
                  <a:noFill/>
                </a:ln>
                <a:solidFill>
                  <a:srgbClr val="00B0F0"/>
                </a:solidFill>
                <a:effectLst/>
                <a:uLnTx/>
                <a:uFillTx/>
                <a:latin typeface="Lato Black"/>
                <a:ea typeface="+mn-ea"/>
                <a:cs typeface="+mn-cs"/>
              </a:rPr>
              <a:t> LEADER </a:t>
            </a:r>
            <a:r>
              <a:rPr kumimoji="0" lang="en-US" sz="1600" b="0" i="0" u="none" strike="noStrike" kern="1200" cap="none" spc="10" normalizeH="0" baseline="0" noProof="0" dirty="0">
                <a:ln>
                  <a:noFill/>
                </a:ln>
                <a:solidFill>
                  <a:srgbClr val="00B0F0"/>
                </a:solidFill>
                <a:effectLst/>
                <a:uLnTx/>
                <a:uFillTx/>
                <a:latin typeface="Lato Black"/>
                <a:ea typeface="+mn-ea"/>
                <a:cs typeface="+mn-cs"/>
              </a:rPr>
              <a:t>2024</a:t>
            </a:r>
            <a:r>
              <a:rPr kumimoji="0" lang="en-US" sz="1600" b="0" i="0" u="none" strike="noStrike" kern="1200" cap="none" spc="0" normalizeH="0" baseline="0" noProof="0" dirty="0">
                <a:ln>
                  <a:noFill/>
                </a:ln>
                <a:solidFill>
                  <a:srgbClr val="00B0F0"/>
                </a:solidFill>
                <a:effectLst/>
                <a:uLnTx/>
                <a:uFillTx/>
                <a:latin typeface="Times"/>
                <a:ea typeface="+mn-ea"/>
                <a:cs typeface="+mn-cs"/>
              </a:rPr>
              <a:t> </a:t>
            </a:r>
            <a:endParaRPr kumimoji="0" lang="en-US" sz="1600" b="0" i="0" u="none" strike="noStrike" kern="1200" cap="none" spc="10" normalizeH="0" baseline="0" noProof="0" dirty="0">
              <a:ln>
                <a:noFill/>
              </a:ln>
              <a:solidFill>
                <a:srgbClr val="00B0F0"/>
              </a:solidFill>
              <a:effectLst/>
              <a:uLnTx/>
              <a:uFillTx/>
              <a:latin typeface="Lato Black"/>
              <a:ea typeface="+mn-ea"/>
              <a:cs typeface="+mn-cs"/>
            </a:endParaRPr>
          </a:p>
          <a:p>
            <a:pPr marL="0" marR="0" lvl="0" indent="0" algn="ctr" defTabSz="914423"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dirty="0">
                <a:ln>
                  <a:noFill/>
                </a:ln>
                <a:solidFill>
                  <a:srgbClr val="80AA35"/>
                </a:solidFill>
                <a:effectLst/>
                <a:uLnTx/>
                <a:uFillTx/>
                <a:latin typeface="Lato"/>
                <a:ea typeface="+mn-ea"/>
                <a:cs typeface="+mn-cs"/>
              </a:rPr>
              <a:t>Furthest in Vision, Highest in Execution</a:t>
            </a:r>
          </a:p>
          <a:p>
            <a:pPr marL="0" marR="0" lvl="0" indent="0" algn="ctr" defTabSz="914423"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Lato"/>
                <a:ea typeface="+mn-ea"/>
                <a:cs typeface="+mn-cs"/>
              </a:rPr>
              <a:t>Enterprise Wired &amp; Wireless LAN Infrastructure</a:t>
            </a:r>
          </a:p>
        </p:txBody>
      </p:sp>
      <p:sp>
        <p:nvSpPr>
          <p:cNvPr id="3" name="Rectangle 2">
            <a:extLst>
              <a:ext uri="{FF2B5EF4-FFF2-40B4-BE49-F238E27FC236}">
                <a16:creationId xmlns:a16="http://schemas.microsoft.com/office/drawing/2014/main" id="{E8FFAD7B-BBD7-696C-309E-359DEE1138F3}"/>
              </a:ext>
            </a:extLst>
          </p:cNvPr>
          <p:cNvSpPr/>
          <p:nvPr/>
        </p:nvSpPr>
        <p:spPr>
          <a:xfrm>
            <a:off x="4252380" y="5675144"/>
            <a:ext cx="7274400" cy="515526"/>
          </a:xfrm>
          <a:prstGeom prst="rect">
            <a:avLst/>
          </a:prstGeom>
        </p:spPr>
        <p:txBody>
          <a:bodyPr wrap="square" lIns="0" tIns="0" rIns="0" bIns="0" anchor="b" anchorCtr="0">
            <a:spAutoFit/>
          </a:bodyPr>
          <a:lstStyle/>
          <a:p>
            <a:pPr marL="0" marR="0" lvl="0" indent="0" algn="l" defTabSz="914377" rtl="0" eaLnBrk="1" fontAlgn="auto" latinLnBrk="0" hangingPunct="1">
              <a:lnSpc>
                <a:spcPct val="9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ato"/>
                <a:ea typeface="Lato" panose="020F0502020204030203" pitchFamily="34" charset="0"/>
                <a:cs typeface="Lato" panose="020F0502020204030203" pitchFamily="34" charset="0"/>
              </a:rPr>
              <a:t>Gartner Magic Quadrant for Indoor Location Services, Global, Tim Zimmerman, Annette Zimmermann, Nick Jones 28 February 2024.</a:t>
            </a:r>
          </a:p>
          <a:p>
            <a:pPr marL="0" marR="0" lvl="0" indent="0" algn="l" defTabSz="914377" rtl="0" eaLnBrk="1" fontAlgn="auto" latinLnBrk="0" hangingPunct="1">
              <a:lnSpc>
                <a:spcPct val="95000"/>
              </a:lnSpc>
              <a:spcBef>
                <a:spcPts val="0"/>
              </a:spcBef>
              <a:spcAft>
                <a:spcPts val="200"/>
              </a:spcAft>
              <a:buClrTx/>
              <a:buSzTx/>
              <a:buFontTx/>
              <a:buNone/>
              <a:tabLst/>
              <a:defRPr/>
            </a:pPr>
            <a:r>
              <a:rPr kumimoji="0" lang="en-US" sz="500" b="0" i="0" u="none" strike="noStrike" kern="1200" cap="none" spc="0" normalizeH="0" baseline="0" noProof="0">
                <a:ln>
                  <a:noFill/>
                </a:ln>
                <a:solidFill>
                  <a:srgbClr val="FFFFFF"/>
                </a:solidFill>
                <a:effectLst/>
                <a:uLnTx/>
                <a:uFillTx/>
                <a:latin typeface="Lato"/>
                <a:ea typeface="Lato" panose="020F0502020204030203" pitchFamily="34" charset="0"/>
                <a:cs typeface="Lato" panose="020F0502020204030203" pitchFamily="34" charset="0"/>
              </a:rPr>
              <a:t>Gartner Magic Quadrant for Enterprise Wired and Wireless LAN Infrastructure, Tim Zimmerman, Christian Canales, Nauman Raja, Mike Leibovitz 6 March 2024.</a:t>
            </a:r>
          </a:p>
          <a:p>
            <a:pPr marL="0" marR="0" lvl="0" indent="0" algn="l" defTabSz="914377" rtl="0" eaLnBrk="1" fontAlgn="auto" latinLnBrk="0" hangingPunct="1">
              <a:lnSpc>
                <a:spcPct val="95000"/>
              </a:lnSpc>
              <a:spcBef>
                <a:spcPts val="0"/>
              </a:spcBef>
              <a:spcAft>
                <a:spcPts val="200"/>
              </a:spcAft>
              <a:buClrTx/>
              <a:buSzTx/>
              <a:buFontTx/>
              <a:buNone/>
              <a:tabLst/>
              <a:defRPr/>
            </a:pPr>
            <a:r>
              <a:rPr kumimoji="0" lang="en-US" sz="500" b="0" i="0" u="none" strike="noStrike" kern="1200" cap="none" spc="0" normalizeH="0" baseline="0" noProof="0">
                <a:ln>
                  <a:noFill/>
                </a:ln>
                <a:solidFill>
                  <a:srgbClr val="FFFFFF"/>
                </a:solidFill>
                <a:effectLst/>
                <a:uLnTx/>
                <a:uFillTx/>
                <a:latin typeface="Lato"/>
                <a:ea typeface="Lato" panose="020F0502020204030203" pitchFamily="34" charset="0"/>
                <a:cs typeface="Lato" panose="020F0502020204030203" pitchFamily="34" charset="0"/>
              </a:rPr>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a:p>
            <a:pPr marL="0" marR="0" lvl="0" indent="0" algn="l" defTabSz="914377" rtl="0" eaLnBrk="1" fontAlgn="auto" latinLnBrk="0" hangingPunct="1">
              <a:lnSpc>
                <a:spcPct val="95000"/>
              </a:lnSpc>
              <a:spcBef>
                <a:spcPts val="0"/>
              </a:spcBef>
              <a:spcAft>
                <a:spcPts val="200"/>
              </a:spcAft>
              <a:buClrTx/>
              <a:buSzTx/>
              <a:buFontTx/>
              <a:buNone/>
              <a:tabLst/>
              <a:defRPr/>
            </a:pPr>
            <a:r>
              <a:rPr kumimoji="0" lang="en-US" sz="500" b="0" i="0" u="none" strike="noStrike" kern="1200" cap="none" spc="0" normalizeH="0" baseline="0" noProof="0">
                <a:ln>
                  <a:noFill/>
                </a:ln>
                <a:solidFill>
                  <a:srgbClr val="FFFFFF"/>
                </a:solidFill>
                <a:effectLst/>
                <a:uLnTx/>
                <a:uFillTx/>
                <a:latin typeface="Lato"/>
                <a:ea typeface="Lato" panose="020F0502020204030203" pitchFamily="34" charset="0"/>
                <a:cs typeface="Lato" panose="020F0502020204030203" pitchFamily="34" charset="0"/>
              </a:rPr>
              <a:t>GARTNER is a registered trademark and service mark of Gartner, Inc. and/or its affiliates in the U.S. and internationally, and MAGIC QUADRANT is a registered trademark of Gartner, Inc. and/or its affiliates and are used herein with permission. All rights reserved.</a:t>
            </a:r>
          </a:p>
          <a:p>
            <a:pPr marL="0" marR="0" lvl="0" indent="0" algn="l" defTabSz="914377" rtl="0" eaLnBrk="1" fontAlgn="auto" latinLnBrk="0" hangingPunct="1">
              <a:lnSpc>
                <a:spcPct val="95000"/>
              </a:lnSpc>
              <a:spcBef>
                <a:spcPts val="0"/>
              </a:spcBef>
              <a:spcAft>
                <a:spcPts val="200"/>
              </a:spcAft>
              <a:buClrTx/>
              <a:buSzTx/>
              <a:buFontTx/>
              <a:buNone/>
              <a:tabLst/>
              <a:defRPr/>
            </a:pPr>
            <a:r>
              <a:rPr kumimoji="0" lang="en-US" sz="500" b="0" i="0" u="none" strike="noStrike" kern="1200" cap="none" spc="0" normalizeH="0" baseline="0" noProof="0">
                <a:ln>
                  <a:noFill/>
                </a:ln>
                <a:solidFill>
                  <a:srgbClr val="FFFFFF"/>
                </a:solidFill>
                <a:effectLst/>
                <a:uLnTx/>
                <a:uFillTx/>
                <a:latin typeface="Lato"/>
                <a:ea typeface="Lato" panose="020F0502020204030203" pitchFamily="34" charset="0"/>
                <a:cs typeface="Lato" panose="020F0502020204030203" pitchFamily="34" charset="0"/>
              </a:rPr>
              <a:t>This graphic was published by Gartner, Inc. as part of a larger research document and should be evaluated in the context of the entire document. The Gartner document is available upon request from Juniper Networks.</a:t>
            </a:r>
          </a:p>
        </p:txBody>
      </p:sp>
      <p:sp>
        <p:nvSpPr>
          <p:cNvPr id="21" name="TextBox 20">
            <a:extLst>
              <a:ext uri="{FF2B5EF4-FFF2-40B4-BE49-F238E27FC236}">
                <a16:creationId xmlns:a16="http://schemas.microsoft.com/office/drawing/2014/main" id="{27141F64-34E6-CF7B-D703-8689CBA9243F}"/>
              </a:ext>
            </a:extLst>
          </p:cNvPr>
          <p:cNvSpPr txBox="1"/>
          <p:nvPr/>
        </p:nvSpPr>
        <p:spPr>
          <a:xfrm>
            <a:off x="8379188" y="950682"/>
            <a:ext cx="3100874" cy="456535"/>
          </a:xfrm>
          <a:prstGeom prst="rect">
            <a:avLst/>
          </a:prstGeom>
          <a:noFill/>
        </p:spPr>
        <p:txBody>
          <a:bodyPr wrap="square" lIns="0" tIns="0" rIns="0" bIns="0" rtlCol="0" anchor="t" anchorCtr="0">
            <a:spAutoFit/>
          </a:bodyPr>
          <a:lstStyle/>
          <a:p>
            <a:pPr marL="0" marR="0" lvl="0" indent="0" algn="ctr" defTabSz="914423" rtl="0" eaLnBrk="1" fontAlgn="auto" latinLnBrk="0" hangingPunct="1">
              <a:lnSpc>
                <a:spcPct val="100000"/>
              </a:lnSpc>
              <a:spcBef>
                <a:spcPts val="200"/>
              </a:spcBef>
              <a:spcAft>
                <a:spcPts val="0"/>
              </a:spcAft>
              <a:buClrTx/>
              <a:buSzTx/>
              <a:buFontTx/>
              <a:buNone/>
              <a:tabLst/>
              <a:defRPr/>
            </a:pPr>
            <a:r>
              <a:rPr kumimoji="0" lang="en-US" sz="1600" b="1" i="0" u="none" strike="noStrike" kern="1200" cap="none" spc="10" normalizeH="0" baseline="0" noProof="0">
                <a:ln>
                  <a:noFill/>
                </a:ln>
                <a:solidFill>
                  <a:srgbClr val="00B0F0"/>
                </a:solidFill>
                <a:effectLst/>
                <a:uLnTx/>
                <a:uFillTx/>
                <a:latin typeface="Lato Black"/>
                <a:ea typeface="+mn-ea"/>
                <a:cs typeface="+mn-cs"/>
              </a:rPr>
              <a:t>A LEADER </a:t>
            </a:r>
            <a:r>
              <a:rPr kumimoji="0" lang="en-US" sz="1600" b="0" i="0" u="none" strike="noStrike" kern="1200" cap="none" spc="10" normalizeH="0" baseline="0" noProof="0">
                <a:ln>
                  <a:noFill/>
                </a:ln>
                <a:solidFill>
                  <a:srgbClr val="00B0F0"/>
                </a:solidFill>
                <a:effectLst/>
                <a:uLnTx/>
                <a:uFillTx/>
                <a:latin typeface="Lato Black"/>
                <a:ea typeface="+mn-ea"/>
                <a:cs typeface="+mn-cs"/>
              </a:rPr>
              <a:t>2024</a:t>
            </a:r>
          </a:p>
          <a:p>
            <a:pPr marL="0" marR="0" lvl="0" indent="0" algn="ctr" defTabSz="914423"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Lato"/>
                <a:ea typeface="+mn-ea"/>
                <a:cs typeface="+mn-cs"/>
              </a:rPr>
              <a:t>Indoor Location Services</a:t>
            </a:r>
          </a:p>
        </p:txBody>
      </p:sp>
      <p:sp>
        <p:nvSpPr>
          <p:cNvPr id="7" name="TextBox 6">
            <a:extLst>
              <a:ext uri="{FF2B5EF4-FFF2-40B4-BE49-F238E27FC236}">
                <a16:creationId xmlns:a16="http://schemas.microsoft.com/office/drawing/2014/main" id="{FF520D18-4A24-FA79-6101-CE5BE8A38256}"/>
              </a:ext>
            </a:extLst>
          </p:cNvPr>
          <p:cNvSpPr txBox="1"/>
          <p:nvPr/>
        </p:nvSpPr>
        <p:spPr>
          <a:xfrm>
            <a:off x="434238" y="2737720"/>
            <a:ext cx="2742802" cy="492443"/>
          </a:xfrm>
          <a:prstGeom prst="rect">
            <a:avLst/>
          </a:prstGeom>
          <a:noFill/>
        </p:spPr>
        <p:txBody>
          <a:bodyPr wrap="square" lIns="0" tIns="0" rIns="0" bIns="0" rtlCol="0" anchor="t" anchorCtr="0">
            <a:spAutoFit/>
          </a:bodyPr>
          <a:lstStyle/>
          <a:p>
            <a:pPr marL="0" marR="0" lvl="0" indent="0" algn="l" defTabSz="914423" rtl="0" eaLnBrk="1" fontAlgn="auto" latinLnBrk="0" hangingPunct="1">
              <a:lnSpc>
                <a:spcPct val="100000"/>
              </a:lnSpc>
              <a:spcBef>
                <a:spcPts val="4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Lato"/>
                <a:ea typeface="+mn-ea"/>
                <a:cs typeface="+mn-cs"/>
              </a:rPr>
              <a:t>3 of the 4 largest companies in the world have moved to… </a:t>
            </a:r>
          </a:p>
        </p:txBody>
      </p:sp>
      <p:pic>
        <p:nvPicPr>
          <p:cNvPr id="14" name="Picture 13">
            <a:extLst>
              <a:ext uri="{FF2B5EF4-FFF2-40B4-BE49-F238E27FC236}">
                <a16:creationId xmlns:a16="http://schemas.microsoft.com/office/drawing/2014/main" id="{54FA101F-8340-42F4-423D-9BDD7BD4F21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47649" y="1523041"/>
            <a:ext cx="3596882" cy="4013471"/>
          </a:xfrm>
          <a:prstGeom prst="rect">
            <a:avLst/>
          </a:prstGeom>
        </p:spPr>
      </p:pic>
      <p:pic>
        <p:nvPicPr>
          <p:cNvPr id="12" name="Picture 11" descr="A white and blue chart with blue dots&#10;&#10;Description automatically generated">
            <a:extLst>
              <a:ext uri="{FF2B5EF4-FFF2-40B4-BE49-F238E27FC236}">
                <a16:creationId xmlns:a16="http://schemas.microsoft.com/office/drawing/2014/main" id="{B9E1E969-5652-9A1B-EEA3-47E187BEDAB4}"/>
              </a:ext>
            </a:extLst>
          </p:cNvPr>
          <p:cNvPicPr>
            <a:picLocks noChangeAspect="1"/>
          </p:cNvPicPr>
          <p:nvPr/>
        </p:nvPicPr>
        <p:blipFill rotWithShape="1">
          <a:blip r:embed="rId4"/>
          <a:srcRect r="1472"/>
          <a:stretch/>
        </p:blipFill>
        <p:spPr>
          <a:xfrm>
            <a:off x="8171542" y="1523041"/>
            <a:ext cx="3568821" cy="4013471"/>
          </a:xfrm>
          <a:prstGeom prst="rect">
            <a:avLst/>
          </a:prstGeom>
        </p:spPr>
      </p:pic>
      <p:grpSp>
        <p:nvGrpSpPr>
          <p:cNvPr id="32" name="Group 31">
            <a:extLst>
              <a:ext uri="{FF2B5EF4-FFF2-40B4-BE49-F238E27FC236}">
                <a16:creationId xmlns:a16="http://schemas.microsoft.com/office/drawing/2014/main" id="{C4051F31-AE24-E758-5797-4A82C834A8C8}"/>
              </a:ext>
            </a:extLst>
          </p:cNvPr>
          <p:cNvGrpSpPr/>
          <p:nvPr/>
        </p:nvGrpSpPr>
        <p:grpSpPr>
          <a:xfrm>
            <a:off x="7551162" y="190398"/>
            <a:ext cx="916975" cy="406804"/>
            <a:chOff x="636663" y="1308193"/>
            <a:chExt cx="1955827" cy="867678"/>
          </a:xfrm>
          <a:solidFill>
            <a:srgbClr val="FFFFFF"/>
          </a:solidFill>
        </p:grpSpPr>
        <p:pic>
          <p:nvPicPr>
            <p:cNvPr id="16" name="Graphic 15">
              <a:extLst>
                <a:ext uri="{FF2B5EF4-FFF2-40B4-BE49-F238E27FC236}">
                  <a16:creationId xmlns:a16="http://schemas.microsoft.com/office/drawing/2014/main" id="{5B07DA3A-00F5-0985-7980-2B70C52922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6663" y="1308193"/>
              <a:ext cx="1908421" cy="434438"/>
            </a:xfrm>
            <a:prstGeom prst="rect">
              <a:avLst/>
            </a:prstGeom>
          </p:spPr>
        </p:pic>
        <p:pic>
          <p:nvPicPr>
            <p:cNvPr id="24" name="Graphic 23">
              <a:extLst>
                <a:ext uri="{FF2B5EF4-FFF2-40B4-BE49-F238E27FC236}">
                  <a16:creationId xmlns:a16="http://schemas.microsoft.com/office/drawing/2014/main" id="{DE5188A7-B6DE-CB2C-4B0A-006FC037A5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8592" y="1945464"/>
              <a:ext cx="1923898" cy="230407"/>
            </a:xfrm>
            <a:prstGeom prst="rect">
              <a:avLst/>
            </a:prstGeom>
          </p:spPr>
        </p:pic>
      </p:grpSp>
      <p:pic>
        <p:nvPicPr>
          <p:cNvPr id="34" name="Graphic 33">
            <a:extLst>
              <a:ext uri="{FF2B5EF4-FFF2-40B4-BE49-F238E27FC236}">
                <a16:creationId xmlns:a16="http://schemas.microsoft.com/office/drawing/2014/main" id="{8412CD7E-7362-201C-9833-1D76DDED74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0600" y="3452887"/>
            <a:ext cx="2922357" cy="642033"/>
          </a:xfrm>
          <a:prstGeom prst="rect">
            <a:avLst/>
          </a:prstGeom>
        </p:spPr>
      </p:pic>
    </p:spTree>
    <p:extLst>
      <p:ext uri="{BB962C8B-B14F-4D97-AF65-F5344CB8AC3E}">
        <p14:creationId xmlns:p14="http://schemas.microsoft.com/office/powerpoint/2010/main" val="393656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752FEE-D755-484E-B903-DDBF5F8D4DA1}"/>
              </a:ext>
            </a:extLst>
          </p:cNvPr>
          <p:cNvSpPr>
            <a:spLocks noGrp="1"/>
          </p:cNvSpPr>
          <p:nvPr>
            <p:ph type="title"/>
          </p:nvPr>
        </p:nvSpPr>
        <p:spPr>
          <a:xfrm>
            <a:off x="394856" y="125414"/>
            <a:ext cx="11471562" cy="705860"/>
          </a:xfrm>
        </p:spPr>
        <p:txBody>
          <a:bodyPr/>
          <a:lstStyle/>
          <a:p>
            <a:r>
              <a:rPr lang="en-US" sz="3200"/>
              <a:t>Enable IT to be Proactive: “Up” is Not the Same as “Good” </a:t>
            </a:r>
          </a:p>
        </p:txBody>
      </p:sp>
      <p:pic>
        <p:nvPicPr>
          <p:cNvPr id="2" name="XXXX_BobGlitch_v1">
            <a:hlinkClick r:id="" action="ppaction://media"/>
            <a:extLst>
              <a:ext uri="{FF2B5EF4-FFF2-40B4-BE49-F238E27FC236}">
                <a16:creationId xmlns:a16="http://schemas.microsoft.com/office/drawing/2014/main" id="{41B03AE4-7CB5-26E6-A728-DC0692EC853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531434" y="1146215"/>
            <a:ext cx="9129132" cy="5135137"/>
          </a:xfrm>
          <a:prstGeom prst="rect">
            <a:avLst/>
          </a:prstGeom>
        </p:spPr>
      </p:pic>
      <p:pic>
        <p:nvPicPr>
          <p:cNvPr id="5" name="Picture 4">
            <a:extLst>
              <a:ext uri="{FF2B5EF4-FFF2-40B4-BE49-F238E27FC236}">
                <a16:creationId xmlns:a16="http://schemas.microsoft.com/office/drawing/2014/main" id="{64157B38-A05A-7373-8628-C715FFE70428}"/>
              </a:ext>
            </a:extLst>
          </p:cNvPr>
          <p:cNvPicPr>
            <a:picLocks noChangeAspect="1"/>
          </p:cNvPicPr>
          <p:nvPr/>
        </p:nvPicPr>
        <p:blipFill>
          <a:blip r:embed="rId5"/>
          <a:stretch>
            <a:fillRect/>
          </a:stretch>
        </p:blipFill>
        <p:spPr>
          <a:xfrm>
            <a:off x="6096000" y="2518827"/>
            <a:ext cx="6019844" cy="3419500"/>
          </a:xfrm>
          <a:prstGeom prst="rect">
            <a:avLst/>
          </a:prstGeom>
        </p:spPr>
      </p:pic>
    </p:spTree>
    <p:extLst>
      <p:ext uri="{BB962C8B-B14F-4D97-AF65-F5344CB8AC3E}">
        <p14:creationId xmlns:p14="http://schemas.microsoft.com/office/powerpoint/2010/main" val="39165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44"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2"/>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D34602-7FB6-2800-AA33-A05808A7505D}"/>
              </a:ext>
            </a:extLst>
          </p:cNvPr>
          <p:cNvSpPr/>
          <p:nvPr/>
        </p:nvSpPr>
        <p:spPr>
          <a:xfrm>
            <a:off x="10185338" y="1614221"/>
            <a:ext cx="1646528" cy="571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Black"/>
                <a:ea typeface="+mn-ea"/>
                <a:cs typeface="+mn-cs"/>
              </a:rPr>
              <a:t>Conversational </a:t>
            </a:r>
            <a:br>
              <a:rPr kumimoji="0" lang="en-US" sz="1600" b="0" i="0" u="none" strike="noStrike" kern="1200" cap="none" spc="0" normalizeH="0" baseline="0" noProof="0">
                <a:ln>
                  <a:noFill/>
                </a:ln>
                <a:solidFill>
                  <a:srgbClr val="FFFFFF"/>
                </a:solidFill>
                <a:effectLst/>
                <a:uLnTx/>
                <a:uFillTx/>
                <a:latin typeface="Lato Black"/>
                <a:ea typeface="+mn-ea"/>
                <a:cs typeface="+mn-cs"/>
              </a:rPr>
            </a:br>
            <a:r>
              <a:rPr kumimoji="0" lang="en-US" sz="1600" b="0" i="0" u="none" strike="noStrike" kern="1200" cap="none" spc="0" normalizeH="0" baseline="0" noProof="0">
                <a:ln>
                  <a:noFill/>
                </a:ln>
                <a:solidFill>
                  <a:srgbClr val="FFFFFF"/>
                </a:solidFill>
                <a:effectLst/>
                <a:uLnTx/>
                <a:uFillTx/>
                <a:latin typeface="Lato Black"/>
                <a:ea typeface="+mn-ea"/>
                <a:cs typeface="+mn-cs"/>
              </a:rPr>
              <a:t>AI Interface</a:t>
            </a:r>
          </a:p>
        </p:txBody>
      </p:sp>
      <p:sp>
        <p:nvSpPr>
          <p:cNvPr id="13" name="Rectangle 12">
            <a:extLst>
              <a:ext uri="{FF2B5EF4-FFF2-40B4-BE49-F238E27FC236}">
                <a16:creationId xmlns:a16="http://schemas.microsoft.com/office/drawing/2014/main" id="{3D1F69EB-A374-C019-65E4-D90114F299DB}"/>
              </a:ext>
            </a:extLst>
          </p:cNvPr>
          <p:cNvSpPr/>
          <p:nvPr/>
        </p:nvSpPr>
        <p:spPr>
          <a:xfrm>
            <a:off x="8452000" y="1614221"/>
            <a:ext cx="1646528" cy="571500"/>
          </a:xfrm>
          <a:prstGeom prst="rect">
            <a:avLst/>
          </a:prstGeom>
          <a:solidFill>
            <a:srgbClr val="3E810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Black"/>
                <a:ea typeface="+mn-ea"/>
                <a:cs typeface="+mn-cs"/>
              </a:rPr>
              <a:t>Marvis </a:t>
            </a:r>
            <a:br>
              <a:rPr kumimoji="0" lang="en-US" sz="1600" b="0" i="0" u="none" strike="noStrike" kern="1200" cap="none" spc="0" normalizeH="0" baseline="0" noProof="0">
                <a:ln>
                  <a:noFill/>
                </a:ln>
                <a:solidFill>
                  <a:srgbClr val="FFFFFF"/>
                </a:solidFill>
                <a:effectLst/>
                <a:uLnTx/>
                <a:uFillTx/>
                <a:latin typeface="Lato Black"/>
                <a:ea typeface="+mn-ea"/>
                <a:cs typeface="+mn-cs"/>
              </a:rPr>
            </a:br>
            <a:r>
              <a:rPr kumimoji="0" lang="en-US" sz="1600" b="0" i="0" u="none" strike="noStrike" kern="1200" cap="none" spc="0" normalizeH="0" baseline="0" noProof="0">
                <a:ln>
                  <a:noFill/>
                </a:ln>
                <a:solidFill>
                  <a:srgbClr val="FFFFFF"/>
                </a:solidFill>
                <a:effectLst/>
                <a:uLnTx/>
                <a:uFillTx/>
                <a:latin typeface="Lato Black"/>
                <a:ea typeface="+mn-ea"/>
                <a:cs typeface="+mn-cs"/>
              </a:rPr>
              <a:t>Actions</a:t>
            </a:r>
          </a:p>
        </p:txBody>
      </p:sp>
      <p:cxnSp>
        <p:nvCxnSpPr>
          <p:cNvPr id="3" name="Straight Connector 2">
            <a:extLst>
              <a:ext uri="{FF2B5EF4-FFF2-40B4-BE49-F238E27FC236}">
                <a16:creationId xmlns:a16="http://schemas.microsoft.com/office/drawing/2014/main" id="{1D46239D-48E4-D364-6D7D-1AD5662123BF}"/>
              </a:ext>
            </a:extLst>
          </p:cNvPr>
          <p:cNvCxnSpPr>
            <a:cxnSpLocks/>
          </p:cNvCxnSpPr>
          <p:nvPr/>
        </p:nvCxnSpPr>
        <p:spPr>
          <a:xfrm>
            <a:off x="8151223" y="2186001"/>
            <a:ext cx="4040777" cy="0"/>
          </a:xfrm>
          <a:prstGeom prst="line">
            <a:avLst/>
          </a:prstGeom>
          <a:ln w="28575">
            <a:solidFill>
              <a:srgbClr val="3E810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5D12F53-4FCC-43CB-99EC-0FAA2B2AAB66}"/>
              </a:ext>
            </a:extLst>
          </p:cNvPr>
          <p:cNvSpPr txBox="1"/>
          <p:nvPr/>
        </p:nvSpPr>
        <p:spPr>
          <a:xfrm>
            <a:off x="8690990" y="3273838"/>
            <a:ext cx="3204919" cy="2831544"/>
          </a:xfrm>
          <a:prstGeom prst="rect">
            <a:avLst/>
          </a:prstGeom>
          <a:noFill/>
        </p:spPr>
        <p:txBody>
          <a:bodyPr wrap="square" lIns="0" tIns="0" rIns="0" bIns="0" rtlCol="0">
            <a:spAutoFit/>
          </a:bodyPr>
          <a:lstStyle/>
          <a:p>
            <a:pPr marL="285750" marR="0" lvl="2" indent="-285750" algn="l" defTabSz="914377" rtl="0" eaLnBrk="1" fontAlgn="auto" latinLnBrk="0" hangingPunct="1">
              <a:lnSpc>
                <a:spcPct val="100000"/>
              </a:lnSpc>
              <a:spcBef>
                <a:spcPts val="1200"/>
              </a:spcBef>
              <a:spcAft>
                <a:spcPts val="0"/>
              </a:spcAft>
              <a:buClrTx/>
              <a:buSzTx/>
              <a:buFont typeface="Wingdings" pitchFamily="2" charset="2"/>
              <a:buChar char="ü"/>
              <a:tabLst/>
              <a:defRPr/>
            </a:pPr>
            <a:r>
              <a:rPr kumimoji="0" lang="en-US" sz="1600" b="0" i="0" u="none" strike="noStrike" kern="1200" cap="none" spc="0" normalizeH="0" baseline="0" noProof="0">
                <a:ln>
                  <a:noFill/>
                </a:ln>
                <a:solidFill>
                  <a:srgbClr val="FFFFFF"/>
                </a:solidFill>
                <a:effectLst/>
                <a:uLnTx/>
                <a:uFillTx/>
                <a:latin typeface="Lato"/>
                <a:ea typeface="Lato"/>
                <a:cs typeface="Lato"/>
              </a:rPr>
              <a:t>NLU/NLP simplifies how IT interacts with system.</a:t>
            </a:r>
          </a:p>
          <a:p>
            <a:pPr marL="285750" marR="0" lvl="2" indent="-285750" algn="l" defTabSz="914377" rtl="0" eaLnBrk="1" fontAlgn="auto" latinLnBrk="0" hangingPunct="1">
              <a:lnSpc>
                <a:spcPct val="100000"/>
              </a:lnSpc>
              <a:spcBef>
                <a:spcPts val="1200"/>
              </a:spcBef>
              <a:spcAft>
                <a:spcPts val="0"/>
              </a:spcAft>
              <a:buClrTx/>
              <a:buSzTx/>
              <a:buFont typeface="Wingdings" pitchFamily="2" charset="2"/>
              <a:buChar char="ü"/>
              <a:tabLst/>
              <a:defRPr/>
            </a:pPr>
            <a:r>
              <a:rPr kumimoji="0" lang="en-US" sz="1600" b="0" i="0" u="none" strike="noStrike" kern="1200" cap="none" spc="0" normalizeH="0" baseline="0" noProof="0">
                <a:ln>
                  <a:noFill/>
                </a:ln>
                <a:solidFill>
                  <a:srgbClr val="FFFFFF"/>
                </a:solidFill>
                <a:effectLst/>
                <a:uLnTx/>
                <a:uFillTx/>
                <a:latin typeface="Lato"/>
                <a:ea typeface="Lato"/>
                <a:cs typeface="Lato"/>
              </a:rPr>
              <a:t>Proactive recommended actions to identify/fix problems.</a:t>
            </a:r>
          </a:p>
          <a:p>
            <a:pPr marL="285750" marR="0" lvl="2" indent="-285750" algn="l" defTabSz="914377" rtl="0" eaLnBrk="1" fontAlgn="auto" latinLnBrk="0" hangingPunct="1">
              <a:lnSpc>
                <a:spcPct val="100000"/>
              </a:lnSpc>
              <a:spcBef>
                <a:spcPts val="1200"/>
              </a:spcBef>
              <a:spcAft>
                <a:spcPts val="0"/>
              </a:spcAft>
              <a:buClrTx/>
              <a:buSzTx/>
              <a:buFont typeface="Wingdings" pitchFamily="2" charset="2"/>
              <a:buChar char="ü"/>
              <a:tabLst/>
              <a:defRPr/>
            </a:pPr>
            <a:r>
              <a:rPr kumimoji="0" lang="en-US" sz="1600" b="0" i="0" u="none" strike="noStrike" kern="1200" cap="none" spc="0" normalizeH="0" baseline="0" noProof="0">
                <a:ln>
                  <a:noFill/>
                </a:ln>
                <a:solidFill>
                  <a:srgbClr val="FFFFFF"/>
                </a:solidFill>
                <a:effectLst/>
                <a:uLnTx/>
                <a:uFillTx/>
                <a:latin typeface="Lato"/>
                <a:ea typeface="Lato"/>
                <a:cs typeface="Lato"/>
              </a:rPr>
              <a:t>Self-driving network operations.</a:t>
            </a:r>
          </a:p>
          <a:p>
            <a:pPr marL="285750" marR="0" lvl="2" indent="-285750" algn="l" defTabSz="914377" rtl="0" eaLnBrk="1" fontAlgn="auto" latinLnBrk="0" hangingPunct="1">
              <a:lnSpc>
                <a:spcPct val="100000"/>
              </a:lnSpc>
              <a:spcBef>
                <a:spcPts val="1200"/>
              </a:spcBef>
              <a:spcAft>
                <a:spcPts val="0"/>
              </a:spcAft>
              <a:buClrTx/>
              <a:buSzTx/>
              <a:buFont typeface="Wingdings" pitchFamily="2" charset="2"/>
              <a:buChar char="ü"/>
              <a:tabLst/>
              <a:defRPr/>
            </a:pPr>
            <a:r>
              <a:rPr kumimoji="0" lang="en-US" sz="1600" b="0" i="0" u="none" strike="noStrike" kern="1200" cap="none" spc="0" normalizeH="0" baseline="0" noProof="0">
                <a:ln>
                  <a:noFill/>
                </a:ln>
                <a:solidFill>
                  <a:srgbClr val="FFFFFF"/>
                </a:solidFill>
                <a:effectLst/>
                <a:uLnTx/>
                <a:uFillTx/>
                <a:latin typeface="Lato"/>
                <a:ea typeface="Lato"/>
                <a:cs typeface="Lato"/>
              </a:rPr>
              <a:t>Streamline helpdesk and IT ops.</a:t>
            </a:r>
          </a:p>
          <a:p>
            <a:pPr marL="285750" marR="0" lvl="2" indent="-285750" algn="l" defTabSz="914377" rtl="0" eaLnBrk="1" fontAlgn="auto" latinLnBrk="0" hangingPunct="1">
              <a:lnSpc>
                <a:spcPct val="100000"/>
              </a:lnSpc>
              <a:spcBef>
                <a:spcPts val="1200"/>
              </a:spcBef>
              <a:spcAft>
                <a:spcPts val="0"/>
              </a:spcAft>
              <a:buClrTx/>
              <a:buSzTx/>
              <a:buFont typeface="Wingdings" pitchFamily="2" charset="2"/>
              <a:buChar char="ü"/>
              <a:tabLst/>
              <a:defRPr/>
            </a:pPr>
            <a:r>
              <a:rPr kumimoji="0" lang="en-US" sz="1600" b="0" i="0" u="none" strike="noStrike" kern="1200" cap="none" spc="0" normalizeH="0" baseline="0" noProof="0" err="1">
                <a:ln>
                  <a:noFill/>
                </a:ln>
                <a:solidFill>
                  <a:srgbClr val="FFFFFF"/>
                </a:solidFill>
                <a:effectLst/>
                <a:uLnTx/>
                <a:uFillTx/>
                <a:latin typeface="Lato"/>
                <a:ea typeface="Lato"/>
                <a:cs typeface="Lato"/>
              </a:rPr>
              <a:t>GenAI</a:t>
            </a:r>
            <a:r>
              <a:rPr kumimoji="0" lang="en-US" sz="1600" b="0" i="0" u="none" strike="noStrike" kern="1200" cap="none" spc="0" normalizeH="0" baseline="0" noProof="0">
                <a:ln>
                  <a:noFill/>
                </a:ln>
                <a:solidFill>
                  <a:srgbClr val="FFFFFF"/>
                </a:solidFill>
                <a:effectLst/>
                <a:uLnTx/>
                <a:uFillTx/>
                <a:latin typeface="Lato"/>
                <a:ea typeface="Lato"/>
                <a:cs typeface="Lato"/>
              </a:rPr>
              <a:t>/LLM eliminates need to read through pages of instructions.</a:t>
            </a:r>
          </a:p>
        </p:txBody>
      </p:sp>
      <p:sp>
        <p:nvSpPr>
          <p:cNvPr id="7" name="Title 6">
            <a:extLst>
              <a:ext uri="{FF2B5EF4-FFF2-40B4-BE49-F238E27FC236}">
                <a16:creationId xmlns:a16="http://schemas.microsoft.com/office/drawing/2014/main" id="{DCF23317-F3BD-478E-8AFE-B3769A18E143}"/>
              </a:ext>
            </a:extLst>
          </p:cNvPr>
          <p:cNvSpPr>
            <a:spLocks noGrp="1"/>
          </p:cNvSpPr>
          <p:nvPr>
            <p:ph type="title"/>
          </p:nvPr>
        </p:nvSpPr>
        <p:spPr>
          <a:xfrm>
            <a:off x="604011" y="115057"/>
            <a:ext cx="11277178" cy="1108180"/>
          </a:xfrm>
        </p:spPr>
        <p:txBody>
          <a:bodyPr/>
          <a:lstStyle/>
          <a:p>
            <a:r>
              <a:rPr lang="en-US"/>
              <a:t>Marvis Virtual Network Assistant (VNA)</a:t>
            </a:r>
          </a:p>
        </p:txBody>
      </p:sp>
      <p:sp>
        <p:nvSpPr>
          <p:cNvPr id="9" name="Text Placeholder 8">
            <a:extLst>
              <a:ext uri="{FF2B5EF4-FFF2-40B4-BE49-F238E27FC236}">
                <a16:creationId xmlns:a16="http://schemas.microsoft.com/office/drawing/2014/main" id="{B9ADF285-FFBF-03B4-0C89-C8D439C36037}"/>
              </a:ext>
            </a:extLst>
          </p:cNvPr>
          <p:cNvSpPr>
            <a:spLocks noGrp="1"/>
          </p:cNvSpPr>
          <p:nvPr>
            <p:ph type="body" sz="quarter" idx="13"/>
          </p:nvPr>
        </p:nvSpPr>
        <p:spPr>
          <a:xfrm>
            <a:off x="621595" y="1324159"/>
            <a:ext cx="11277716" cy="460439"/>
          </a:xfrm>
        </p:spPr>
        <p:txBody>
          <a:bodyPr/>
          <a:lstStyle/>
          <a:p>
            <a:r>
              <a:rPr lang="en-US"/>
              <a:t>Best Automation, insight and end-to-end assurance.</a:t>
            </a:r>
          </a:p>
        </p:txBody>
      </p:sp>
      <p:pic>
        <p:nvPicPr>
          <p:cNvPr id="4" name="Picture 3">
            <a:extLst>
              <a:ext uri="{FF2B5EF4-FFF2-40B4-BE49-F238E27FC236}">
                <a16:creationId xmlns:a16="http://schemas.microsoft.com/office/drawing/2014/main" id="{EC933DFB-6DC0-19D2-50F8-85449389AB74}"/>
              </a:ext>
            </a:extLst>
          </p:cNvPr>
          <p:cNvPicPr>
            <a:picLocks noChangeAspect="1"/>
          </p:cNvPicPr>
          <p:nvPr/>
        </p:nvPicPr>
        <p:blipFill>
          <a:blip r:embed="rId3"/>
          <a:stretch>
            <a:fillRect/>
          </a:stretch>
        </p:blipFill>
        <p:spPr>
          <a:xfrm>
            <a:off x="9762144" y="2396710"/>
            <a:ext cx="722976" cy="695611"/>
          </a:xfrm>
          <a:prstGeom prst="rect">
            <a:avLst/>
          </a:prstGeom>
        </p:spPr>
      </p:pic>
      <p:grpSp>
        <p:nvGrpSpPr>
          <p:cNvPr id="11" name="Group 10">
            <a:extLst>
              <a:ext uri="{FF2B5EF4-FFF2-40B4-BE49-F238E27FC236}">
                <a16:creationId xmlns:a16="http://schemas.microsoft.com/office/drawing/2014/main" id="{E62179A8-10FC-8BA0-4C7A-0F31B443E96D}"/>
              </a:ext>
            </a:extLst>
          </p:cNvPr>
          <p:cNvGrpSpPr/>
          <p:nvPr/>
        </p:nvGrpSpPr>
        <p:grpSpPr>
          <a:xfrm>
            <a:off x="311082" y="2177144"/>
            <a:ext cx="8099252" cy="4408520"/>
            <a:chOff x="4833818" y="2511294"/>
            <a:chExt cx="7026088" cy="3824384"/>
          </a:xfrm>
        </p:grpSpPr>
        <p:pic>
          <p:nvPicPr>
            <p:cNvPr id="6" name="Picture 5">
              <a:extLst>
                <a:ext uri="{FF2B5EF4-FFF2-40B4-BE49-F238E27FC236}">
                  <a16:creationId xmlns:a16="http://schemas.microsoft.com/office/drawing/2014/main" id="{9329277F-E1D7-4388-3DAF-087ECBC3CDEF}"/>
                </a:ext>
              </a:extLst>
            </p:cNvPr>
            <p:cNvPicPr>
              <a:picLocks noChangeAspect="1"/>
            </p:cNvPicPr>
            <p:nvPr/>
          </p:nvPicPr>
          <p:blipFill>
            <a:blip r:embed="rId4"/>
            <a:stretch>
              <a:fillRect/>
            </a:stretch>
          </p:blipFill>
          <p:spPr>
            <a:xfrm>
              <a:off x="4833818" y="2511294"/>
              <a:ext cx="7026088" cy="3824384"/>
            </a:xfrm>
            <a:prstGeom prst="rect">
              <a:avLst/>
            </a:prstGeom>
          </p:spPr>
        </p:pic>
        <p:grpSp>
          <p:nvGrpSpPr>
            <p:cNvPr id="5" name="Group 4">
              <a:extLst>
                <a:ext uri="{FF2B5EF4-FFF2-40B4-BE49-F238E27FC236}">
                  <a16:creationId xmlns:a16="http://schemas.microsoft.com/office/drawing/2014/main" id="{B08B8543-1F68-4B3F-DAD2-386F951C3B8C}"/>
                </a:ext>
              </a:extLst>
            </p:cNvPr>
            <p:cNvGrpSpPr/>
            <p:nvPr/>
          </p:nvGrpSpPr>
          <p:grpSpPr>
            <a:xfrm>
              <a:off x="9533114" y="2511294"/>
              <a:ext cx="2326792" cy="3439142"/>
              <a:chOff x="8885088" y="1762760"/>
              <a:chExt cx="2471498" cy="3653027"/>
            </a:xfrm>
          </p:grpSpPr>
          <p:pic>
            <p:nvPicPr>
              <p:cNvPr id="8" name="Picture 7">
                <a:extLst>
                  <a:ext uri="{FF2B5EF4-FFF2-40B4-BE49-F238E27FC236}">
                    <a16:creationId xmlns:a16="http://schemas.microsoft.com/office/drawing/2014/main" id="{DA9AF102-2F39-C469-65DE-06AD24B95D32}"/>
                  </a:ext>
                </a:extLst>
              </p:cNvPr>
              <p:cNvPicPr>
                <a:picLocks noChangeAspect="1"/>
              </p:cNvPicPr>
              <p:nvPr/>
            </p:nvPicPr>
            <p:blipFill rotWithShape="1">
              <a:blip r:embed="rId5"/>
              <a:srcRect r="131"/>
              <a:stretch/>
            </p:blipFill>
            <p:spPr>
              <a:xfrm>
                <a:off x="8885088" y="1762760"/>
                <a:ext cx="2471498" cy="3653027"/>
              </a:xfrm>
              <a:prstGeom prst="round2SameRect">
                <a:avLst>
                  <a:gd name="adj1" fmla="val 1926"/>
                  <a:gd name="adj2" fmla="val 771"/>
                </a:avLst>
              </a:prstGeom>
              <a:ln>
                <a:noFill/>
              </a:ln>
              <a:effectLst>
                <a:outerShdw blurRad="215900" sx="101000" sy="101000" algn="tl" rotWithShape="0">
                  <a:srgbClr val="333333">
                    <a:alpha val="25000"/>
                  </a:srgbClr>
                </a:outerShdw>
              </a:effectLst>
            </p:spPr>
          </p:pic>
          <p:pic>
            <p:nvPicPr>
              <p:cNvPr id="10" name="Picture 2" descr="image alt">
                <a:extLst>
                  <a:ext uri="{FF2B5EF4-FFF2-40B4-BE49-F238E27FC236}">
                    <a16:creationId xmlns:a16="http://schemas.microsoft.com/office/drawing/2014/main" id="{2A8BE44A-827A-529B-12A7-1C56A6C5154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87" t="1398" r="3622" b="92448"/>
              <a:stretch/>
            </p:blipFill>
            <p:spPr bwMode="auto">
              <a:xfrm>
                <a:off x="8885088" y="1762760"/>
                <a:ext cx="2471498" cy="203511"/>
              </a:xfrm>
              <a:prstGeom prst="round2SameRect">
                <a:avLst>
                  <a:gd name="adj1" fmla="val 23897"/>
                  <a:gd name="adj2" fmla="val 0"/>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65737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E337294-1552-82CA-CD9C-CB24C97D6EB0}"/>
              </a:ext>
            </a:extLst>
          </p:cNvPr>
          <p:cNvGrpSpPr/>
          <p:nvPr/>
        </p:nvGrpSpPr>
        <p:grpSpPr>
          <a:xfrm>
            <a:off x="1634853" y="640079"/>
            <a:ext cx="7449551" cy="5683855"/>
            <a:chOff x="1613049" y="7319"/>
            <a:chExt cx="8968683" cy="6842922"/>
          </a:xfrm>
        </p:grpSpPr>
        <p:sp>
          <p:nvSpPr>
            <p:cNvPr id="4" name="Freeform: Shape 3">
              <a:extLst>
                <a:ext uri="{FF2B5EF4-FFF2-40B4-BE49-F238E27FC236}">
                  <a16:creationId xmlns:a16="http://schemas.microsoft.com/office/drawing/2014/main" id="{96154D68-2F3B-E996-84FE-33659132E30F}"/>
                </a:ext>
              </a:extLst>
            </p:cNvPr>
            <p:cNvSpPr/>
            <p:nvPr/>
          </p:nvSpPr>
          <p:spPr>
            <a:xfrm>
              <a:off x="1613049" y="7319"/>
              <a:ext cx="8968683" cy="6842922"/>
            </a:xfrm>
            <a:custGeom>
              <a:avLst/>
              <a:gdLst>
                <a:gd name="connsiteX0" fmla="*/ 7650952 w 8968683"/>
                <a:gd name="connsiteY0" fmla="*/ 4361234 h 6842922"/>
                <a:gd name="connsiteX1" fmla="*/ 6891814 w 8968683"/>
                <a:gd name="connsiteY1" fmla="*/ 4361234 h 6842922"/>
                <a:gd name="connsiteX2" fmla="*/ 6891814 w 8968683"/>
                <a:gd name="connsiteY2" fmla="*/ 4214852 h 6842922"/>
                <a:gd name="connsiteX3" fmla="*/ 7650952 w 8968683"/>
                <a:gd name="connsiteY3" fmla="*/ 4214852 h 6842922"/>
                <a:gd name="connsiteX4" fmla="*/ 7650952 w 8968683"/>
                <a:gd name="connsiteY4" fmla="*/ 4361234 h 6842922"/>
                <a:gd name="connsiteX5" fmla="*/ 1722697 w 8968683"/>
                <a:gd name="connsiteY5" fmla="*/ 6103620 h 6842922"/>
                <a:gd name="connsiteX6" fmla="*/ 2096411 w 8968683"/>
                <a:gd name="connsiteY6" fmla="*/ 6103620 h 6842922"/>
                <a:gd name="connsiteX7" fmla="*/ 2096411 w 8968683"/>
                <a:gd name="connsiteY7" fmla="*/ 5957238 h 6842922"/>
                <a:gd name="connsiteX8" fmla="*/ 1722697 w 8968683"/>
                <a:gd name="connsiteY8" fmla="*/ 5957238 h 6842922"/>
                <a:gd name="connsiteX9" fmla="*/ 1722697 w 8968683"/>
                <a:gd name="connsiteY9" fmla="*/ 6103620 h 6842922"/>
                <a:gd name="connsiteX10" fmla="*/ 146382 w 8968683"/>
                <a:gd name="connsiteY10" fmla="*/ 1821505 h 6842922"/>
                <a:gd name="connsiteX11" fmla="*/ 146382 w 8968683"/>
                <a:gd name="connsiteY11" fmla="*/ 146382 h 6842922"/>
                <a:gd name="connsiteX12" fmla="*/ 2820051 w 8968683"/>
                <a:gd name="connsiteY12" fmla="*/ 146382 h 6842922"/>
                <a:gd name="connsiteX13" fmla="*/ 2820051 w 8968683"/>
                <a:gd name="connsiteY13" fmla="*/ 0 h 6842922"/>
                <a:gd name="connsiteX14" fmla="*/ 0 w 8968683"/>
                <a:gd name="connsiteY14" fmla="*/ 0 h 6842922"/>
                <a:gd name="connsiteX15" fmla="*/ 0 w 8968683"/>
                <a:gd name="connsiteY15" fmla="*/ 1967887 h 6842922"/>
                <a:gd name="connsiteX16" fmla="*/ 146382 w 8968683"/>
                <a:gd name="connsiteY16" fmla="*/ 1967887 h 6842922"/>
                <a:gd name="connsiteX17" fmla="*/ 146382 w 8968683"/>
                <a:gd name="connsiteY17" fmla="*/ 5148331 h 6842922"/>
                <a:gd name="connsiteX18" fmla="*/ 292764 w 8968683"/>
                <a:gd name="connsiteY18" fmla="*/ 5148331 h 6842922"/>
                <a:gd name="connsiteX19" fmla="*/ 292764 w 8968683"/>
                <a:gd name="connsiteY19" fmla="*/ 1967887 h 6842922"/>
                <a:gd name="connsiteX20" fmla="*/ 1624914 w 8968683"/>
                <a:gd name="connsiteY20" fmla="*/ 1967887 h 6842922"/>
                <a:gd name="connsiteX21" fmla="*/ 1624914 w 8968683"/>
                <a:gd name="connsiteY21" fmla="*/ 1821505 h 6842922"/>
                <a:gd name="connsiteX22" fmla="*/ 146382 w 8968683"/>
                <a:gd name="connsiteY22" fmla="*/ 1821505 h 6842922"/>
                <a:gd name="connsiteX23" fmla="*/ 2755203 w 8968683"/>
                <a:gd name="connsiteY23" fmla="*/ 3459521 h 6842922"/>
                <a:gd name="connsiteX24" fmla="*/ 2755203 w 8968683"/>
                <a:gd name="connsiteY24" fmla="*/ 1821432 h 6842922"/>
                <a:gd name="connsiteX25" fmla="*/ 2064061 w 8968683"/>
                <a:gd name="connsiteY25" fmla="*/ 1821432 h 6842922"/>
                <a:gd name="connsiteX26" fmla="*/ 2064061 w 8968683"/>
                <a:gd name="connsiteY26" fmla="*/ 1967814 h 6842922"/>
                <a:gd name="connsiteX27" fmla="*/ 2608821 w 8968683"/>
                <a:gd name="connsiteY27" fmla="*/ 1967814 h 6842922"/>
                <a:gd name="connsiteX28" fmla="*/ 2608821 w 8968683"/>
                <a:gd name="connsiteY28" fmla="*/ 3459521 h 6842922"/>
                <a:gd name="connsiteX29" fmla="*/ 2755203 w 8968683"/>
                <a:gd name="connsiteY29" fmla="*/ 3459521 h 6842922"/>
                <a:gd name="connsiteX30" fmla="*/ 3423364 w 8968683"/>
                <a:gd name="connsiteY30" fmla="*/ 1321757 h 6842922"/>
                <a:gd name="connsiteX31" fmla="*/ 3423364 w 8968683"/>
                <a:gd name="connsiteY31" fmla="*/ 3459521 h 6842922"/>
                <a:gd name="connsiteX32" fmla="*/ 3569747 w 8968683"/>
                <a:gd name="connsiteY32" fmla="*/ 3459521 h 6842922"/>
                <a:gd name="connsiteX33" fmla="*/ 3569747 w 8968683"/>
                <a:gd name="connsiteY33" fmla="*/ 1967814 h 6842922"/>
                <a:gd name="connsiteX34" fmla="*/ 4114507 w 8968683"/>
                <a:gd name="connsiteY34" fmla="*/ 1967814 h 6842922"/>
                <a:gd name="connsiteX35" fmla="*/ 4114507 w 8968683"/>
                <a:gd name="connsiteY35" fmla="*/ 1821432 h 6842922"/>
                <a:gd name="connsiteX36" fmla="*/ 3569747 w 8968683"/>
                <a:gd name="connsiteY36" fmla="*/ 1821432 h 6842922"/>
                <a:gd name="connsiteX37" fmla="*/ 3569747 w 8968683"/>
                <a:gd name="connsiteY37" fmla="*/ 1321757 h 6842922"/>
                <a:gd name="connsiteX38" fmla="*/ 3423364 w 8968683"/>
                <a:gd name="connsiteY38" fmla="*/ 1321757 h 6842922"/>
                <a:gd name="connsiteX39" fmla="*/ 3423364 w 8968683"/>
                <a:gd name="connsiteY39" fmla="*/ 882611 h 6842922"/>
                <a:gd name="connsiteX40" fmla="*/ 3569747 w 8968683"/>
                <a:gd name="connsiteY40" fmla="*/ 882611 h 6842922"/>
                <a:gd name="connsiteX41" fmla="*/ 3569747 w 8968683"/>
                <a:gd name="connsiteY41" fmla="*/ 146382 h 6842922"/>
                <a:gd name="connsiteX42" fmla="*/ 3879564 w 8968683"/>
                <a:gd name="connsiteY42" fmla="*/ 146382 h 6842922"/>
                <a:gd name="connsiteX43" fmla="*/ 3879564 w 8968683"/>
                <a:gd name="connsiteY43" fmla="*/ 0 h 6842922"/>
                <a:gd name="connsiteX44" fmla="*/ 3113547 w 8968683"/>
                <a:gd name="connsiteY44" fmla="*/ 0 h 6842922"/>
                <a:gd name="connsiteX45" fmla="*/ 3113547 w 8968683"/>
                <a:gd name="connsiteY45" fmla="*/ 146382 h 6842922"/>
                <a:gd name="connsiteX46" fmla="*/ 3423364 w 8968683"/>
                <a:gd name="connsiteY46" fmla="*/ 146382 h 6842922"/>
                <a:gd name="connsiteX47" fmla="*/ 3423364 w 8968683"/>
                <a:gd name="connsiteY47" fmla="*/ 882611 h 6842922"/>
                <a:gd name="connsiteX48" fmla="*/ 2608821 w 8968683"/>
                <a:gd name="connsiteY48" fmla="*/ 4677347 h 6842922"/>
                <a:gd name="connsiteX49" fmla="*/ 2755203 w 8968683"/>
                <a:gd name="connsiteY49" fmla="*/ 4677347 h 6842922"/>
                <a:gd name="connsiteX50" fmla="*/ 2755203 w 8968683"/>
                <a:gd name="connsiteY50" fmla="*/ 3898667 h 6842922"/>
                <a:gd name="connsiteX51" fmla="*/ 2608821 w 8968683"/>
                <a:gd name="connsiteY51" fmla="*/ 3898667 h 6842922"/>
                <a:gd name="connsiteX52" fmla="*/ 2608821 w 8968683"/>
                <a:gd name="connsiteY52" fmla="*/ 4214779 h 6842922"/>
                <a:gd name="connsiteX53" fmla="*/ 1641748 w 8968683"/>
                <a:gd name="connsiteY53" fmla="*/ 4214779 h 6842922"/>
                <a:gd name="connsiteX54" fmla="*/ 1641748 w 8968683"/>
                <a:gd name="connsiteY54" fmla="*/ 4361161 h 6842922"/>
                <a:gd name="connsiteX55" fmla="*/ 2608821 w 8968683"/>
                <a:gd name="connsiteY55" fmla="*/ 4361161 h 6842922"/>
                <a:gd name="connsiteX56" fmla="*/ 2608821 w 8968683"/>
                <a:gd name="connsiteY56" fmla="*/ 4677273 h 6842922"/>
                <a:gd name="connsiteX57" fmla="*/ 3569747 w 8968683"/>
                <a:gd name="connsiteY57" fmla="*/ 4361234 h 6842922"/>
                <a:gd name="connsiteX58" fmla="*/ 6452668 w 8968683"/>
                <a:gd name="connsiteY58" fmla="*/ 4361234 h 6842922"/>
                <a:gd name="connsiteX59" fmla="*/ 6452668 w 8968683"/>
                <a:gd name="connsiteY59" fmla="*/ 4214852 h 6842922"/>
                <a:gd name="connsiteX60" fmla="*/ 6164076 w 8968683"/>
                <a:gd name="connsiteY60" fmla="*/ 4214852 h 6842922"/>
                <a:gd name="connsiteX61" fmla="*/ 6164076 w 8968683"/>
                <a:gd name="connsiteY61" fmla="*/ 2553416 h 6842922"/>
                <a:gd name="connsiteX62" fmla="*/ 6452668 w 8968683"/>
                <a:gd name="connsiteY62" fmla="*/ 2553416 h 6842922"/>
                <a:gd name="connsiteX63" fmla="*/ 6452668 w 8968683"/>
                <a:gd name="connsiteY63" fmla="*/ 2407034 h 6842922"/>
                <a:gd name="connsiteX64" fmla="*/ 6164076 w 8968683"/>
                <a:gd name="connsiteY64" fmla="*/ 2407034 h 6842922"/>
                <a:gd name="connsiteX65" fmla="*/ 6164076 w 8968683"/>
                <a:gd name="connsiteY65" fmla="*/ 146382 h 6842922"/>
                <a:gd name="connsiteX66" fmla="*/ 8092587 w 8968683"/>
                <a:gd name="connsiteY66" fmla="*/ 146382 h 6842922"/>
                <a:gd name="connsiteX67" fmla="*/ 8092587 w 8968683"/>
                <a:gd name="connsiteY67" fmla="*/ 292764 h 6842922"/>
                <a:gd name="connsiteX68" fmla="*/ 8238969 w 8968683"/>
                <a:gd name="connsiteY68" fmla="*/ 292764 h 6842922"/>
                <a:gd name="connsiteX69" fmla="*/ 8238969 w 8968683"/>
                <a:gd name="connsiteY69" fmla="*/ 0 h 6842922"/>
                <a:gd name="connsiteX70" fmla="*/ 4172402 w 8968683"/>
                <a:gd name="connsiteY70" fmla="*/ 0 h 6842922"/>
                <a:gd name="connsiteX71" fmla="*/ 4172402 w 8968683"/>
                <a:gd name="connsiteY71" fmla="*/ 146382 h 6842922"/>
                <a:gd name="connsiteX72" fmla="*/ 6017694 w 8968683"/>
                <a:gd name="connsiteY72" fmla="*/ 146382 h 6842922"/>
                <a:gd name="connsiteX73" fmla="*/ 6017694 w 8968683"/>
                <a:gd name="connsiteY73" fmla="*/ 1821505 h 6842922"/>
                <a:gd name="connsiteX74" fmla="*/ 4553727 w 8968683"/>
                <a:gd name="connsiteY74" fmla="*/ 1821505 h 6842922"/>
                <a:gd name="connsiteX75" fmla="*/ 4553727 w 8968683"/>
                <a:gd name="connsiteY75" fmla="*/ 1967887 h 6842922"/>
                <a:gd name="connsiteX76" fmla="*/ 6017694 w 8968683"/>
                <a:gd name="connsiteY76" fmla="*/ 1967887 h 6842922"/>
                <a:gd name="connsiteX77" fmla="*/ 6017694 w 8968683"/>
                <a:gd name="connsiteY77" fmla="*/ 4214852 h 6842922"/>
                <a:gd name="connsiteX78" fmla="*/ 3569820 w 8968683"/>
                <a:gd name="connsiteY78" fmla="*/ 4214852 h 6842922"/>
                <a:gd name="connsiteX79" fmla="*/ 3569820 w 8968683"/>
                <a:gd name="connsiteY79" fmla="*/ 3898740 h 6842922"/>
                <a:gd name="connsiteX80" fmla="*/ 3423438 w 8968683"/>
                <a:gd name="connsiteY80" fmla="*/ 3898740 h 6842922"/>
                <a:gd name="connsiteX81" fmla="*/ 3423438 w 8968683"/>
                <a:gd name="connsiteY81" fmla="*/ 4677420 h 6842922"/>
                <a:gd name="connsiteX82" fmla="*/ 3569820 w 8968683"/>
                <a:gd name="connsiteY82" fmla="*/ 4677420 h 6842922"/>
                <a:gd name="connsiteX83" fmla="*/ 3569820 w 8968683"/>
                <a:gd name="connsiteY83" fmla="*/ 4361308 h 6842922"/>
                <a:gd name="connsiteX84" fmla="*/ 8822301 w 8968683"/>
                <a:gd name="connsiteY84" fmla="*/ 4214852 h 6842922"/>
                <a:gd name="connsiteX85" fmla="*/ 8092587 w 8968683"/>
                <a:gd name="connsiteY85" fmla="*/ 4214852 h 6842922"/>
                <a:gd name="connsiteX86" fmla="*/ 8092587 w 8968683"/>
                <a:gd name="connsiteY86" fmla="*/ 4361234 h 6842922"/>
                <a:gd name="connsiteX87" fmla="*/ 8968683 w 8968683"/>
                <a:gd name="connsiteY87" fmla="*/ 4361234 h 6842922"/>
                <a:gd name="connsiteX88" fmla="*/ 8968683 w 8968683"/>
                <a:gd name="connsiteY88" fmla="*/ 4068470 h 6842922"/>
                <a:gd name="connsiteX89" fmla="*/ 8822301 w 8968683"/>
                <a:gd name="connsiteY89" fmla="*/ 4068470 h 6842922"/>
                <a:gd name="connsiteX90" fmla="*/ 8822301 w 8968683"/>
                <a:gd name="connsiteY90" fmla="*/ 4214852 h 6842922"/>
                <a:gd name="connsiteX91" fmla="*/ 8589114 w 8968683"/>
                <a:gd name="connsiteY91" fmla="*/ 5957238 h 6842922"/>
                <a:gd name="connsiteX92" fmla="*/ 4620989 w 8968683"/>
                <a:gd name="connsiteY92" fmla="*/ 5957238 h 6842922"/>
                <a:gd name="connsiteX93" fmla="*/ 4620989 w 8968683"/>
                <a:gd name="connsiteY93" fmla="*/ 4800381 h 6842922"/>
                <a:gd name="connsiteX94" fmla="*/ 4474607 w 8968683"/>
                <a:gd name="connsiteY94" fmla="*/ 4800381 h 6842922"/>
                <a:gd name="connsiteX95" fmla="*/ 4474607 w 8968683"/>
                <a:gd name="connsiteY95" fmla="*/ 6696541 h 6842922"/>
                <a:gd name="connsiteX96" fmla="*/ 3533224 w 8968683"/>
                <a:gd name="connsiteY96" fmla="*/ 6696541 h 6842922"/>
                <a:gd name="connsiteX97" fmla="*/ 3533224 w 8968683"/>
                <a:gd name="connsiteY97" fmla="*/ 6842923 h 6842922"/>
                <a:gd name="connsiteX98" fmla="*/ 4620989 w 8968683"/>
                <a:gd name="connsiteY98" fmla="*/ 6842923 h 6842922"/>
                <a:gd name="connsiteX99" fmla="*/ 4620989 w 8968683"/>
                <a:gd name="connsiteY99" fmla="*/ 6103620 h 6842922"/>
                <a:gd name="connsiteX100" fmla="*/ 8735497 w 8968683"/>
                <a:gd name="connsiteY100" fmla="*/ 6103620 h 6842922"/>
                <a:gd name="connsiteX101" fmla="*/ 8735497 w 8968683"/>
                <a:gd name="connsiteY101" fmla="*/ 5810856 h 6842922"/>
                <a:gd name="connsiteX102" fmla="*/ 8589114 w 8968683"/>
                <a:gd name="connsiteY102" fmla="*/ 5810856 h 6842922"/>
                <a:gd name="connsiteX103" fmla="*/ 8589114 w 8968683"/>
                <a:gd name="connsiteY103" fmla="*/ 5957238 h 6842922"/>
                <a:gd name="connsiteX104" fmla="*/ 8822301 w 8968683"/>
                <a:gd name="connsiteY104" fmla="*/ 3770729 h 6842922"/>
                <a:gd name="connsiteX105" fmla="*/ 8968683 w 8968683"/>
                <a:gd name="connsiteY105" fmla="*/ 3770729 h 6842922"/>
                <a:gd name="connsiteX106" fmla="*/ 8968683 w 8968683"/>
                <a:gd name="connsiteY106" fmla="*/ 2994977 h 6842922"/>
                <a:gd name="connsiteX107" fmla="*/ 8822301 w 8968683"/>
                <a:gd name="connsiteY107" fmla="*/ 2994977 h 6842922"/>
                <a:gd name="connsiteX108" fmla="*/ 8822301 w 8968683"/>
                <a:gd name="connsiteY108" fmla="*/ 3770729 h 6842922"/>
                <a:gd name="connsiteX109" fmla="*/ 8238896 w 8968683"/>
                <a:gd name="connsiteY109" fmla="*/ 2407034 h 6842922"/>
                <a:gd name="connsiteX110" fmla="*/ 8238896 w 8968683"/>
                <a:gd name="connsiteY110" fmla="*/ 1173252 h 6842922"/>
                <a:gd name="connsiteX111" fmla="*/ 8092514 w 8968683"/>
                <a:gd name="connsiteY111" fmla="*/ 1173252 h 6842922"/>
                <a:gd name="connsiteX112" fmla="*/ 8092514 w 8968683"/>
                <a:gd name="connsiteY112" fmla="*/ 2407034 h 6842922"/>
                <a:gd name="connsiteX113" fmla="*/ 6891741 w 8968683"/>
                <a:gd name="connsiteY113" fmla="*/ 2407034 h 6842922"/>
                <a:gd name="connsiteX114" fmla="*/ 6891741 w 8968683"/>
                <a:gd name="connsiteY114" fmla="*/ 2553416 h 6842922"/>
                <a:gd name="connsiteX115" fmla="*/ 8822228 w 8968683"/>
                <a:gd name="connsiteY115" fmla="*/ 2553416 h 6842922"/>
                <a:gd name="connsiteX116" fmla="*/ 8822228 w 8968683"/>
                <a:gd name="connsiteY116" fmla="*/ 2697309 h 6842922"/>
                <a:gd name="connsiteX117" fmla="*/ 8968610 w 8968683"/>
                <a:gd name="connsiteY117" fmla="*/ 2697309 h 6842922"/>
                <a:gd name="connsiteX118" fmla="*/ 8968610 w 8968683"/>
                <a:gd name="connsiteY118" fmla="*/ 2404545 h 6842922"/>
                <a:gd name="connsiteX119" fmla="*/ 8238896 w 8968683"/>
                <a:gd name="connsiteY119" fmla="*/ 2407034 h 6842922"/>
                <a:gd name="connsiteX120" fmla="*/ 2608821 w 8968683"/>
                <a:gd name="connsiteY120" fmla="*/ 6250002 h 6842922"/>
                <a:gd name="connsiteX121" fmla="*/ 2755203 w 8968683"/>
                <a:gd name="connsiteY121" fmla="*/ 6250002 h 6842922"/>
                <a:gd name="connsiteX122" fmla="*/ 2755203 w 8968683"/>
                <a:gd name="connsiteY122" fmla="*/ 5116566 h 6842922"/>
                <a:gd name="connsiteX123" fmla="*/ 2608821 w 8968683"/>
                <a:gd name="connsiteY123" fmla="*/ 5116566 h 6842922"/>
                <a:gd name="connsiteX124" fmla="*/ 2608821 w 8968683"/>
                <a:gd name="connsiteY124" fmla="*/ 5957238 h 6842922"/>
                <a:gd name="connsiteX125" fmla="*/ 2389248 w 8968683"/>
                <a:gd name="connsiteY125" fmla="*/ 5957238 h 6842922"/>
                <a:gd name="connsiteX126" fmla="*/ 2389248 w 8968683"/>
                <a:gd name="connsiteY126" fmla="*/ 6103620 h 6842922"/>
                <a:gd name="connsiteX127" fmla="*/ 2608821 w 8968683"/>
                <a:gd name="connsiteY127" fmla="*/ 6103620 h 6842922"/>
                <a:gd name="connsiteX128" fmla="*/ 2608821 w 8968683"/>
                <a:gd name="connsiteY128" fmla="*/ 6250002 h 6842922"/>
                <a:gd name="connsiteX129" fmla="*/ 292764 w 8968683"/>
                <a:gd name="connsiteY129" fmla="*/ 5441095 h 6842922"/>
                <a:gd name="connsiteX130" fmla="*/ 146382 w 8968683"/>
                <a:gd name="connsiteY130" fmla="*/ 5441095 h 6842922"/>
                <a:gd name="connsiteX131" fmla="*/ 146382 w 8968683"/>
                <a:gd name="connsiteY131" fmla="*/ 6103620 h 6842922"/>
                <a:gd name="connsiteX132" fmla="*/ 1422175 w 8968683"/>
                <a:gd name="connsiteY132" fmla="*/ 6103620 h 6842922"/>
                <a:gd name="connsiteX133" fmla="*/ 1422175 w 8968683"/>
                <a:gd name="connsiteY133" fmla="*/ 5957238 h 6842922"/>
                <a:gd name="connsiteX134" fmla="*/ 292764 w 8968683"/>
                <a:gd name="connsiteY134" fmla="*/ 5957238 h 6842922"/>
                <a:gd name="connsiteX135" fmla="*/ 292764 w 8968683"/>
                <a:gd name="connsiteY135" fmla="*/ 5441095 h 6842922"/>
                <a:gd name="connsiteX136" fmla="*/ 2755203 w 8968683"/>
                <a:gd name="connsiteY136" fmla="*/ 6542766 h 6842922"/>
                <a:gd name="connsiteX137" fmla="*/ 2608821 w 8968683"/>
                <a:gd name="connsiteY137" fmla="*/ 6542766 h 6842922"/>
                <a:gd name="connsiteX138" fmla="*/ 2608821 w 8968683"/>
                <a:gd name="connsiteY138" fmla="*/ 6835531 h 6842922"/>
                <a:gd name="connsiteX139" fmla="*/ 3094078 w 8968683"/>
                <a:gd name="connsiteY139" fmla="*/ 6835531 h 6842922"/>
                <a:gd name="connsiteX140" fmla="*/ 3094078 w 8968683"/>
                <a:gd name="connsiteY140" fmla="*/ 6689148 h 6842922"/>
                <a:gd name="connsiteX141" fmla="*/ 2755203 w 8968683"/>
                <a:gd name="connsiteY141" fmla="*/ 6689148 h 6842922"/>
                <a:gd name="connsiteX142" fmla="*/ 2755203 w 8968683"/>
                <a:gd name="connsiteY142" fmla="*/ 6542766 h 6842922"/>
                <a:gd name="connsiteX143" fmla="*/ 8090098 w 8968683"/>
                <a:gd name="connsiteY143" fmla="*/ 4800381 h 6842922"/>
                <a:gd name="connsiteX144" fmla="*/ 8090098 w 8968683"/>
                <a:gd name="connsiteY144" fmla="*/ 5093145 h 6842922"/>
                <a:gd name="connsiteX145" fmla="*/ 8588309 w 8968683"/>
                <a:gd name="connsiteY145" fmla="*/ 5093145 h 6842922"/>
                <a:gd name="connsiteX146" fmla="*/ 8588309 w 8968683"/>
                <a:gd name="connsiteY146" fmla="*/ 5237039 h 6842922"/>
                <a:gd name="connsiteX147" fmla="*/ 8734692 w 8968683"/>
                <a:gd name="connsiteY147" fmla="*/ 5237039 h 6842922"/>
                <a:gd name="connsiteX148" fmla="*/ 8734692 w 8968683"/>
                <a:gd name="connsiteY148" fmla="*/ 4944274 h 6842922"/>
                <a:gd name="connsiteX149" fmla="*/ 8236480 w 8968683"/>
                <a:gd name="connsiteY149" fmla="*/ 4946763 h 6842922"/>
                <a:gd name="connsiteX150" fmla="*/ 8236480 w 8968683"/>
                <a:gd name="connsiteY150" fmla="*/ 4800381 h 6842922"/>
                <a:gd name="connsiteX151" fmla="*/ 8090098 w 8968683"/>
                <a:gd name="connsiteY151" fmla="*/ 4800381 h 6842922"/>
                <a:gd name="connsiteX152" fmla="*/ 8092514 w 8968683"/>
                <a:gd name="connsiteY152" fmla="*/ 880488 h 6842922"/>
                <a:gd name="connsiteX153" fmla="*/ 8238896 w 8968683"/>
                <a:gd name="connsiteY153" fmla="*/ 880488 h 6842922"/>
                <a:gd name="connsiteX154" fmla="*/ 8238896 w 8968683"/>
                <a:gd name="connsiteY154" fmla="*/ 587724 h 6842922"/>
                <a:gd name="connsiteX155" fmla="*/ 8092514 w 8968683"/>
                <a:gd name="connsiteY155" fmla="*/ 587724 h 6842922"/>
                <a:gd name="connsiteX156" fmla="*/ 8092514 w 8968683"/>
                <a:gd name="connsiteY156" fmla="*/ 880488 h 68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8968683" h="6842922">
                  <a:moveTo>
                    <a:pt x="7650952" y="4361234"/>
                  </a:moveTo>
                  <a:lnTo>
                    <a:pt x="6891814" y="4361234"/>
                  </a:lnTo>
                  <a:lnTo>
                    <a:pt x="6891814" y="4214852"/>
                  </a:lnTo>
                  <a:lnTo>
                    <a:pt x="7650952" y="4214852"/>
                  </a:lnTo>
                  <a:lnTo>
                    <a:pt x="7650952" y="4361234"/>
                  </a:lnTo>
                  <a:close/>
                  <a:moveTo>
                    <a:pt x="1722697" y="6103620"/>
                  </a:moveTo>
                  <a:lnTo>
                    <a:pt x="2096411" y="6103620"/>
                  </a:lnTo>
                  <a:lnTo>
                    <a:pt x="2096411" y="5957238"/>
                  </a:lnTo>
                  <a:lnTo>
                    <a:pt x="1722697" y="5957238"/>
                  </a:lnTo>
                  <a:lnTo>
                    <a:pt x="1722697" y="6103620"/>
                  </a:lnTo>
                  <a:close/>
                  <a:moveTo>
                    <a:pt x="146382" y="1821505"/>
                  </a:moveTo>
                  <a:lnTo>
                    <a:pt x="146382" y="146382"/>
                  </a:lnTo>
                  <a:lnTo>
                    <a:pt x="2820051" y="146382"/>
                  </a:lnTo>
                  <a:lnTo>
                    <a:pt x="2820051" y="0"/>
                  </a:lnTo>
                  <a:lnTo>
                    <a:pt x="0" y="0"/>
                  </a:lnTo>
                  <a:lnTo>
                    <a:pt x="0" y="1967887"/>
                  </a:lnTo>
                  <a:lnTo>
                    <a:pt x="146382" y="1967887"/>
                  </a:lnTo>
                  <a:lnTo>
                    <a:pt x="146382" y="5148331"/>
                  </a:lnTo>
                  <a:lnTo>
                    <a:pt x="292764" y="5148331"/>
                  </a:lnTo>
                  <a:lnTo>
                    <a:pt x="292764" y="1967887"/>
                  </a:lnTo>
                  <a:lnTo>
                    <a:pt x="1624914" y="1967887"/>
                  </a:lnTo>
                  <a:lnTo>
                    <a:pt x="1624914" y="1821505"/>
                  </a:lnTo>
                  <a:lnTo>
                    <a:pt x="146382" y="1821505"/>
                  </a:lnTo>
                  <a:close/>
                  <a:moveTo>
                    <a:pt x="2755203" y="3459521"/>
                  </a:moveTo>
                  <a:lnTo>
                    <a:pt x="2755203" y="1821432"/>
                  </a:lnTo>
                  <a:lnTo>
                    <a:pt x="2064061" y="1821432"/>
                  </a:lnTo>
                  <a:lnTo>
                    <a:pt x="2064061" y="1967814"/>
                  </a:lnTo>
                  <a:lnTo>
                    <a:pt x="2608821" y="1967814"/>
                  </a:lnTo>
                  <a:lnTo>
                    <a:pt x="2608821" y="3459521"/>
                  </a:lnTo>
                  <a:lnTo>
                    <a:pt x="2755203" y="3459521"/>
                  </a:lnTo>
                  <a:close/>
                  <a:moveTo>
                    <a:pt x="3423364" y="1321757"/>
                  </a:moveTo>
                  <a:lnTo>
                    <a:pt x="3423364" y="3459521"/>
                  </a:lnTo>
                  <a:lnTo>
                    <a:pt x="3569747" y="3459521"/>
                  </a:lnTo>
                  <a:lnTo>
                    <a:pt x="3569747" y="1967814"/>
                  </a:lnTo>
                  <a:lnTo>
                    <a:pt x="4114507" y="1967814"/>
                  </a:lnTo>
                  <a:lnTo>
                    <a:pt x="4114507" y="1821432"/>
                  </a:lnTo>
                  <a:lnTo>
                    <a:pt x="3569747" y="1821432"/>
                  </a:lnTo>
                  <a:lnTo>
                    <a:pt x="3569747" y="1321757"/>
                  </a:lnTo>
                  <a:lnTo>
                    <a:pt x="3423364" y="1321757"/>
                  </a:lnTo>
                  <a:close/>
                  <a:moveTo>
                    <a:pt x="3423364" y="882611"/>
                  </a:moveTo>
                  <a:lnTo>
                    <a:pt x="3569747" y="882611"/>
                  </a:lnTo>
                  <a:lnTo>
                    <a:pt x="3569747" y="146382"/>
                  </a:lnTo>
                  <a:lnTo>
                    <a:pt x="3879564" y="146382"/>
                  </a:lnTo>
                  <a:lnTo>
                    <a:pt x="3879564" y="0"/>
                  </a:lnTo>
                  <a:lnTo>
                    <a:pt x="3113547" y="0"/>
                  </a:lnTo>
                  <a:lnTo>
                    <a:pt x="3113547" y="146382"/>
                  </a:lnTo>
                  <a:lnTo>
                    <a:pt x="3423364" y="146382"/>
                  </a:lnTo>
                  <a:lnTo>
                    <a:pt x="3423364" y="882611"/>
                  </a:lnTo>
                  <a:close/>
                  <a:moveTo>
                    <a:pt x="2608821" y="4677347"/>
                  </a:moveTo>
                  <a:lnTo>
                    <a:pt x="2755203" y="4677347"/>
                  </a:lnTo>
                  <a:lnTo>
                    <a:pt x="2755203" y="3898667"/>
                  </a:lnTo>
                  <a:lnTo>
                    <a:pt x="2608821" y="3898667"/>
                  </a:lnTo>
                  <a:lnTo>
                    <a:pt x="2608821" y="4214779"/>
                  </a:lnTo>
                  <a:lnTo>
                    <a:pt x="1641748" y="4214779"/>
                  </a:lnTo>
                  <a:lnTo>
                    <a:pt x="1641748" y="4361161"/>
                  </a:lnTo>
                  <a:lnTo>
                    <a:pt x="2608821" y="4361161"/>
                  </a:lnTo>
                  <a:lnTo>
                    <a:pt x="2608821" y="4677273"/>
                  </a:lnTo>
                  <a:close/>
                  <a:moveTo>
                    <a:pt x="3569747" y="4361234"/>
                  </a:moveTo>
                  <a:lnTo>
                    <a:pt x="6452668" y="4361234"/>
                  </a:lnTo>
                  <a:lnTo>
                    <a:pt x="6452668" y="4214852"/>
                  </a:lnTo>
                  <a:lnTo>
                    <a:pt x="6164076" y="4214852"/>
                  </a:lnTo>
                  <a:lnTo>
                    <a:pt x="6164076" y="2553416"/>
                  </a:lnTo>
                  <a:lnTo>
                    <a:pt x="6452668" y="2553416"/>
                  </a:lnTo>
                  <a:lnTo>
                    <a:pt x="6452668" y="2407034"/>
                  </a:lnTo>
                  <a:lnTo>
                    <a:pt x="6164076" y="2407034"/>
                  </a:lnTo>
                  <a:lnTo>
                    <a:pt x="6164076" y="146382"/>
                  </a:lnTo>
                  <a:lnTo>
                    <a:pt x="8092587" y="146382"/>
                  </a:lnTo>
                  <a:lnTo>
                    <a:pt x="8092587" y="292764"/>
                  </a:lnTo>
                  <a:lnTo>
                    <a:pt x="8238969" y="292764"/>
                  </a:lnTo>
                  <a:lnTo>
                    <a:pt x="8238969" y="0"/>
                  </a:lnTo>
                  <a:lnTo>
                    <a:pt x="4172402" y="0"/>
                  </a:lnTo>
                  <a:lnTo>
                    <a:pt x="4172402" y="146382"/>
                  </a:lnTo>
                  <a:lnTo>
                    <a:pt x="6017694" y="146382"/>
                  </a:lnTo>
                  <a:lnTo>
                    <a:pt x="6017694" y="1821505"/>
                  </a:lnTo>
                  <a:lnTo>
                    <a:pt x="4553727" y="1821505"/>
                  </a:lnTo>
                  <a:lnTo>
                    <a:pt x="4553727" y="1967887"/>
                  </a:lnTo>
                  <a:lnTo>
                    <a:pt x="6017694" y="1967887"/>
                  </a:lnTo>
                  <a:lnTo>
                    <a:pt x="6017694" y="4214852"/>
                  </a:lnTo>
                  <a:lnTo>
                    <a:pt x="3569820" y="4214852"/>
                  </a:lnTo>
                  <a:lnTo>
                    <a:pt x="3569820" y="3898740"/>
                  </a:lnTo>
                  <a:lnTo>
                    <a:pt x="3423438" y="3898740"/>
                  </a:lnTo>
                  <a:lnTo>
                    <a:pt x="3423438" y="4677420"/>
                  </a:lnTo>
                  <a:lnTo>
                    <a:pt x="3569820" y="4677420"/>
                  </a:lnTo>
                  <a:lnTo>
                    <a:pt x="3569820" y="4361308"/>
                  </a:lnTo>
                  <a:close/>
                  <a:moveTo>
                    <a:pt x="8822301" y="4214852"/>
                  </a:moveTo>
                  <a:lnTo>
                    <a:pt x="8092587" y="4214852"/>
                  </a:lnTo>
                  <a:lnTo>
                    <a:pt x="8092587" y="4361234"/>
                  </a:lnTo>
                  <a:lnTo>
                    <a:pt x="8968683" y="4361234"/>
                  </a:lnTo>
                  <a:lnTo>
                    <a:pt x="8968683" y="4068470"/>
                  </a:lnTo>
                  <a:lnTo>
                    <a:pt x="8822301" y="4068470"/>
                  </a:lnTo>
                  <a:lnTo>
                    <a:pt x="8822301" y="4214852"/>
                  </a:lnTo>
                  <a:close/>
                  <a:moveTo>
                    <a:pt x="8589114" y="5957238"/>
                  </a:moveTo>
                  <a:lnTo>
                    <a:pt x="4620989" y="5957238"/>
                  </a:lnTo>
                  <a:lnTo>
                    <a:pt x="4620989" y="4800381"/>
                  </a:lnTo>
                  <a:lnTo>
                    <a:pt x="4474607" y="4800381"/>
                  </a:lnTo>
                  <a:lnTo>
                    <a:pt x="4474607" y="6696541"/>
                  </a:lnTo>
                  <a:lnTo>
                    <a:pt x="3533224" y="6696541"/>
                  </a:lnTo>
                  <a:lnTo>
                    <a:pt x="3533224" y="6842923"/>
                  </a:lnTo>
                  <a:lnTo>
                    <a:pt x="4620989" y="6842923"/>
                  </a:lnTo>
                  <a:lnTo>
                    <a:pt x="4620989" y="6103620"/>
                  </a:lnTo>
                  <a:lnTo>
                    <a:pt x="8735497" y="6103620"/>
                  </a:lnTo>
                  <a:lnTo>
                    <a:pt x="8735497" y="5810856"/>
                  </a:lnTo>
                  <a:lnTo>
                    <a:pt x="8589114" y="5810856"/>
                  </a:lnTo>
                  <a:lnTo>
                    <a:pt x="8589114" y="5957238"/>
                  </a:lnTo>
                  <a:close/>
                  <a:moveTo>
                    <a:pt x="8822301" y="3770729"/>
                  </a:moveTo>
                  <a:lnTo>
                    <a:pt x="8968683" y="3770729"/>
                  </a:lnTo>
                  <a:lnTo>
                    <a:pt x="8968683" y="2994977"/>
                  </a:lnTo>
                  <a:lnTo>
                    <a:pt x="8822301" y="2994977"/>
                  </a:lnTo>
                  <a:lnTo>
                    <a:pt x="8822301" y="3770729"/>
                  </a:lnTo>
                  <a:close/>
                  <a:moveTo>
                    <a:pt x="8238896" y="2407034"/>
                  </a:moveTo>
                  <a:lnTo>
                    <a:pt x="8238896" y="1173252"/>
                  </a:lnTo>
                  <a:lnTo>
                    <a:pt x="8092514" y="1173252"/>
                  </a:lnTo>
                  <a:lnTo>
                    <a:pt x="8092514" y="2407034"/>
                  </a:lnTo>
                  <a:lnTo>
                    <a:pt x="6891741" y="2407034"/>
                  </a:lnTo>
                  <a:lnTo>
                    <a:pt x="6891741" y="2553416"/>
                  </a:lnTo>
                  <a:lnTo>
                    <a:pt x="8822228" y="2553416"/>
                  </a:lnTo>
                  <a:lnTo>
                    <a:pt x="8822228" y="2697309"/>
                  </a:lnTo>
                  <a:lnTo>
                    <a:pt x="8968610" y="2697309"/>
                  </a:lnTo>
                  <a:lnTo>
                    <a:pt x="8968610" y="2404545"/>
                  </a:lnTo>
                  <a:lnTo>
                    <a:pt x="8238896" y="2407034"/>
                  </a:lnTo>
                  <a:close/>
                  <a:moveTo>
                    <a:pt x="2608821" y="6250002"/>
                  </a:moveTo>
                  <a:lnTo>
                    <a:pt x="2755203" y="6250002"/>
                  </a:lnTo>
                  <a:lnTo>
                    <a:pt x="2755203" y="5116566"/>
                  </a:lnTo>
                  <a:lnTo>
                    <a:pt x="2608821" y="5116566"/>
                  </a:lnTo>
                  <a:lnTo>
                    <a:pt x="2608821" y="5957238"/>
                  </a:lnTo>
                  <a:lnTo>
                    <a:pt x="2389248" y="5957238"/>
                  </a:lnTo>
                  <a:lnTo>
                    <a:pt x="2389248" y="6103620"/>
                  </a:lnTo>
                  <a:lnTo>
                    <a:pt x="2608821" y="6103620"/>
                  </a:lnTo>
                  <a:lnTo>
                    <a:pt x="2608821" y="6250002"/>
                  </a:lnTo>
                  <a:close/>
                  <a:moveTo>
                    <a:pt x="292764" y="5441095"/>
                  </a:moveTo>
                  <a:lnTo>
                    <a:pt x="146382" y="5441095"/>
                  </a:lnTo>
                  <a:lnTo>
                    <a:pt x="146382" y="6103620"/>
                  </a:lnTo>
                  <a:lnTo>
                    <a:pt x="1422175" y="6103620"/>
                  </a:lnTo>
                  <a:lnTo>
                    <a:pt x="1422175" y="5957238"/>
                  </a:lnTo>
                  <a:lnTo>
                    <a:pt x="292764" y="5957238"/>
                  </a:lnTo>
                  <a:lnTo>
                    <a:pt x="292764" y="5441095"/>
                  </a:lnTo>
                  <a:close/>
                  <a:moveTo>
                    <a:pt x="2755203" y="6542766"/>
                  </a:moveTo>
                  <a:lnTo>
                    <a:pt x="2608821" y="6542766"/>
                  </a:lnTo>
                  <a:lnTo>
                    <a:pt x="2608821" y="6835531"/>
                  </a:lnTo>
                  <a:lnTo>
                    <a:pt x="3094078" y="6835531"/>
                  </a:lnTo>
                  <a:lnTo>
                    <a:pt x="3094078" y="6689148"/>
                  </a:lnTo>
                  <a:lnTo>
                    <a:pt x="2755203" y="6689148"/>
                  </a:lnTo>
                  <a:lnTo>
                    <a:pt x="2755203" y="6542766"/>
                  </a:lnTo>
                  <a:close/>
                  <a:moveTo>
                    <a:pt x="8090098" y="4800381"/>
                  </a:moveTo>
                  <a:lnTo>
                    <a:pt x="8090098" y="5093145"/>
                  </a:lnTo>
                  <a:lnTo>
                    <a:pt x="8588309" y="5093145"/>
                  </a:lnTo>
                  <a:lnTo>
                    <a:pt x="8588309" y="5237039"/>
                  </a:lnTo>
                  <a:lnTo>
                    <a:pt x="8734692" y="5237039"/>
                  </a:lnTo>
                  <a:lnTo>
                    <a:pt x="8734692" y="4944274"/>
                  </a:lnTo>
                  <a:lnTo>
                    <a:pt x="8236480" y="4946763"/>
                  </a:lnTo>
                  <a:lnTo>
                    <a:pt x="8236480" y="4800381"/>
                  </a:lnTo>
                  <a:lnTo>
                    <a:pt x="8090098" y="4800381"/>
                  </a:lnTo>
                  <a:close/>
                  <a:moveTo>
                    <a:pt x="8092514" y="880488"/>
                  </a:moveTo>
                  <a:lnTo>
                    <a:pt x="8238896" y="880488"/>
                  </a:lnTo>
                  <a:lnTo>
                    <a:pt x="8238896" y="587724"/>
                  </a:lnTo>
                  <a:lnTo>
                    <a:pt x="8092514" y="587724"/>
                  </a:lnTo>
                  <a:lnTo>
                    <a:pt x="8092514" y="880488"/>
                  </a:lnTo>
                  <a:close/>
                </a:path>
              </a:pathLst>
            </a:custGeom>
            <a:solidFill>
              <a:srgbClr val="F2F2F2"/>
            </a:solidFill>
            <a:ln w="14625" cap="flat">
              <a:solidFill>
                <a:srgbClr val="B3B3B3"/>
              </a:solid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9A031400-FC90-E4B6-A883-EF8B991F3B8B}"/>
                </a:ext>
              </a:extLst>
            </p:cNvPr>
            <p:cNvSpPr/>
            <p:nvPr/>
          </p:nvSpPr>
          <p:spPr>
            <a:xfrm>
              <a:off x="6842987" y="5100463"/>
              <a:ext cx="2860159" cy="864093"/>
            </a:xfrm>
            <a:custGeom>
              <a:avLst/>
              <a:gdLst>
                <a:gd name="connsiteX0" fmla="*/ 2640147 w 2860159"/>
                <a:gd name="connsiteY0" fmla="*/ 0 h 864093"/>
                <a:gd name="connsiteX1" fmla="*/ 2640147 w 2860159"/>
                <a:gd name="connsiteY1" fmla="*/ 864093 h 864093"/>
                <a:gd name="connsiteX2" fmla="*/ 2420135 w 2860159"/>
                <a:gd name="connsiteY2" fmla="*/ 0 h 864093"/>
                <a:gd name="connsiteX3" fmla="*/ 2420135 w 2860159"/>
                <a:gd name="connsiteY3" fmla="*/ 864093 h 864093"/>
                <a:gd name="connsiteX4" fmla="*/ 2200122 w 2860159"/>
                <a:gd name="connsiteY4" fmla="*/ 0 h 864093"/>
                <a:gd name="connsiteX5" fmla="*/ 2200122 w 2860159"/>
                <a:gd name="connsiteY5" fmla="*/ 864093 h 864093"/>
                <a:gd name="connsiteX6" fmla="*/ 1980110 w 2860159"/>
                <a:gd name="connsiteY6" fmla="*/ 0 h 864093"/>
                <a:gd name="connsiteX7" fmla="*/ 1980110 w 2860159"/>
                <a:gd name="connsiteY7" fmla="*/ 864093 h 864093"/>
                <a:gd name="connsiteX8" fmla="*/ 1760098 w 2860159"/>
                <a:gd name="connsiteY8" fmla="*/ 0 h 864093"/>
                <a:gd name="connsiteX9" fmla="*/ 1760098 w 2860159"/>
                <a:gd name="connsiteY9" fmla="*/ 864093 h 864093"/>
                <a:gd name="connsiteX10" fmla="*/ 1540086 w 2860159"/>
                <a:gd name="connsiteY10" fmla="*/ 0 h 864093"/>
                <a:gd name="connsiteX11" fmla="*/ 1540086 w 2860159"/>
                <a:gd name="connsiteY11" fmla="*/ 864093 h 864093"/>
                <a:gd name="connsiteX12" fmla="*/ 1320073 w 2860159"/>
                <a:gd name="connsiteY12" fmla="*/ 0 h 864093"/>
                <a:gd name="connsiteX13" fmla="*/ 1320073 w 2860159"/>
                <a:gd name="connsiteY13" fmla="*/ 864093 h 864093"/>
                <a:gd name="connsiteX14" fmla="*/ 1100061 w 2860159"/>
                <a:gd name="connsiteY14" fmla="*/ 0 h 864093"/>
                <a:gd name="connsiteX15" fmla="*/ 1100061 w 2860159"/>
                <a:gd name="connsiteY15" fmla="*/ 864093 h 864093"/>
                <a:gd name="connsiteX16" fmla="*/ 880049 w 2860159"/>
                <a:gd name="connsiteY16" fmla="*/ 0 h 864093"/>
                <a:gd name="connsiteX17" fmla="*/ 880049 w 2860159"/>
                <a:gd name="connsiteY17" fmla="*/ 864093 h 864093"/>
                <a:gd name="connsiteX18" fmla="*/ 660037 w 2860159"/>
                <a:gd name="connsiteY18" fmla="*/ 0 h 864093"/>
                <a:gd name="connsiteX19" fmla="*/ 660037 w 2860159"/>
                <a:gd name="connsiteY19" fmla="*/ 864093 h 864093"/>
                <a:gd name="connsiteX20" fmla="*/ 440024 w 2860159"/>
                <a:gd name="connsiteY20" fmla="*/ 0 h 864093"/>
                <a:gd name="connsiteX21" fmla="*/ 440024 w 2860159"/>
                <a:gd name="connsiteY21" fmla="*/ 864093 h 864093"/>
                <a:gd name="connsiteX22" fmla="*/ 220012 w 2860159"/>
                <a:gd name="connsiteY22" fmla="*/ 0 h 864093"/>
                <a:gd name="connsiteX23" fmla="*/ 220012 w 2860159"/>
                <a:gd name="connsiteY23" fmla="*/ 864093 h 864093"/>
                <a:gd name="connsiteX24" fmla="*/ 2860159 w 2860159"/>
                <a:gd name="connsiteY24" fmla="*/ 864093 h 864093"/>
                <a:gd name="connsiteX25" fmla="*/ 2860159 w 2860159"/>
                <a:gd name="connsiteY25" fmla="*/ 0 h 864093"/>
                <a:gd name="connsiteX26" fmla="*/ 0 w 2860159"/>
                <a:gd name="connsiteY26" fmla="*/ 0 h 864093"/>
                <a:gd name="connsiteX27" fmla="*/ 0 w 2860159"/>
                <a:gd name="connsiteY27" fmla="*/ 864093 h 864093"/>
                <a:gd name="connsiteX28" fmla="*/ 2860159 w 2860159"/>
                <a:gd name="connsiteY28" fmla="*/ 864093 h 8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0159" h="864093">
                  <a:moveTo>
                    <a:pt x="2640147" y="0"/>
                  </a:moveTo>
                  <a:lnTo>
                    <a:pt x="2640147" y="864093"/>
                  </a:lnTo>
                  <a:moveTo>
                    <a:pt x="2420135" y="0"/>
                  </a:moveTo>
                  <a:lnTo>
                    <a:pt x="2420135" y="864093"/>
                  </a:lnTo>
                  <a:moveTo>
                    <a:pt x="2200122" y="0"/>
                  </a:moveTo>
                  <a:lnTo>
                    <a:pt x="2200122" y="864093"/>
                  </a:lnTo>
                  <a:moveTo>
                    <a:pt x="1980110" y="0"/>
                  </a:moveTo>
                  <a:lnTo>
                    <a:pt x="1980110" y="864093"/>
                  </a:lnTo>
                  <a:moveTo>
                    <a:pt x="1760098" y="0"/>
                  </a:moveTo>
                  <a:lnTo>
                    <a:pt x="1760098" y="864093"/>
                  </a:lnTo>
                  <a:moveTo>
                    <a:pt x="1540086" y="0"/>
                  </a:moveTo>
                  <a:lnTo>
                    <a:pt x="1540086" y="864093"/>
                  </a:lnTo>
                  <a:moveTo>
                    <a:pt x="1320073" y="0"/>
                  </a:moveTo>
                  <a:lnTo>
                    <a:pt x="1320073" y="864093"/>
                  </a:lnTo>
                  <a:moveTo>
                    <a:pt x="1100061" y="0"/>
                  </a:moveTo>
                  <a:lnTo>
                    <a:pt x="1100061" y="864093"/>
                  </a:lnTo>
                  <a:moveTo>
                    <a:pt x="880049" y="0"/>
                  </a:moveTo>
                  <a:lnTo>
                    <a:pt x="880049" y="864093"/>
                  </a:lnTo>
                  <a:moveTo>
                    <a:pt x="660037" y="0"/>
                  </a:moveTo>
                  <a:lnTo>
                    <a:pt x="660037" y="864093"/>
                  </a:lnTo>
                  <a:moveTo>
                    <a:pt x="440024" y="0"/>
                  </a:moveTo>
                  <a:lnTo>
                    <a:pt x="440024" y="864093"/>
                  </a:lnTo>
                  <a:moveTo>
                    <a:pt x="220012" y="0"/>
                  </a:moveTo>
                  <a:lnTo>
                    <a:pt x="220012" y="864093"/>
                  </a:lnTo>
                  <a:moveTo>
                    <a:pt x="2860159" y="864093"/>
                  </a:moveTo>
                  <a:lnTo>
                    <a:pt x="2860159" y="0"/>
                  </a:lnTo>
                  <a:lnTo>
                    <a:pt x="0" y="0"/>
                  </a:lnTo>
                  <a:lnTo>
                    <a:pt x="0" y="864093"/>
                  </a:lnTo>
                  <a:lnTo>
                    <a:pt x="2860159" y="864093"/>
                  </a:lnTo>
                  <a:close/>
                </a:path>
              </a:pathLst>
            </a:custGeom>
            <a:noFill/>
            <a:ln w="14625" cap="flat">
              <a:solidFill>
                <a:srgbClr val="B3B3B3"/>
              </a:solidFill>
              <a:prstDash val="solid"/>
              <a:miter/>
            </a:ln>
          </p:spPr>
          <p:txBody>
            <a:bodyPr rtlCol="0" anchor="ctr"/>
            <a:lstStyle/>
            <a:p>
              <a:endParaRPr lang="en-US"/>
            </a:p>
          </p:txBody>
        </p:sp>
      </p:grpSp>
      <p:grpSp>
        <p:nvGrpSpPr>
          <p:cNvPr id="6" name="WiFi">
            <a:extLst>
              <a:ext uri="{FF2B5EF4-FFF2-40B4-BE49-F238E27FC236}">
                <a16:creationId xmlns:a16="http://schemas.microsoft.com/office/drawing/2014/main" id="{287A10B0-341F-8F8D-10A5-6A35DD4D44FA}"/>
              </a:ext>
            </a:extLst>
          </p:cNvPr>
          <p:cNvGrpSpPr>
            <a:grpSpLocks noChangeAspect="1"/>
          </p:cNvGrpSpPr>
          <p:nvPr/>
        </p:nvGrpSpPr>
        <p:grpSpPr>
          <a:xfrm>
            <a:off x="7040141" y="1572433"/>
            <a:ext cx="1003766" cy="1003766"/>
            <a:chOff x="11173109" y="1447800"/>
            <a:chExt cx="1097280" cy="1097280"/>
          </a:xfrm>
        </p:grpSpPr>
        <p:sp>
          <p:nvSpPr>
            <p:cNvPr id="7" name="Oval 6">
              <a:extLst>
                <a:ext uri="{FF2B5EF4-FFF2-40B4-BE49-F238E27FC236}">
                  <a16:creationId xmlns:a16="http://schemas.microsoft.com/office/drawing/2014/main" id="{7E4F16A5-C178-07C1-934F-C2FC0C959DC5}"/>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8001AC2-4A1E-F407-3C4A-7D00D9525BBC}"/>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62C5FA1-3D5E-D3F2-CA39-E65B4081A9B8}"/>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DFB20EC0-B513-474C-33C6-B3B97CDB7D2B}"/>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WiFi">
            <a:extLst>
              <a:ext uri="{FF2B5EF4-FFF2-40B4-BE49-F238E27FC236}">
                <a16:creationId xmlns:a16="http://schemas.microsoft.com/office/drawing/2014/main" id="{6EE24C05-9D48-5EF5-BFB6-02446DA3EAB9}"/>
              </a:ext>
            </a:extLst>
          </p:cNvPr>
          <p:cNvGrpSpPr>
            <a:grpSpLocks noChangeAspect="1"/>
          </p:cNvGrpSpPr>
          <p:nvPr/>
        </p:nvGrpSpPr>
        <p:grpSpPr>
          <a:xfrm>
            <a:off x="4475047" y="623486"/>
            <a:ext cx="1097280" cy="1097280"/>
            <a:chOff x="11173109" y="1447800"/>
            <a:chExt cx="1097280" cy="1097280"/>
          </a:xfrm>
        </p:grpSpPr>
        <p:sp>
          <p:nvSpPr>
            <p:cNvPr id="12" name="Oval 11">
              <a:extLst>
                <a:ext uri="{FF2B5EF4-FFF2-40B4-BE49-F238E27FC236}">
                  <a16:creationId xmlns:a16="http://schemas.microsoft.com/office/drawing/2014/main" id="{257324F4-E8A8-73D3-55D0-B0F94DDFFE8D}"/>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83946379-C8E4-53FA-5330-48FBF233FA8A}"/>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0AAF09CF-BFB1-450E-3E4A-AFCEBCC67A8F}"/>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67934406-FBE6-BB58-4DF8-BF4C6A828EEB}"/>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WiFiC">
            <a:extLst>
              <a:ext uri="{FF2B5EF4-FFF2-40B4-BE49-F238E27FC236}">
                <a16:creationId xmlns:a16="http://schemas.microsoft.com/office/drawing/2014/main" id="{A955553F-4920-71C1-E2D1-934BCFF426A0}"/>
              </a:ext>
            </a:extLst>
          </p:cNvPr>
          <p:cNvGrpSpPr>
            <a:grpSpLocks noChangeAspect="1"/>
          </p:cNvGrpSpPr>
          <p:nvPr/>
        </p:nvGrpSpPr>
        <p:grpSpPr>
          <a:xfrm>
            <a:off x="5503979" y="2177775"/>
            <a:ext cx="1003766" cy="1003766"/>
            <a:chOff x="11173109" y="1447800"/>
            <a:chExt cx="1097280" cy="1097280"/>
          </a:xfrm>
        </p:grpSpPr>
        <p:sp>
          <p:nvSpPr>
            <p:cNvPr id="17" name="Oval 16">
              <a:extLst>
                <a:ext uri="{FF2B5EF4-FFF2-40B4-BE49-F238E27FC236}">
                  <a16:creationId xmlns:a16="http://schemas.microsoft.com/office/drawing/2014/main" id="{F9A62449-ECBC-F934-AF14-C9A06B128A36}"/>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B0D48C8D-37A4-051D-34F2-3A7111F66165}"/>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DEE325A3-78CC-606D-6C35-C968DF1310EF}"/>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061B03A-4897-7DEB-F113-C8D8EA8F2B33}"/>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WiFiA">
            <a:extLst>
              <a:ext uri="{FF2B5EF4-FFF2-40B4-BE49-F238E27FC236}">
                <a16:creationId xmlns:a16="http://schemas.microsoft.com/office/drawing/2014/main" id="{82B0DD89-3137-1D7C-7245-F2D86BB2207A}"/>
              </a:ext>
            </a:extLst>
          </p:cNvPr>
          <p:cNvGrpSpPr>
            <a:grpSpLocks noChangeAspect="1"/>
          </p:cNvGrpSpPr>
          <p:nvPr/>
        </p:nvGrpSpPr>
        <p:grpSpPr>
          <a:xfrm>
            <a:off x="1652992" y="1143649"/>
            <a:ext cx="1003766" cy="1003766"/>
            <a:chOff x="11173109" y="1447800"/>
            <a:chExt cx="1097280" cy="1097280"/>
          </a:xfrm>
        </p:grpSpPr>
        <p:sp>
          <p:nvSpPr>
            <p:cNvPr id="22" name="Oval 21">
              <a:extLst>
                <a:ext uri="{FF2B5EF4-FFF2-40B4-BE49-F238E27FC236}">
                  <a16:creationId xmlns:a16="http://schemas.microsoft.com/office/drawing/2014/main" id="{72E236D3-7004-F517-566E-007BC868EA7C}"/>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92C9F3B-0C8F-004E-05FE-4CBCF79A08B5}"/>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FB8E86C9-73B4-8F63-3E7B-E6EB306FF603}"/>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B2D8415D-7BFC-6B38-BA2D-538D7EAB40CF}"/>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WiFi3">
            <a:extLst>
              <a:ext uri="{FF2B5EF4-FFF2-40B4-BE49-F238E27FC236}">
                <a16:creationId xmlns:a16="http://schemas.microsoft.com/office/drawing/2014/main" id="{3DF41F39-FD4D-276A-64D6-39AB651853F4}"/>
              </a:ext>
            </a:extLst>
          </p:cNvPr>
          <p:cNvGrpSpPr>
            <a:grpSpLocks noChangeAspect="1"/>
          </p:cNvGrpSpPr>
          <p:nvPr/>
        </p:nvGrpSpPr>
        <p:grpSpPr>
          <a:xfrm>
            <a:off x="1798496" y="2944764"/>
            <a:ext cx="1003766" cy="1003766"/>
            <a:chOff x="11173109" y="1447800"/>
            <a:chExt cx="1097280" cy="1097280"/>
          </a:xfrm>
        </p:grpSpPr>
        <p:sp>
          <p:nvSpPr>
            <p:cNvPr id="27" name="Oval 26">
              <a:extLst>
                <a:ext uri="{FF2B5EF4-FFF2-40B4-BE49-F238E27FC236}">
                  <a16:creationId xmlns:a16="http://schemas.microsoft.com/office/drawing/2014/main" id="{881FC2BD-2397-F769-B484-F4987426D98F}"/>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7A27F0B2-957C-6DE2-01FD-BA24AAA976E7}"/>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459A5AB3-6F5E-BBCF-38C2-A2299BC3C638}"/>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9435B5B4-B2E1-9101-7706-FE2FAB7425FC}"/>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WiFi3 RED1">
            <a:extLst>
              <a:ext uri="{FF2B5EF4-FFF2-40B4-BE49-F238E27FC236}">
                <a16:creationId xmlns:a16="http://schemas.microsoft.com/office/drawing/2014/main" id="{7CC4024E-797D-BEA2-A371-B0BD744565F8}"/>
              </a:ext>
            </a:extLst>
          </p:cNvPr>
          <p:cNvGrpSpPr>
            <a:grpSpLocks noChangeAspect="1"/>
          </p:cNvGrpSpPr>
          <p:nvPr/>
        </p:nvGrpSpPr>
        <p:grpSpPr>
          <a:xfrm>
            <a:off x="1652992" y="1143649"/>
            <a:ext cx="1003766" cy="1003766"/>
            <a:chOff x="11173109" y="1447800"/>
            <a:chExt cx="1097280" cy="1097280"/>
          </a:xfrm>
        </p:grpSpPr>
        <p:sp>
          <p:nvSpPr>
            <p:cNvPr id="32" name="Oval 31">
              <a:extLst>
                <a:ext uri="{FF2B5EF4-FFF2-40B4-BE49-F238E27FC236}">
                  <a16:creationId xmlns:a16="http://schemas.microsoft.com/office/drawing/2014/main" id="{C8886494-B5C2-0113-5BE2-88F3BAC57465}"/>
                </a:ext>
              </a:extLst>
            </p:cNvPr>
            <p:cNvSpPr>
              <a:spLocks noChangeAspect="1"/>
            </p:cNvSpPr>
            <p:nvPr/>
          </p:nvSpPr>
          <p:spPr>
            <a:xfrm>
              <a:off x="11264549" y="1539240"/>
              <a:ext cx="914400" cy="914400"/>
            </a:xfrm>
            <a:prstGeom prst="ellipse">
              <a:avLst/>
            </a:prstGeom>
            <a:noFill/>
            <a:ln w="254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56B336B5-8744-F952-3CDF-CE42863D092F}"/>
                </a:ext>
              </a:extLst>
            </p:cNvPr>
            <p:cNvSpPr>
              <a:spLocks noChangeAspect="1"/>
            </p:cNvSpPr>
            <p:nvPr/>
          </p:nvSpPr>
          <p:spPr>
            <a:xfrm>
              <a:off x="11355989" y="1630680"/>
              <a:ext cx="731520" cy="731520"/>
            </a:xfrm>
            <a:prstGeom prst="ellipse">
              <a:avLst/>
            </a:prstGeom>
            <a:noFill/>
            <a:ln w="381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4838C7AC-87ED-201B-125E-8B2F9E9F5B61}"/>
                </a:ext>
              </a:extLst>
            </p:cNvPr>
            <p:cNvSpPr>
              <a:spLocks noChangeAspect="1"/>
            </p:cNvSpPr>
            <p:nvPr/>
          </p:nvSpPr>
          <p:spPr>
            <a:xfrm>
              <a:off x="11447429" y="1722120"/>
              <a:ext cx="548640" cy="548640"/>
            </a:xfrm>
            <a:prstGeom prst="ellipse">
              <a:avLst/>
            </a:prstGeom>
            <a:noFill/>
            <a:ln w="508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BCE991FF-A779-2E67-045D-522546227AE8}"/>
                </a:ext>
              </a:extLst>
            </p:cNvPr>
            <p:cNvSpPr>
              <a:spLocks noChangeAspect="1"/>
            </p:cNvSpPr>
            <p:nvPr/>
          </p:nvSpPr>
          <p:spPr>
            <a:xfrm>
              <a:off x="11173109" y="1447800"/>
              <a:ext cx="1097280" cy="1097280"/>
            </a:xfrm>
            <a:prstGeom prst="ellipse">
              <a:avLst/>
            </a:prstGeom>
            <a:noFill/>
            <a:ln w="127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WiFi">
            <a:extLst>
              <a:ext uri="{FF2B5EF4-FFF2-40B4-BE49-F238E27FC236}">
                <a16:creationId xmlns:a16="http://schemas.microsoft.com/office/drawing/2014/main" id="{B3DD9EB2-9378-02F1-498E-A5D228163330}"/>
              </a:ext>
            </a:extLst>
          </p:cNvPr>
          <p:cNvGrpSpPr>
            <a:grpSpLocks noChangeAspect="1"/>
          </p:cNvGrpSpPr>
          <p:nvPr/>
        </p:nvGrpSpPr>
        <p:grpSpPr>
          <a:xfrm>
            <a:off x="2338792" y="4579720"/>
            <a:ext cx="1003766" cy="1003766"/>
            <a:chOff x="11173109" y="1447800"/>
            <a:chExt cx="1097280" cy="1097280"/>
          </a:xfrm>
        </p:grpSpPr>
        <p:sp>
          <p:nvSpPr>
            <p:cNvPr id="37" name="Oval 36">
              <a:extLst>
                <a:ext uri="{FF2B5EF4-FFF2-40B4-BE49-F238E27FC236}">
                  <a16:creationId xmlns:a16="http://schemas.microsoft.com/office/drawing/2014/main" id="{9F3026F1-31F9-1E75-7445-F8E3F66CE40B}"/>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7AE484E9-41B7-B7D1-0254-79DCD7A3362E}"/>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5ADE56A-BB42-4FF1-E92F-FF36948F83C7}"/>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32C4DE04-FEE7-C4D6-D8C2-F9ADF6D1C8DF}"/>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WiFi">
            <a:extLst>
              <a:ext uri="{FF2B5EF4-FFF2-40B4-BE49-F238E27FC236}">
                <a16:creationId xmlns:a16="http://schemas.microsoft.com/office/drawing/2014/main" id="{3580FD68-0438-BF86-F5BB-BA2C47768D46}"/>
              </a:ext>
            </a:extLst>
          </p:cNvPr>
          <p:cNvGrpSpPr>
            <a:grpSpLocks noChangeAspect="1"/>
          </p:cNvGrpSpPr>
          <p:nvPr/>
        </p:nvGrpSpPr>
        <p:grpSpPr>
          <a:xfrm>
            <a:off x="7853837" y="2927117"/>
            <a:ext cx="1003766" cy="1003766"/>
            <a:chOff x="11173109" y="1447800"/>
            <a:chExt cx="1097280" cy="1097280"/>
          </a:xfrm>
        </p:grpSpPr>
        <p:sp>
          <p:nvSpPr>
            <p:cNvPr id="42" name="Oval 41">
              <a:extLst>
                <a:ext uri="{FF2B5EF4-FFF2-40B4-BE49-F238E27FC236}">
                  <a16:creationId xmlns:a16="http://schemas.microsoft.com/office/drawing/2014/main" id="{82BBC0FE-8562-CDF8-1418-BA9E0A414459}"/>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AB78B99D-42FB-52C7-171D-2D6A6DA7CC61}"/>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A9F63765-00BE-1E62-79F8-B6DE45627292}"/>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442897E2-0218-B7DB-FD52-2D323303746B}"/>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8" name="WiFiB">
            <a:extLst>
              <a:ext uri="{FF2B5EF4-FFF2-40B4-BE49-F238E27FC236}">
                <a16:creationId xmlns:a16="http://schemas.microsoft.com/office/drawing/2014/main" id="{6A26F7C4-E4C6-2C36-F723-865D5347861A}"/>
              </a:ext>
            </a:extLst>
          </p:cNvPr>
          <p:cNvGrpSpPr>
            <a:grpSpLocks noChangeAspect="1"/>
          </p:cNvGrpSpPr>
          <p:nvPr/>
        </p:nvGrpSpPr>
        <p:grpSpPr>
          <a:xfrm>
            <a:off x="2366759" y="2237663"/>
            <a:ext cx="1003766" cy="1003766"/>
            <a:chOff x="11173109" y="1447800"/>
            <a:chExt cx="1097280" cy="1097280"/>
          </a:xfrm>
        </p:grpSpPr>
        <p:sp>
          <p:nvSpPr>
            <p:cNvPr id="119" name="Oval 118">
              <a:extLst>
                <a:ext uri="{FF2B5EF4-FFF2-40B4-BE49-F238E27FC236}">
                  <a16:creationId xmlns:a16="http://schemas.microsoft.com/office/drawing/2014/main" id="{9425A1A3-8A67-6911-2946-D1E9695D3BE9}"/>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7767F9DA-460B-67DA-F6F3-1B5C2EC5D26C}"/>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05660792-E364-0023-0052-452804D8BE33}"/>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51A5E142-E60E-7ECB-BEFD-29B2E8AF3DE2}"/>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WiFi Person RED2">
            <a:extLst>
              <a:ext uri="{FF2B5EF4-FFF2-40B4-BE49-F238E27FC236}">
                <a16:creationId xmlns:a16="http://schemas.microsoft.com/office/drawing/2014/main" id="{A51B9360-9F63-72D6-BC4A-D0C407DBAB0F}"/>
              </a:ext>
            </a:extLst>
          </p:cNvPr>
          <p:cNvGrpSpPr>
            <a:grpSpLocks noChangeAspect="1"/>
          </p:cNvGrpSpPr>
          <p:nvPr/>
        </p:nvGrpSpPr>
        <p:grpSpPr>
          <a:xfrm>
            <a:off x="2366759" y="2237663"/>
            <a:ext cx="1003766" cy="1003766"/>
            <a:chOff x="11173109" y="1447800"/>
            <a:chExt cx="1097280" cy="1097280"/>
          </a:xfrm>
        </p:grpSpPr>
        <p:sp>
          <p:nvSpPr>
            <p:cNvPr id="47" name="Oval 46">
              <a:extLst>
                <a:ext uri="{FF2B5EF4-FFF2-40B4-BE49-F238E27FC236}">
                  <a16:creationId xmlns:a16="http://schemas.microsoft.com/office/drawing/2014/main" id="{C6669CD3-6171-424C-6B50-F61B52BB3C31}"/>
                </a:ext>
              </a:extLst>
            </p:cNvPr>
            <p:cNvSpPr>
              <a:spLocks noChangeAspect="1"/>
            </p:cNvSpPr>
            <p:nvPr/>
          </p:nvSpPr>
          <p:spPr>
            <a:xfrm>
              <a:off x="11264549" y="1539240"/>
              <a:ext cx="914400" cy="914400"/>
            </a:xfrm>
            <a:prstGeom prst="ellipse">
              <a:avLst/>
            </a:prstGeom>
            <a:noFill/>
            <a:ln w="254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D0A6EBE-B359-B18B-45DC-6656E6B0346A}"/>
                </a:ext>
              </a:extLst>
            </p:cNvPr>
            <p:cNvSpPr>
              <a:spLocks noChangeAspect="1"/>
            </p:cNvSpPr>
            <p:nvPr/>
          </p:nvSpPr>
          <p:spPr>
            <a:xfrm>
              <a:off x="11355989" y="1630680"/>
              <a:ext cx="731520" cy="731520"/>
            </a:xfrm>
            <a:prstGeom prst="ellipse">
              <a:avLst/>
            </a:prstGeom>
            <a:noFill/>
            <a:ln w="381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223AE432-5E5E-D557-3208-A515391A64C4}"/>
                </a:ext>
              </a:extLst>
            </p:cNvPr>
            <p:cNvSpPr>
              <a:spLocks noChangeAspect="1"/>
            </p:cNvSpPr>
            <p:nvPr/>
          </p:nvSpPr>
          <p:spPr>
            <a:xfrm>
              <a:off x="11447429" y="1722120"/>
              <a:ext cx="548640" cy="548640"/>
            </a:xfrm>
            <a:prstGeom prst="ellipse">
              <a:avLst/>
            </a:prstGeom>
            <a:noFill/>
            <a:ln w="508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B178E7C6-E7E5-F443-C5B3-BD81AC9628E3}"/>
                </a:ext>
              </a:extLst>
            </p:cNvPr>
            <p:cNvSpPr>
              <a:spLocks noChangeAspect="1"/>
            </p:cNvSpPr>
            <p:nvPr/>
          </p:nvSpPr>
          <p:spPr>
            <a:xfrm>
              <a:off x="11173109" y="1447800"/>
              <a:ext cx="1097280" cy="1097280"/>
            </a:xfrm>
            <a:prstGeom prst="ellipse">
              <a:avLst/>
            </a:prstGeom>
            <a:noFill/>
            <a:ln w="127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WiFi RED 3">
            <a:extLst>
              <a:ext uri="{FF2B5EF4-FFF2-40B4-BE49-F238E27FC236}">
                <a16:creationId xmlns:a16="http://schemas.microsoft.com/office/drawing/2014/main" id="{45A579EC-D33C-0E42-0AD5-D5D80B2285AD}"/>
              </a:ext>
            </a:extLst>
          </p:cNvPr>
          <p:cNvGrpSpPr>
            <a:grpSpLocks noChangeAspect="1"/>
          </p:cNvGrpSpPr>
          <p:nvPr/>
        </p:nvGrpSpPr>
        <p:grpSpPr>
          <a:xfrm>
            <a:off x="5503979" y="2177775"/>
            <a:ext cx="1003766" cy="1003766"/>
            <a:chOff x="11173109" y="1447800"/>
            <a:chExt cx="1097280" cy="1097280"/>
          </a:xfrm>
        </p:grpSpPr>
        <p:sp>
          <p:nvSpPr>
            <p:cNvPr id="52" name="Oval 51">
              <a:extLst>
                <a:ext uri="{FF2B5EF4-FFF2-40B4-BE49-F238E27FC236}">
                  <a16:creationId xmlns:a16="http://schemas.microsoft.com/office/drawing/2014/main" id="{32A69B7F-447A-3821-1EE5-D5B631E0AC2B}"/>
                </a:ext>
              </a:extLst>
            </p:cNvPr>
            <p:cNvSpPr>
              <a:spLocks noChangeAspect="1"/>
            </p:cNvSpPr>
            <p:nvPr/>
          </p:nvSpPr>
          <p:spPr>
            <a:xfrm>
              <a:off x="11264549" y="1539240"/>
              <a:ext cx="914400" cy="914400"/>
            </a:xfrm>
            <a:prstGeom prst="ellipse">
              <a:avLst/>
            </a:prstGeom>
            <a:noFill/>
            <a:ln w="254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D81FBF32-A9F1-BB49-BD16-93B39272FE90}"/>
                </a:ext>
              </a:extLst>
            </p:cNvPr>
            <p:cNvSpPr>
              <a:spLocks noChangeAspect="1"/>
            </p:cNvSpPr>
            <p:nvPr/>
          </p:nvSpPr>
          <p:spPr>
            <a:xfrm>
              <a:off x="11355989" y="1630680"/>
              <a:ext cx="731520" cy="731520"/>
            </a:xfrm>
            <a:prstGeom prst="ellipse">
              <a:avLst/>
            </a:prstGeom>
            <a:noFill/>
            <a:ln w="381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F145394E-CC6E-1299-005D-9ACB14D43B3C}"/>
                </a:ext>
              </a:extLst>
            </p:cNvPr>
            <p:cNvSpPr>
              <a:spLocks noChangeAspect="1"/>
            </p:cNvSpPr>
            <p:nvPr/>
          </p:nvSpPr>
          <p:spPr>
            <a:xfrm>
              <a:off x="11447429" y="1722120"/>
              <a:ext cx="548640" cy="548640"/>
            </a:xfrm>
            <a:prstGeom prst="ellipse">
              <a:avLst/>
            </a:prstGeom>
            <a:noFill/>
            <a:ln w="508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ED1A1A32-6B9D-79A1-454E-2E0C234A6FCA}"/>
                </a:ext>
              </a:extLst>
            </p:cNvPr>
            <p:cNvSpPr>
              <a:spLocks noChangeAspect="1"/>
            </p:cNvSpPr>
            <p:nvPr/>
          </p:nvSpPr>
          <p:spPr>
            <a:xfrm>
              <a:off x="11173109" y="1447800"/>
              <a:ext cx="1097280" cy="1097280"/>
            </a:xfrm>
            <a:prstGeom prst="ellipse">
              <a:avLst/>
            </a:prstGeom>
            <a:noFill/>
            <a:ln w="127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6" name="Graphic 55">
            <a:extLst>
              <a:ext uri="{FF2B5EF4-FFF2-40B4-BE49-F238E27FC236}">
                <a16:creationId xmlns:a16="http://schemas.microsoft.com/office/drawing/2014/main" id="{33B8E363-1AB3-9360-E43C-F4A2B8D38E8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93537" y="1371212"/>
            <a:ext cx="548640" cy="548640"/>
          </a:xfrm>
          <a:prstGeom prst="rect">
            <a:avLst/>
          </a:prstGeom>
        </p:spPr>
      </p:pic>
      <p:pic>
        <p:nvPicPr>
          <p:cNvPr id="57" name="Graphic 56">
            <a:extLst>
              <a:ext uri="{FF2B5EF4-FFF2-40B4-BE49-F238E27FC236}">
                <a16:creationId xmlns:a16="http://schemas.microsoft.com/office/drawing/2014/main" id="{1B2C561E-C860-73E4-D8CF-D527E848BA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32821" y="2405338"/>
            <a:ext cx="548640" cy="548640"/>
          </a:xfrm>
          <a:prstGeom prst="rect">
            <a:avLst/>
          </a:prstGeom>
        </p:spPr>
      </p:pic>
      <p:pic>
        <p:nvPicPr>
          <p:cNvPr id="58" name="Graphic 57">
            <a:extLst>
              <a:ext uri="{FF2B5EF4-FFF2-40B4-BE49-F238E27FC236}">
                <a16:creationId xmlns:a16="http://schemas.microsoft.com/office/drawing/2014/main" id="{728C4BA1-62A8-3B2A-55DE-8FC9E114A3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26059" y="3172327"/>
            <a:ext cx="548640" cy="548640"/>
          </a:xfrm>
          <a:prstGeom prst="rect">
            <a:avLst/>
          </a:prstGeom>
        </p:spPr>
      </p:pic>
      <p:pic>
        <p:nvPicPr>
          <p:cNvPr id="59" name="Graphic 58">
            <a:extLst>
              <a:ext uri="{FF2B5EF4-FFF2-40B4-BE49-F238E27FC236}">
                <a16:creationId xmlns:a16="http://schemas.microsoft.com/office/drawing/2014/main" id="{ED5A422A-7257-7AEC-78F8-B36C9E7041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52214" y="901986"/>
            <a:ext cx="548640" cy="548640"/>
          </a:xfrm>
          <a:prstGeom prst="rect">
            <a:avLst/>
          </a:prstGeom>
        </p:spPr>
      </p:pic>
      <p:pic>
        <p:nvPicPr>
          <p:cNvPr id="66" name="Graphic 65">
            <a:extLst>
              <a:ext uri="{FF2B5EF4-FFF2-40B4-BE49-F238E27FC236}">
                <a16:creationId xmlns:a16="http://schemas.microsoft.com/office/drawing/2014/main" id="{A7C0C7FA-A935-0BA6-7EFB-7FCD3ACF6C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2947" y="4844356"/>
            <a:ext cx="823908" cy="823908"/>
          </a:xfrm>
          <a:prstGeom prst="rect">
            <a:avLst/>
          </a:prstGeom>
        </p:spPr>
      </p:pic>
      <p:pic>
        <p:nvPicPr>
          <p:cNvPr id="67" name="Graphic 66">
            <a:extLst>
              <a:ext uri="{FF2B5EF4-FFF2-40B4-BE49-F238E27FC236}">
                <a16:creationId xmlns:a16="http://schemas.microsoft.com/office/drawing/2014/main" id="{4B26A84C-091C-DF73-8A5E-C286685911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44580" y="1070598"/>
            <a:ext cx="761726" cy="839453"/>
          </a:xfrm>
          <a:prstGeom prst="rect">
            <a:avLst/>
          </a:prstGeom>
        </p:spPr>
      </p:pic>
      <p:pic>
        <p:nvPicPr>
          <p:cNvPr id="68" name="Graphic 67">
            <a:extLst>
              <a:ext uri="{FF2B5EF4-FFF2-40B4-BE49-F238E27FC236}">
                <a16:creationId xmlns:a16="http://schemas.microsoft.com/office/drawing/2014/main" id="{4EFB9E5A-ECFF-C5AA-97FA-74347944582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42848" y="3088186"/>
            <a:ext cx="761726" cy="808362"/>
          </a:xfrm>
          <a:prstGeom prst="rect">
            <a:avLst/>
          </a:prstGeom>
        </p:spPr>
      </p:pic>
      <p:pic>
        <p:nvPicPr>
          <p:cNvPr id="69" name="Graphic 68">
            <a:extLst>
              <a:ext uri="{FF2B5EF4-FFF2-40B4-BE49-F238E27FC236}">
                <a16:creationId xmlns:a16="http://schemas.microsoft.com/office/drawing/2014/main" id="{97CD3DDE-BFB0-F936-1970-73A2847420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40907" y="1086143"/>
            <a:ext cx="823908" cy="823908"/>
          </a:xfrm>
          <a:prstGeom prst="rect">
            <a:avLst/>
          </a:prstGeom>
        </p:spPr>
      </p:pic>
      <p:pic>
        <p:nvPicPr>
          <p:cNvPr id="70" name="Graphic 69">
            <a:extLst>
              <a:ext uri="{FF2B5EF4-FFF2-40B4-BE49-F238E27FC236}">
                <a16:creationId xmlns:a16="http://schemas.microsoft.com/office/drawing/2014/main" id="{43EBA5D5-DB5C-51DF-8500-23E3C39871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4784" y="2443926"/>
            <a:ext cx="839453" cy="746181"/>
          </a:xfrm>
          <a:prstGeom prst="rect">
            <a:avLst/>
          </a:prstGeom>
        </p:spPr>
      </p:pic>
      <p:grpSp>
        <p:nvGrpSpPr>
          <p:cNvPr id="102" name="Group 101">
            <a:extLst>
              <a:ext uri="{FF2B5EF4-FFF2-40B4-BE49-F238E27FC236}">
                <a16:creationId xmlns:a16="http://schemas.microsoft.com/office/drawing/2014/main" id="{160E2AD6-DF2E-6037-5D3E-E256F1683DF0}"/>
              </a:ext>
            </a:extLst>
          </p:cNvPr>
          <p:cNvGrpSpPr>
            <a:grpSpLocks noChangeAspect="1"/>
          </p:cNvGrpSpPr>
          <p:nvPr/>
        </p:nvGrpSpPr>
        <p:grpSpPr>
          <a:xfrm>
            <a:off x="9660926" y="4753048"/>
            <a:ext cx="1235449" cy="1188720"/>
            <a:chOff x="6742650" y="3092995"/>
            <a:chExt cx="448246" cy="431292"/>
          </a:xfrm>
        </p:grpSpPr>
        <p:sp>
          <p:nvSpPr>
            <p:cNvPr id="103" name="Freeform: Shape 102">
              <a:extLst>
                <a:ext uri="{FF2B5EF4-FFF2-40B4-BE49-F238E27FC236}">
                  <a16:creationId xmlns:a16="http://schemas.microsoft.com/office/drawing/2014/main" id="{0EEDDCF4-774F-0265-2C00-13B707482B34}"/>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31750" cap="flat">
              <a:solidFill>
                <a:schemeClr val="accent3"/>
              </a:solidFill>
              <a:prstDash val="solid"/>
              <a:round/>
            </a:ln>
          </p:spPr>
          <p:txBody>
            <a:bodyPr rtlCol="0" anchor="ctr"/>
            <a:lstStyle/>
            <a:p>
              <a:endParaRPr lang="en-US"/>
            </a:p>
          </p:txBody>
        </p:sp>
        <p:sp>
          <p:nvSpPr>
            <p:cNvPr id="104" name="Freeform: Shape 103">
              <a:extLst>
                <a:ext uri="{FF2B5EF4-FFF2-40B4-BE49-F238E27FC236}">
                  <a16:creationId xmlns:a16="http://schemas.microsoft.com/office/drawing/2014/main" id="{002BDAD8-AAD2-F9F0-5668-1DA7EBD8F731}"/>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05" name="Freeform: Shape 104">
              <a:extLst>
                <a:ext uri="{FF2B5EF4-FFF2-40B4-BE49-F238E27FC236}">
                  <a16:creationId xmlns:a16="http://schemas.microsoft.com/office/drawing/2014/main" id="{777FF14A-CDAC-A072-22BC-0BBD3AB0E201}"/>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sp>
        <p:nvSpPr>
          <p:cNvPr id="106" name="blink">
            <a:extLst>
              <a:ext uri="{FF2B5EF4-FFF2-40B4-BE49-F238E27FC236}">
                <a16:creationId xmlns:a16="http://schemas.microsoft.com/office/drawing/2014/main" id="{985CC75B-85E3-BFF5-990E-03E55C9672EF}"/>
              </a:ext>
            </a:extLst>
          </p:cNvPr>
          <p:cNvSpPr/>
          <p:nvPr/>
        </p:nvSpPr>
        <p:spPr>
          <a:xfrm>
            <a:off x="9899862" y="5084012"/>
            <a:ext cx="757576" cy="34433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grpSp>
        <p:nvGrpSpPr>
          <p:cNvPr id="123" name="Group 122">
            <a:extLst>
              <a:ext uri="{FF2B5EF4-FFF2-40B4-BE49-F238E27FC236}">
                <a16:creationId xmlns:a16="http://schemas.microsoft.com/office/drawing/2014/main" id="{D3F22AF5-1EF9-B828-AC0A-454B89E712C4}"/>
              </a:ext>
            </a:extLst>
          </p:cNvPr>
          <p:cNvGrpSpPr/>
          <p:nvPr/>
        </p:nvGrpSpPr>
        <p:grpSpPr>
          <a:xfrm>
            <a:off x="5259544" y="2441133"/>
            <a:ext cx="387410" cy="341832"/>
            <a:chOff x="7319750" y="4432580"/>
            <a:chExt cx="323850" cy="285750"/>
          </a:xfrm>
        </p:grpSpPr>
        <p:sp>
          <p:nvSpPr>
            <p:cNvPr id="124" name="Isosceles Triangle 123">
              <a:extLst>
                <a:ext uri="{FF2B5EF4-FFF2-40B4-BE49-F238E27FC236}">
                  <a16:creationId xmlns:a16="http://schemas.microsoft.com/office/drawing/2014/main" id="{8C72C5FF-287E-E340-9C56-2BCE254362A1}"/>
                </a:ext>
              </a:extLst>
            </p:cNvPr>
            <p:cNvSpPr/>
            <p:nvPr/>
          </p:nvSpPr>
          <p:spPr>
            <a:xfrm>
              <a:off x="7352209" y="4462787"/>
              <a:ext cx="258935" cy="223219"/>
            </a:xfrm>
            <a:prstGeom prst="triangle">
              <a:avLst/>
            </a:prstGeom>
            <a:solidFill>
              <a:schemeClr val="accent4"/>
            </a:solidFill>
            <a:ln w="53975" cap="rnd">
              <a:solidFill>
                <a:schemeClr val="accent4"/>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5" name="Graphic 124">
              <a:extLst>
                <a:ext uri="{FF2B5EF4-FFF2-40B4-BE49-F238E27FC236}">
                  <a16:creationId xmlns:a16="http://schemas.microsoft.com/office/drawing/2014/main" id="{7112A721-746A-3B7D-0764-618A96A660E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19750" y="4432580"/>
              <a:ext cx="323850" cy="285750"/>
            </a:xfrm>
            <a:prstGeom prst="rect">
              <a:avLst/>
            </a:prstGeom>
          </p:spPr>
        </p:pic>
      </p:grpSp>
      <p:grpSp>
        <p:nvGrpSpPr>
          <p:cNvPr id="126" name="Group 125">
            <a:extLst>
              <a:ext uri="{FF2B5EF4-FFF2-40B4-BE49-F238E27FC236}">
                <a16:creationId xmlns:a16="http://schemas.microsoft.com/office/drawing/2014/main" id="{03C5563C-7475-B783-BCB4-30DF2333BBA0}"/>
              </a:ext>
            </a:extLst>
          </p:cNvPr>
          <p:cNvGrpSpPr/>
          <p:nvPr/>
        </p:nvGrpSpPr>
        <p:grpSpPr>
          <a:xfrm>
            <a:off x="2200042" y="2441133"/>
            <a:ext cx="387410" cy="341832"/>
            <a:chOff x="7319750" y="4432580"/>
            <a:chExt cx="323850" cy="285750"/>
          </a:xfrm>
        </p:grpSpPr>
        <p:sp>
          <p:nvSpPr>
            <p:cNvPr id="127" name="Isosceles Triangle 126">
              <a:extLst>
                <a:ext uri="{FF2B5EF4-FFF2-40B4-BE49-F238E27FC236}">
                  <a16:creationId xmlns:a16="http://schemas.microsoft.com/office/drawing/2014/main" id="{DAF592BD-FE3D-543A-2B79-EB74538B94E6}"/>
                </a:ext>
              </a:extLst>
            </p:cNvPr>
            <p:cNvSpPr/>
            <p:nvPr/>
          </p:nvSpPr>
          <p:spPr>
            <a:xfrm>
              <a:off x="7352209" y="4462787"/>
              <a:ext cx="258935" cy="223219"/>
            </a:xfrm>
            <a:prstGeom prst="triangle">
              <a:avLst/>
            </a:prstGeom>
            <a:solidFill>
              <a:schemeClr val="accent4"/>
            </a:solidFill>
            <a:ln w="53975" cap="rnd">
              <a:solidFill>
                <a:schemeClr val="accent4"/>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8" name="Graphic 127">
              <a:extLst>
                <a:ext uri="{FF2B5EF4-FFF2-40B4-BE49-F238E27FC236}">
                  <a16:creationId xmlns:a16="http://schemas.microsoft.com/office/drawing/2014/main" id="{AF415BAA-8495-5697-BF9F-6670A911B84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19750" y="4432580"/>
              <a:ext cx="323850" cy="285750"/>
            </a:xfrm>
            <a:prstGeom prst="rect">
              <a:avLst/>
            </a:prstGeom>
          </p:spPr>
        </p:pic>
      </p:grpSp>
      <p:grpSp>
        <p:nvGrpSpPr>
          <p:cNvPr id="129" name="Group 128">
            <a:extLst>
              <a:ext uri="{FF2B5EF4-FFF2-40B4-BE49-F238E27FC236}">
                <a16:creationId xmlns:a16="http://schemas.microsoft.com/office/drawing/2014/main" id="{A255B898-0791-B867-B564-221D3D799E18}"/>
              </a:ext>
            </a:extLst>
          </p:cNvPr>
          <p:cNvGrpSpPr/>
          <p:nvPr/>
        </p:nvGrpSpPr>
        <p:grpSpPr>
          <a:xfrm>
            <a:off x="2470720" y="1267955"/>
            <a:ext cx="387410" cy="341832"/>
            <a:chOff x="7319750" y="4432580"/>
            <a:chExt cx="323850" cy="285750"/>
          </a:xfrm>
        </p:grpSpPr>
        <p:sp>
          <p:nvSpPr>
            <p:cNvPr id="130" name="Isosceles Triangle 129">
              <a:extLst>
                <a:ext uri="{FF2B5EF4-FFF2-40B4-BE49-F238E27FC236}">
                  <a16:creationId xmlns:a16="http://schemas.microsoft.com/office/drawing/2014/main" id="{E62DD6AC-9214-971C-B3B6-0E98AA5E22EF}"/>
                </a:ext>
              </a:extLst>
            </p:cNvPr>
            <p:cNvSpPr/>
            <p:nvPr/>
          </p:nvSpPr>
          <p:spPr>
            <a:xfrm>
              <a:off x="7352209" y="4462787"/>
              <a:ext cx="258935" cy="223219"/>
            </a:xfrm>
            <a:prstGeom prst="triangle">
              <a:avLst/>
            </a:prstGeom>
            <a:solidFill>
              <a:schemeClr val="accent4"/>
            </a:solidFill>
            <a:ln w="53975" cap="rnd">
              <a:solidFill>
                <a:schemeClr val="accent4"/>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1" name="Graphic 130">
              <a:extLst>
                <a:ext uri="{FF2B5EF4-FFF2-40B4-BE49-F238E27FC236}">
                  <a16:creationId xmlns:a16="http://schemas.microsoft.com/office/drawing/2014/main" id="{9E2D152D-6C88-ED48-36A2-F54DE6E967E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19750" y="4432580"/>
              <a:ext cx="323850" cy="285750"/>
            </a:xfrm>
            <a:prstGeom prst="rect">
              <a:avLst/>
            </a:prstGeom>
          </p:spPr>
        </p:pic>
      </p:grpSp>
      <p:grpSp>
        <p:nvGrpSpPr>
          <p:cNvPr id="133" name="Group 132">
            <a:extLst>
              <a:ext uri="{FF2B5EF4-FFF2-40B4-BE49-F238E27FC236}">
                <a16:creationId xmlns:a16="http://schemas.microsoft.com/office/drawing/2014/main" id="{37A660BC-36F8-D00B-8A27-9B8C2C5B8F8D}"/>
              </a:ext>
            </a:extLst>
          </p:cNvPr>
          <p:cNvGrpSpPr/>
          <p:nvPr/>
        </p:nvGrpSpPr>
        <p:grpSpPr>
          <a:xfrm>
            <a:off x="8506067" y="2841595"/>
            <a:ext cx="2751155" cy="1676693"/>
            <a:chOff x="8144445" y="2187813"/>
            <a:chExt cx="3026976" cy="1987455"/>
          </a:xfrm>
        </p:grpSpPr>
        <p:sp>
          <p:nvSpPr>
            <p:cNvPr id="132" name="Speech Bubble: Rectangle with Corners Rounded 131">
              <a:extLst>
                <a:ext uri="{FF2B5EF4-FFF2-40B4-BE49-F238E27FC236}">
                  <a16:creationId xmlns:a16="http://schemas.microsoft.com/office/drawing/2014/main" id="{530B63C6-B077-2C56-C87A-3BD4BDB4AD7B}"/>
                </a:ext>
              </a:extLst>
            </p:cNvPr>
            <p:cNvSpPr/>
            <p:nvPr/>
          </p:nvSpPr>
          <p:spPr>
            <a:xfrm flipH="1">
              <a:off x="8144445" y="2187813"/>
              <a:ext cx="3026976" cy="1987455"/>
            </a:xfrm>
            <a:prstGeom prst="wedgeRoundRectCallout">
              <a:avLst>
                <a:gd name="adj1" fmla="val -19997"/>
                <a:gd name="adj2" fmla="val 71848"/>
                <a:gd name="adj3" fmla="val 16667"/>
              </a:avLst>
            </a:prstGeom>
            <a:solidFill>
              <a:schemeClr val="bg1"/>
            </a:solidFill>
            <a:ln w="381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TextBox 111">
              <a:extLst>
                <a:ext uri="{FF2B5EF4-FFF2-40B4-BE49-F238E27FC236}">
                  <a16:creationId xmlns:a16="http://schemas.microsoft.com/office/drawing/2014/main" id="{DA9169A8-BAD6-7B6D-BBB9-C93462EB9D4F}"/>
                </a:ext>
              </a:extLst>
            </p:cNvPr>
            <p:cNvSpPr txBox="1"/>
            <p:nvPr/>
          </p:nvSpPr>
          <p:spPr>
            <a:xfrm>
              <a:off x="8476610" y="2209162"/>
              <a:ext cx="2502820" cy="1917565"/>
            </a:xfrm>
            <a:prstGeom prst="rect">
              <a:avLst/>
            </a:prstGeom>
            <a:noFill/>
          </p:spPr>
          <p:txBody>
            <a:bodyPr wrap="square" lIns="0" tIns="0" rIns="0" bIns="0" rtlCol="0" anchor="ctr">
              <a:noAutofit/>
            </a:bodyPr>
            <a:lstStyle/>
            <a:p>
              <a:pPr marL="0" marR="0" lvl="0" indent="0" defTabSz="914377" rtl="0" eaLnBrk="1" fontAlgn="auto" latinLnBrk="0" hangingPunct="1">
                <a:lnSpc>
                  <a:spcPct val="110000"/>
                </a:lnSpc>
                <a:spcBef>
                  <a:spcPts val="600"/>
                </a:spcBef>
                <a:spcAft>
                  <a:spcPts val="0"/>
                </a:spcAft>
                <a:buClrTx/>
                <a:buSzTx/>
                <a:buFontTx/>
                <a:buNone/>
                <a:tabLst/>
                <a:defRPr/>
              </a:pPr>
              <a:r>
                <a:rPr kumimoji="0" lang="en-US" b="1" i="0" u="none" strike="noStrike" kern="1200" cap="none" spc="0" normalizeH="0" baseline="0" noProof="0">
                  <a:ln>
                    <a:noFill/>
                  </a:ln>
                  <a:solidFill>
                    <a:schemeClr val="accent3"/>
                  </a:solidFill>
                  <a:effectLst/>
                  <a:uLnTx/>
                  <a:uFillTx/>
                  <a:ea typeface="+mn-ea"/>
                  <a:cs typeface="Arial"/>
                  <a:sym typeface="Arial"/>
                </a:rPr>
                <a:t>I see that several users are having DHCP failures, let me post a Marvis Action</a:t>
              </a:r>
            </a:p>
          </p:txBody>
        </p:sp>
      </p:grpSp>
      <p:sp>
        <p:nvSpPr>
          <p:cNvPr id="135" name="TextBox 134">
            <a:extLst>
              <a:ext uri="{FF2B5EF4-FFF2-40B4-BE49-F238E27FC236}">
                <a16:creationId xmlns:a16="http://schemas.microsoft.com/office/drawing/2014/main" id="{99C538B2-6FE8-633D-6394-5139B213C06B}"/>
              </a:ext>
            </a:extLst>
          </p:cNvPr>
          <p:cNvSpPr txBox="1"/>
          <p:nvPr/>
        </p:nvSpPr>
        <p:spPr>
          <a:xfrm>
            <a:off x="8720522" y="984149"/>
            <a:ext cx="2924184" cy="1384995"/>
          </a:xfrm>
          <a:prstGeom prst="rect">
            <a:avLst/>
          </a:prstGeom>
          <a:noFill/>
        </p:spPr>
        <p:txBody>
          <a:bodyPr wrap="square">
            <a:spAutoFit/>
          </a:bodyPr>
          <a:lstStyle/>
          <a:p>
            <a:r>
              <a:rPr lang="en-US" sz="2800" b="1">
                <a:solidFill>
                  <a:schemeClr val="accent1"/>
                </a:solidFill>
              </a:rPr>
              <a:t>Marvis Detects and Determines Root Cause</a:t>
            </a:r>
          </a:p>
        </p:txBody>
      </p:sp>
      <p:pic>
        <p:nvPicPr>
          <p:cNvPr id="2" name="Graphic 1">
            <a:extLst>
              <a:ext uri="{FF2B5EF4-FFF2-40B4-BE49-F238E27FC236}">
                <a16:creationId xmlns:a16="http://schemas.microsoft.com/office/drawing/2014/main" id="{01F5D156-C934-A2DE-E2EB-CBD12807C79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75028" y="1820504"/>
            <a:ext cx="548640" cy="548640"/>
          </a:xfrm>
          <a:prstGeom prst="rect">
            <a:avLst/>
          </a:prstGeom>
        </p:spPr>
      </p:pic>
      <p:pic>
        <p:nvPicPr>
          <p:cNvPr id="74" name="Graphic 73">
            <a:extLst>
              <a:ext uri="{FF2B5EF4-FFF2-40B4-BE49-F238E27FC236}">
                <a16:creationId xmlns:a16="http://schemas.microsoft.com/office/drawing/2014/main" id="{36C6A163-79B2-1E2D-3B63-4FDAFF27C0A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92559" y="3172327"/>
            <a:ext cx="548640" cy="548640"/>
          </a:xfrm>
          <a:prstGeom prst="rect">
            <a:avLst/>
          </a:prstGeom>
        </p:spPr>
      </p:pic>
      <p:pic>
        <p:nvPicPr>
          <p:cNvPr id="75" name="Graphic 74">
            <a:extLst>
              <a:ext uri="{FF2B5EF4-FFF2-40B4-BE49-F238E27FC236}">
                <a16:creationId xmlns:a16="http://schemas.microsoft.com/office/drawing/2014/main" id="{F103B4D1-394D-1A60-CA60-4A9EF0422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48627" y="4829221"/>
            <a:ext cx="548640" cy="548640"/>
          </a:xfrm>
          <a:prstGeom prst="rect">
            <a:avLst/>
          </a:prstGeom>
        </p:spPr>
      </p:pic>
    </p:spTree>
    <p:extLst>
      <p:ext uri="{BB962C8B-B14F-4D97-AF65-F5344CB8AC3E}">
        <p14:creationId xmlns:p14="http://schemas.microsoft.com/office/powerpoint/2010/main" val="48281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3000" accel="15000" decel="15000" autoRev="1" fill="remove" nodeType="withEffect">
                                  <p:stCondLst>
                                    <p:cond delay="0"/>
                                  </p:stCondLst>
                                  <p:childTnLst>
                                    <p:animMotion origin="layout" path="M 1.04167E-6 3.7037E-7 L 1.04167E-6 -0.02245 " pathEditMode="relative" rAng="0" ptsTypes="AA">
                                      <p:cBhvr>
                                        <p:cTn id="6" dur="1500" fill="hold"/>
                                        <p:tgtEl>
                                          <p:spTgt spid="102"/>
                                        </p:tgtEl>
                                        <p:attrNameLst>
                                          <p:attrName>ppt_x</p:attrName>
                                          <p:attrName>ppt_y</p:attrName>
                                        </p:attrNameLst>
                                      </p:cBhvr>
                                      <p:rCtr x="0" y="-1134"/>
                                    </p:animMotion>
                                  </p:childTnLst>
                                </p:cTn>
                              </p:par>
                              <p:par>
                                <p:cTn id="7" presetID="16" presetClass="entr" presetSubtype="26" fill="remove" grpId="0" nodeType="withEffect">
                                  <p:stCondLst>
                                    <p:cond delay="2750"/>
                                  </p:stCondLst>
                                  <p:childTnLst>
                                    <p:set>
                                      <p:cBhvr>
                                        <p:cTn id="8" dur="1" fill="hold">
                                          <p:stCondLst>
                                            <p:cond delay="0"/>
                                          </p:stCondLst>
                                        </p:cTn>
                                        <p:tgtEl>
                                          <p:spTgt spid="106"/>
                                        </p:tgtEl>
                                        <p:attrNameLst>
                                          <p:attrName>style.visibility</p:attrName>
                                        </p:attrNameLst>
                                      </p:cBhvr>
                                      <p:to>
                                        <p:strVal val="visible"/>
                                      </p:to>
                                    </p:set>
                                    <p:animEffect transition="in" filter="barn(inHorizontal)">
                                      <p:cBhvr>
                                        <p:cTn id="9" dur="250"/>
                                        <p:tgtEl>
                                          <p:spTgt spid="106"/>
                                        </p:tgtEl>
                                      </p:cBhvr>
                                    </p:animEffect>
                                  </p:childTnLst>
                                </p:cTn>
                              </p:par>
                              <p:par>
                                <p:cTn id="10" presetID="16" presetClass="exit" presetSubtype="42" fill="hold" grpId="1" nodeType="withEffect">
                                  <p:stCondLst>
                                    <p:cond delay="3000"/>
                                  </p:stCondLst>
                                  <p:childTnLst>
                                    <p:animEffect transition="out" filter="barn(outHorizontal)">
                                      <p:cBhvr>
                                        <p:cTn id="11" dur="250"/>
                                        <p:tgtEl>
                                          <p:spTgt spid="106"/>
                                        </p:tgtEl>
                                      </p:cBhvr>
                                    </p:animEffect>
                                    <p:set>
                                      <p:cBhvr>
                                        <p:cTn id="12" dur="1" fill="hold">
                                          <p:stCondLst>
                                            <p:cond delay="249"/>
                                          </p:stCondLst>
                                        </p:cTn>
                                        <p:tgtEl>
                                          <p:spTgt spid="106"/>
                                        </p:tgtEl>
                                        <p:attrNameLst>
                                          <p:attrName>style.visibility</p:attrName>
                                        </p:attrNameLst>
                                      </p:cBhvr>
                                      <p:to>
                                        <p:strVal val="hidden"/>
                                      </p:to>
                                    </p:set>
                                  </p:childTnLst>
                                </p:cTn>
                              </p:par>
                              <p:par>
                                <p:cTn id="13" presetID="16" presetClass="entr" presetSubtype="26" fill="hold" grpId="2" nodeType="withEffect">
                                  <p:stCondLst>
                                    <p:cond delay="8750"/>
                                  </p:stCondLst>
                                  <p:childTnLst>
                                    <p:set>
                                      <p:cBhvr>
                                        <p:cTn id="14" dur="1" fill="hold">
                                          <p:stCondLst>
                                            <p:cond delay="0"/>
                                          </p:stCondLst>
                                        </p:cTn>
                                        <p:tgtEl>
                                          <p:spTgt spid="106"/>
                                        </p:tgtEl>
                                        <p:attrNameLst>
                                          <p:attrName>style.visibility</p:attrName>
                                        </p:attrNameLst>
                                      </p:cBhvr>
                                      <p:to>
                                        <p:strVal val="visible"/>
                                      </p:to>
                                    </p:set>
                                    <p:animEffect transition="in" filter="barn(inHorizontal)">
                                      <p:cBhvr>
                                        <p:cTn id="15" dur="250"/>
                                        <p:tgtEl>
                                          <p:spTgt spid="106"/>
                                        </p:tgtEl>
                                      </p:cBhvr>
                                    </p:animEffect>
                                  </p:childTnLst>
                                </p:cTn>
                              </p:par>
                              <p:par>
                                <p:cTn id="16" presetID="16" presetClass="exit" presetSubtype="42" fill="hold" grpId="3" nodeType="withEffect">
                                  <p:stCondLst>
                                    <p:cond delay="9000"/>
                                  </p:stCondLst>
                                  <p:childTnLst>
                                    <p:animEffect transition="out" filter="barn(outHorizontal)">
                                      <p:cBhvr>
                                        <p:cTn id="17" dur="250"/>
                                        <p:tgtEl>
                                          <p:spTgt spid="106"/>
                                        </p:tgtEl>
                                      </p:cBhvr>
                                    </p:animEffect>
                                    <p:set>
                                      <p:cBhvr>
                                        <p:cTn id="18" dur="1" fill="hold">
                                          <p:stCondLst>
                                            <p:cond delay="249"/>
                                          </p:stCondLst>
                                        </p:cTn>
                                        <p:tgtEl>
                                          <p:spTgt spid="106"/>
                                        </p:tgtEl>
                                        <p:attrNameLst>
                                          <p:attrName>style.visibility</p:attrName>
                                        </p:attrNameLst>
                                      </p:cBhvr>
                                      <p:to>
                                        <p:strVal val="hidden"/>
                                      </p:to>
                                    </p:set>
                                  </p:childTnLst>
                                </p:cTn>
                              </p:par>
                              <p:par>
                                <p:cTn id="19" presetID="6" presetClass="emph" presetSubtype="0" repeatCount="3000" autoRev="1" fill="hold" nodeType="withEffect">
                                  <p:stCondLst>
                                    <p:cond delay="0"/>
                                  </p:stCondLst>
                                  <p:childTnLst>
                                    <p:animScale>
                                      <p:cBhvr>
                                        <p:cTn id="20" dur="750" fill="hold"/>
                                        <p:tgtEl>
                                          <p:spTgt spid="6"/>
                                        </p:tgtEl>
                                      </p:cBhvr>
                                      <p:by x="110000" y="110000"/>
                                    </p:animScale>
                                  </p:childTnLst>
                                </p:cTn>
                              </p:par>
                              <p:par>
                                <p:cTn id="21" presetID="6" presetClass="emph" presetSubtype="0" repeatCount="3000" autoRev="1" fill="hold" nodeType="withEffect">
                                  <p:stCondLst>
                                    <p:cond delay="0"/>
                                  </p:stCondLst>
                                  <p:childTnLst>
                                    <p:animScale>
                                      <p:cBhvr>
                                        <p:cTn id="22" dur="750" fill="hold"/>
                                        <p:tgtEl>
                                          <p:spTgt spid="11"/>
                                        </p:tgtEl>
                                      </p:cBhvr>
                                      <p:by x="110000" y="110000"/>
                                    </p:animScale>
                                  </p:childTnLst>
                                </p:cTn>
                              </p:par>
                              <p:par>
                                <p:cTn id="23" presetID="6" presetClass="emph" presetSubtype="0" repeatCount="3000" autoRev="1" fill="hold" nodeType="withEffect">
                                  <p:stCondLst>
                                    <p:cond delay="0"/>
                                  </p:stCondLst>
                                  <p:childTnLst>
                                    <p:animScale>
                                      <p:cBhvr>
                                        <p:cTn id="24" dur="750" fill="hold"/>
                                        <p:tgtEl>
                                          <p:spTgt spid="16"/>
                                        </p:tgtEl>
                                      </p:cBhvr>
                                      <p:by x="110000" y="110000"/>
                                    </p:animScale>
                                  </p:childTnLst>
                                </p:cTn>
                              </p:par>
                              <p:par>
                                <p:cTn id="25" presetID="6" presetClass="emph" presetSubtype="0" repeatCount="3000" autoRev="1" fill="hold" nodeType="withEffect">
                                  <p:stCondLst>
                                    <p:cond delay="0"/>
                                  </p:stCondLst>
                                  <p:childTnLst>
                                    <p:animScale>
                                      <p:cBhvr>
                                        <p:cTn id="26" dur="750" fill="hold"/>
                                        <p:tgtEl>
                                          <p:spTgt spid="21"/>
                                        </p:tgtEl>
                                      </p:cBhvr>
                                      <p:by x="110000" y="110000"/>
                                    </p:animScale>
                                  </p:childTnLst>
                                </p:cTn>
                              </p:par>
                              <p:par>
                                <p:cTn id="27" presetID="6" presetClass="emph" presetSubtype="0" repeatCount="3000" autoRev="1" fill="hold" nodeType="withEffect">
                                  <p:stCondLst>
                                    <p:cond delay="0"/>
                                  </p:stCondLst>
                                  <p:childTnLst>
                                    <p:animScale>
                                      <p:cBhvr>
                                        <p:cTn id="28" dur="750" fill="hold"/>
                                        <p:tgtEl>
                                          <p:spTgt spid="36"/>
                                        </p:tgtEl>
                                      </p:cBhvr>
                                      <p:by x="110000" y="110000"/>
                                    </p:animScale>
                                  </p:childTnLst>
                                </p:cTn>
                              </p:par>
                              <p:par>
                                <p:cTn id="29" presetID="6" presetClass="emph" presetSubtype="0" repeatCount="3000" autoRev="1" fill="hold" nodeType="withEffect">
                                  <p:stCondLst>
                                    <p:cond delay="0"/>
                                  </p:stCondLst>
                                  <p:childTnLst>
                                    <p:animScale>
                                      <p:cBhvr>
                                        <p:cTn id="30" dur="750" fill="hold"/>
                                        <p:tgtEl>
                                          <p:spTgt spid="41"/>
                                        </p:tgtEl>
                                      </p:cBhvr>
                                      <p:by x="110000" y="110000"/>
                                    </p:animScale>
                                  </p:childTnLst>
                                </p:cTn>
                              </p:par>
                              <p:par>
                                <p:cTn id="31" presetID="6" presetClass="emph" presetSubtype="0" repeatCount="3000" autoRev="1" fill="hold" nodeType="withEffect">
                                  <p:stCondLst>
                                    <p:cond delay="0"/>
                                  </p:stCondLst>
                                  <p:childTnLst>
                                    <p:animScale>
                                      <p:cBhvr>
                                        <p:cTn id="32" dur="750" fill="hold"/>
                                        <p:tgtEl>
                                          <p:spTgt spid="118"/>
                                        </p:tgtEl>
                                      </p:cBhvr>
                                      <p:by x="110000" y="110000"/>
                                    </p:animScale>
                                  </p:childTnLst>
                                </p:cTn>
                              </p:par>
                              <p:par>
                                <p:cTn id="33" presetID="6" presetClass="emph" presetSubtype="0" repeatCount="3000" autoRev="1" fill="hold" nodeType="withEffect">
                                  <p:stCondLst>
                                    <p:cond delay="0"/>
                                  </p:stCondLst>
                                  <p:childTnLst>
                                    <p:animScale>
                                      <p:cBhvr>
                                        <p:cTn id="34" dur="750" fill="hold"/>
                                        <p:tgtEl>
                                          <p:spTgt spid="26"/>
                                        </p:tgtEl>
                                      </p:cBhvr>
                                      <p:by x="110000" y="110000"/>
                                    </p:animScale>
                                  </p:childTnLst>
                                </p:cTn>
                              </p:par>
                              <p:par>
                                <p:cTn id="35" presetID="26" presetClass="emph" presetSubtype="0" repeatCount="3000" fill="hold" nodeType="withEffect">
                                  <p:stCondLst>
                                    <p:cond delay="0"/>
                                  </p:stCondLst>
                                  <p:childTnLst>
                                    <p:animEffect transition="out" filter="fade">
                                      <p:cBhvr>
                                        <p:cTn id="36" dur="1500" tmFilter="0, 0; .2, .5; .8, .5; 1, 0"/>
                                        <p:tgtEl>
                                          <p:spTgt spid="26"/>
                                        </p:tgtEl>
                                      </p:cBhvr>
                                    </p:animEffect>
                                    <p:animScale>
                                      <p:cBhvr>
                                        <p:cTn id="37" dur="750" autoRev="1" fill="hold"/>
                                        <p:tgtEl>
                                          <p:spTgt spid="26"/>
                                        </p:tgtEl>
                                      </p:cBhvr>
                                      <p:by x="105000" y="105000"/>
                                    </p:animScale>
                                  </p:childTnLst>
                                </p:cTn>
                              </p:par>
                              <p:par>
                                <p:cTn id="38" presetID="26" presetClass="emph" presetSubtype="0" repeatCount="3000" fill="hold" nodeType="withEffect">
                                  <p:stCondLst>
                                    <p:cond delay="0"/>
                                  </p:stCondLst>
                                  <p:childTnLst>
                                    <p:animEffect transition="out" filter="fade">
                                      <p:cBhvr>
                                        <p:cTn id="39" dur="1500" tmFilter="0, 0; .2, .5; .8, .5; 1, 0"/>
                                        <p:tgtEl>
                                          <p:spTgt spid="6"/>
                                        </p:tgtEl>
                                      </p:cBhvr>
                                    </p:animEffect>
                                    <p:animScale>
                                      <p:cBhvr>
                                        <p:cTn id="40" dur="750" autoRev="1" fill="hold"/>
                                        <p:tgtEl>
                                          <p:spTgt spid="6"/>
                                        </p:tgtEl>
                                      </p:cBhvr>
                                      <p:by x="105000" y="105000"/>
                                    </p:animScale>
                                  </p:childTnLst>
                                </p:cTn>
                              </p:par>
                              <p:par>
                                <p:cTn id="41" presetID="26" presetClass="emph" presetSubtype="0" repeatCount="3000" fill="hold" nodeType="withEffect">
                                  <p:stCondLst>
                                    <p:cond delay="0"/>
                                  </p:stCondLst>
                                  <p:childTnLst>
                                    <p:animEffect transition="out" filter="fade">
                                      <p:cBhvr>
                                        <p:cTn id="42" dur="1500" tmFilter="0, 0; .2, .5; .8, .5; 1, 0"/>
                                        <p:tgtEl>
                                          <p:spTgt spid="11"/>
                                        </p:tgtEl>
                                      </p:cBhvr>
                                    </p:animEffect>
                                    <p:animScale>
                                      <p:cBhvr>
                                        <p:cTn id="43" dur="750" autoRev="1" fill="hold"/>
                                        <p:tgtEl>
                                          <p:spTgt spid="11"/>
                                        </p:tgtEl>
                                      </p:cBhvr>
                                      <p:by x="105000" y="105000"/>
                                    </p:animScale>
                                  </p:childTnLst>
                                </p:cTn>
                              </p:par>
                              <p:par>
                                <p:cTn id="44" presetID="26" presetClass="emph" presetSubtype="0" repeatCount="3000" fill="hold" nodeType="withEffect">
                                  <p:stCondLst>
                                    <p:cond delay="0"/>
                                  </p:stCondLst>
                                  <p:childTnLst>
                                    <p:animEffect transition="out" filter="fade">
                                      <p:cBhvr>
                                        <p:cTn id="45" dur="1500" tmFilter="0, 0; .2, .5; .8, .5; 1, 0"/>
                                        <p:tgtEl>
                                          <p:spTgt spid="16"/>
                                        </p:tgtEl>
                                      </p:cBhvr>
                                    </p:animEffect>
                                    <p:animScale>
                                      <p:cBhvr>
                                        <p:cTn id="46" dur="750" autoRev="1" fill="hold"/>
                                        <p:tgtEl>
                                          <p:spTgt spid="16"/>
                                        </p:tgtEl>
                                      </p:cBhvr>
                                      <p:by x="105000" y="105000"/>
                                    </p:animScale>
                                  </p:childTnLst>
                                </p:cTn>
                              </p:par>
                              <p:par>
                                <p:cTn id="47" presetID="26" presetClass="emph" presetSubtype="0" repeatCount="3000" fill="hold" nodeType="withEffect">
                                  <p:stCondLst>
                                    <p:cond delay="0"/>
                                  </p:stCondLst>
                                  <p:childTnLst>
                                    <p:animEffect transition="out" filter="fade">
                                      <p:cBhvr>
                                        <p:cTn id="48" dur="1500" tmFilter="0, 0; .2, .5; .8, .5; 1, 0"/>
                                        <p:tgtEl>
                                          <p:spTgt spid="21"/>
                                        </p:tgtEl>
                                      </p:cBhvr>
                                    </p:animEffect>
                                    <p:animScale>
                                      <p:cBhvr>
                                        <p:cTn id="49" dur="750" autoRev="1" fill="hold"/>
                                        <p:tgtEl>
                                          <p:spTgt spid="21"/>
                                        </p:tgtEl>
                                      </p:cBhvr>
                                      <p:by x="105000" y="105000"/>
                                    </p:animScale>
                                  </p:childTnLst>
                                </p:cTn>
                              </p:par>
                              <p:par>
                                <p:cTn id="50" presetID="26" presetClass="emph" presetSubtype="0" repeatCount="3000" fill="hold" nodeType="withEffect">
                                  <p:stCondLst>
                                    <p:cond delay="0"/>
                                  </p:stCondLst>
                                  <p:childTnLst>
                                    <p:animEffect transition="out" filter="fade">
                                      <p:cBhvr>
                                        <p:cTn id="51" dur="1500" tmFilter="0, 0; .2, .5; .8, .5; 1, 0"/>
                                        <p:tgtEl>
                                          <p:spTgt spid="36"/>
                                        </p:tgtEl>
                                      </p:cBhvr>
                                    </p:animEffect>
                                    <p:animScale>
                                      <p:cBhvr>
                                        <p:cTn id="52" dur="750" autoRev="1" fill="hold"/>
                                        <p:tgtEl>
                                          <p:spTgt spid="36"/>
                                        </p:tgtEl>
                                      </p:cBhvr>
                                      <p:by x="105000" y="105000"/>
                                    </p:animScale>
                                  </p:childTnLst>
                                </p:cTn>
                              </p:par>
                              <p:par>
                                <p:cTn id="53" presetID="26" presetClass="emph" presetSubtype="0" repeatCount="3000" fill="hold" nodeType="withEffect">
                                  <p:stCondLst>
                                    <p:cond delay="0"/>
                                  </p:stCondLst>
                                  <p:childTnLst>
                                    <p:animEffect transition="out" filter="fade">
                                      <p:cBhvr>
                                        <p:cTn id="54" dur="1500" tmFilter="0, 0; .2, .5; .8, .5; 1, 0"/>
                                        <p:tgtEl>
                                          <p:spTgt spid="41"/>
                                        </p:tgtEl>
                                      </p:cBhvr>
                                    </p:animEffect>
                                    <p:animScale>
                                      <p:cBhvr>
                                        <p:cTn id="55" dur="750" autoRev="1" fill="hold"/>
                                        <p:tgtEl>
                                          <p:spTgt spid="41"/>
                                        </p:tgtEl>
                                      </p:cBhvr>
                                      <p:by x="105000" y="105000"/>
                                    </p:animScale>
                                  </p:childTnLst>
                                </p:cTn>
                              </p:par>
                              <p:par>
                                <p:cTn id="56" presetID="26" presetClass="emph" presetSubtype="0" repeatCount="3000" fill="hold" nodeType="withEffect">
                                  <p:stCondLst>
                                    <p:cond delay="0"/>
                                  </p:stCondLst>
                                  <p:childTnLst>
                                    <p:animEffect transition="out" filter="fade">
                                      <p:cBhvr>
                                        <p:cTn id="57" dur="1500" tmFilter="0, 0; .2, .5; .8, .5; 1, 0"/>
                                        <p:tgtEl>
                                          <p:spTgt spid="118"/>
                                        </p:tgtEl>
                                      </p:cBhvr>
                                    </p:animEffect>
                                    <p:animScale>
                                      <p:cBhvr>
                                        <p:cTn id="58" dur="750" autoRev="1" fill="hold"/>
                                        <p:tgtEl>
                                          <p:spTgt spid="118"/>
                                        </p:tgtEl>
                                      </p:cBhvr>
                                      <p:by x="105000" y="105000"/>
                                    </p:animScale>
                                  </p:childTnLst>
                                </p:cTn>
                              </p:par>
                              <p:par>
                                <p:cTn id="59" presetID="10" presetClass="exit" presetSubtype="0" fill="hold" nodeType="withEffect">
                                  <p:stCondLst>
                                    <p:cond delay="4500"/>
                                  </p:stCondLst>
                                  <p:childTnLst>
                                    <p:animEffect transition="out" filter="fade">
                                      <p:cBhvr>
                                        <p:cTn id="60" dur="500"/>
                                        <p:tgtEl>
                                          <p:spTgt spid="21"/>
                                        </p:tgtEl>
                                      </p:cBhvr>
                                    </p:animEffect>
                                    <p:set>
                                      <p:cBhvr>
                                        <p:cTn id="61" dur="1" fill="hold">
                                          <p:stCondLst>
                                            <p:cond delay="499"/>
                                          </p:stCondLst>
                                        </p:cTn>
                                        <p:tgtEl>
                                          <p:spTgt spid="21"/>
                                        </p:tgtEl>
                                        <p:attrNameLst>
                                          <p:attrName>style.visibility</p:attrName>
                                        </p:attrNameLst>
                                      </p:cBhvr>
                                      <p:to>
                                        <p:strVal val="hidden"/>
                                      </p:to>
                                    </p:set>
                                  </p:childTnLst>
                                </p:cTn>
                              </p:par>
                              <p:par>
                                <p:cTn id="62" presetID="10" presetClass="exit" presetSubtype="0" fill="hold" nodeType="withEffect">
                                  <p:stCondLst>
                                    <p:cond delay="4500"/>
                                  </p:stCondLst>
                                  <p:childTnLst>
                                    <p:animEffect transition="out" filter="fade">
                                      <p:cBhvr>
                                        <p:cTn id="63" dur="500"/>
                                        <p:tgtEl>
                                          <p:spTgt spid="16"/>
                                        </p:tgtEl>
                                      </p:cBhvr>
                                    </p:animEffect>
                                    <p:set>
                                      <p:cBhvr>
                                        <p:cTn id="64" dur="1" fill="hold">
                                          <p:stCondLst>
                                            <p:cond delay="499"/>
                                          </p:stCondLst>
                                        </p:cTn>
                                        <p:tgtEl>
                                          <p:spTgt spid="16"/>
                                        </p:tgtEl>
                                        <p:attrNameLst>
                                          <p:attrName>style.visibility</p:attrName>
                                        </p:attrNameLst>
                                      </p:cBhvr>
                                      <p:to>
                                        <p:strVal val="hidden"/>
                                      </p:to>
                                    </p:set>
                                  </p:childTnLst>
                                </p:cTn>
                              </p:par>
                              <p:par>
                                <p:cTn id="65" presetID="10" presetClass="exit" presetSubtype="0" fill="hold" nodeType="withEffect">
                                  <p:stCondLst>
                                    <p:cond delay="4500"/>
                                  </p:stCondLst>
                                  <p:childTnLst>
                                    <p:animEffect transition="out" filter="fade">
                                      <p:cBhvr>
                                        <p:cTn id="66" dur="500"/>
                                        <p:tgtEl>
                                          <p:spTgt spid="118"/>
                                        </p:tgtEl>
                                      </p:cBhvr>
                                    </p:animEffect>
                                    <p:set>
                                      <p:cBhvr>
                                        <p:cTn id="67" dur="1" fill="hold">
                                          <p:stCondLst>
                                            <p:cond delay="499"/>
                                          </p:stCondLst>
                                        </p:cTn>
                                        <p:tgtEl>
                                          <p:spTgt spid="118"/>
                                        </p:tgtEl>
                                        <p:attrNameLst>
                                          <p:attrName>style.visibility</p:attrName>
                                        </p:attrNameLst>
                                      </p:cBhvr>
                                      <p:to>
                                        <p:strVal val="hidden"/>
                                      </p:to>
                                    </p:set>
                                  </p:childTnLst>
                                </p:cTn>
                              </p:par>
                              <p:par>
                                <p:cTn id="68" presetID="10" presetClass="entr" presetSubtype="0" fill="hold" nodeType="withEffect">
                                  <p:stCondLst>
                                    <p:cond delay="450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10" presetClass="entr" presetSubtype="0" fill="hold" nodeType="withEffect">
                                  <p:stCondLst>
                                    <p:cond delay="450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childTnLst>
                                </p:cTn>
                              </p:par>
                              <p:par>
                                <p:cTn id="74" presetID="10" presetClass="entr" presetSubtype="0" fill="hold" nodeType="withEffect">
                                  <p:stCondLst>
                                    <p:cond delay="450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6" presetClass="emph" presetSubtype="0" repeatCount="4000" autoRev="1" fill="hold" nodeType="withEffect">
                                  <p:stCondLst>
                                    <p:cond delay="4500"/>
                                  </p:stCondLst>
                                  <p:childTnLst>
                                    <p:animScale>
                                      <p:cBhvr>
                                        <p:cTn id="78" dur="750" fill="hold"/>
                                        <p:tgtEl>
                                          <p:spTgt spid="51"/>
                                        </p:tgtEl>
                                      </p:cBhvr>
                                      <p:by x="110000" y="110000"/>
                                    </p:animScale>
                                  </p:childTnLst>
                                </p:cTn>
                              </p:par>
                              <p:par>
                                <p:cTn id="79" presetID="26" presetClass="emph" presetSubtype="0" repeatCount="4000" fill="hold" nodeType="withEffect">
                                  <p:stCondLst>
                                    <p:cond delay="4500"/>
                                  </p:stCondLst>
                                  <p:childTnLst>
                                    <p:animEffect transition="out" filter="fade">
                                      <p:cBhvr>
                                        <p:cTn id="80" dur="1500" tmFilter="0, 0; .2, .5; .8, .5; 1, 0"/>
                                        <p:tgtEl>
                                          <p:spTgt spid="51"/>
                                        </p:tgtEl>
                                      </p:cBhvr>
                                    </p:animEffect>
                                    <p:animScale>
                                      <p:cBhvr>
                                        <p:cTn id="81" dur="750" autoRev="1" fill="hold"/>
                                        <p:tgtEl>
                                          <p:spTgt spid="51"/>
                                        </p:tgtEl>
                                      </p:cBhvr>
                                      <p:by x="105000" y="105000"/>
                                    </p:animScale>
                                  </p:childTnLst>
                                </p:cTn>
                              </p:par>
                              <p:par>
                                <p:cTn id="82" presetID="6" presetClass="emph" presetSubtype="0" repeatCount="4000" autoRev="1" fill="hold" nodeType="withEffect">
                                  <p:stCondLst>
                                    <p:cond delay="4500"/>
                                  </p:stCondLst>
                                  <p:childTnLst>
                                    <p:animScale>
                                      <p:cBhvr>
                                        <p:cTn id="83" dur="750" fill="hold"/>
                                        <p:tgtEl>
                                          <p:spTgt spid="31"/>
                                        </p:tgtEl>
                                      </p:cBhvr>
                                      <p:by x="110000" y="110000"/>
                                    </p:animScale>
                                  </p:childTnLst>
                                </p:cTn>
                              </p:par>
                              <p:par>
                                <p:cTn id="84" presetID="26" presetClass="emph" presetSubtype="0" repeatCount="4000" fill="hold" nodeType="withEffect">
                                  <p:stCondLst>
                                    <p:cond delay="4500"/>
                                  </p:stCondLst>
                                  <p:childTnLst>
                                    <p:animEffect transition="out" filter="fade">
                                      <p:cBhvr>
                                        <p:cTn id="85" dur="1500" tmFilter="0, 0; .2, .5; .8, .5; 1, 0"/>
                                        <p:tgtEl>
                                          <p:spTgt spid="31"/>
                                        </p:tgtEl>
                                      </p:cBhvr>
                                    </p:animEffect>
                                    <p:animScale>
                                      <p:cBhvr>
                                        <p:cTn id="86" dur="750" autoRev="1" fill="hold"/>
                                        <p:tgtEl>
                                          <p:spTgt spid="31"/>
                                        </p:tgtEl>
                                      </p:cBhvr>
                                      <p:by x="105000" y="105000"/>
                                    </p:animScale>
                                  </p:childTnLst>
                                </p:cTn>
                              </p:par>
                              <p:par>
                                <p:cTn id="87" presetID="6" presetClass="emph" presetSubtype="0" repeatCount="4000" autoRev="1" fill="hold" nodeType="withEffect">
                                  <p:stCondLst>
                                    <p:cond delay="4500"/>
                                  </p:stCondLst>
                                  <p:childTnLst>
                                    <p:animScale>
                                      <p:cBhvr>
                                        <p:cTn id="88" dur="750" fill="hold"/>
                                        <p:tgtEl>
                                          <p:spTgt spid="46"/>
                                        </p:tgtEl>
                                      </p:cBhvr>
                                      <p:by x="110000" y="110000"/>
                                    </p:animScale>
                                  </p:childTnLst>
                                </p:cTn>
                              </p:par>
                              <p:par>
                                <p:cTn id="89" presetID="26" presetClass="emph" presetSubtype="0" repeatCount="4000" fill="hold" nodeType="withEffect">
                                  <p:stCondLst>
                                    <p:cond delay="4500"/>
                                  </p:stCondLst>
                                  <p:childTnLst>
                                    <p:animEffect transition="out" filter="fade">
                                      <p:cBhvr>
                                        <p:cTn id="90" dur="1500" tmFilter="0, 0; .2, .5; .8, .5; 1, 0"/>
                                        <p:tgtEl>
                                          <p:spTgt spid="46"/>
                                        </p:tgtEl>
                                      </p:cBhvr>
                                    </p:animEffect>
                                    <p:animScale>
                                      <p:cBhvr>
                                        <p:cTn id="91" dur="750" autoRev="1" fill="hold"/>
                                        <p:tgtEl>
                                          <p:spTgt spid="46"/>
                                        </p:tgtEl>
                                      </p:cBhvr>
                                      <p:by x="105000" y="105000"/>
                                    </p:animScale>
                                  </p:childTnLst>
                                </p:cTn>
                              </p:par>
                              <p:par>
                                <p:cTn id="92" presetID="6" presetClass="emph" presetSubtype="0" repeatCount="4000" autoRev="1" fill="remove" nodeType="withEffect">
                                  <p:stCondLst>
                                    <p:cond delay="4500"/>
                                  </p:stCondLst>
                                  <p:childTnLst>
                                    <p:animScale>
                                      <p:cBhvr>
                                        <p:cTn id="93" dur="750" fill="hold"/>
                                        <p:tgtEl>
                                          <p:spTgt spid="26"/>
                                        </p:tgtEl>
                                      </p:cBhvr>
                                      <p:by x="110000" y="110000"/>
                                    </p:animScale>
                                  </p:childTnLst>
                                </p:cTn>
                              </p:par>
                              <p:par>
                                <p:cTn id="94" presetID="26" presetClass="emph" presetSubtype="0" repeatCount="4000" fill="hold" nodeType="withEffect">
                                  <p:stCondLst>
                                    <p:cond delay="4500"/>
                                  </p:stCondLst>
                                  <p:childTnLst>
                                    <p:animEffect transition="out" filter="fade">
                                      <p:cBhvr>
                                        <p:cTn id="95" dur="1500" tmFilter="0, 0; .2, .5; .8, .5; 1, 0"/>
                                        <p:tgtEl>
                                          <p:spTgt spid="26"/>
                                        </p:tgtEl>
                                      </p:cBhvr>
                                    </p:animEffect>
                                    <p:animScale>
                                      <p:cBhvr>
                                        <p:cTn id="96" dur="750" autoRev="1" fill="hold"/>
                                        <p:tgtEl>
                                          <p:spTgt spid="26"/>
                                        </p:tgtEl>
                                      </p:cBhvr>
                                      <p:by x="105000" y="105000"/>
                                    </p:animScale>
                                  </p:childTnLst>
                                </p:cTn>
                              </p:par>
                              <p:par>
                                <p:cTn id="97" presetID="6" presetClass="emph" presetSubtype="0" repeatCount="4000" autoRev="1" fill="remove" nodeType="withEffect">
                                  <p:stCondLst>
                                    <p:cond delay="4500"/>
                                  </p:stCondLst>
                                  <p:childTnLst>
                                    <p:animScale>
                                      <p:cBhvr>
                                        <p:cTn id="98" dur="750" fill="hold"/>
                                        <p:tgtEl>
                                          <p:spTgt spid="6"/>
                                        </p:tgtEl>
                                      </p:cBhvr>
                                      <p:by x="110000" y="110000"/>
                                    </p:animScale>
                                  </p:childTnLst>
                                </p:cTn>
                              </p:par>
                              <p:par>
                                <p:cTn id="99" presetID="6" presetClass="emph" presetSubtype="0" repeatCount="4000" autoRev="1" fill="remove" nodeType="withEffect">
                                  <p:stCondLst>
                                    <p:cond delay="4500"/>
                                  </p:stCondLst>
                                  <p:childTnLst>
                                    <p:animScale>
                                      <p:cBhvr>
                                        <p:cTn id="100" dur="750" fill="hold"/>
                                        <p:tgtEl>
                                          <p:spTgt spid="11"/>
                                        </p:tgtEl>
                                      </p:cBhvr>
                                      <p:by x="110000" y="110000"/>
                                    </p:animScale>
                                  </p:childTnLst>
                                </p:cTn>
                              </p:par>
                              <p:par>
                                <p:cTn id="101" presetID="6" presetClass="emph" presetSubtype="0" repeatCount="4000" autoRev="1" fill="remove" nodeType="withEffect">
                                  <p:stCondLst>
                                    <p:cond delay="4500"/>
                                  </p:stCondLst>
                                  <p:childTnLst>
                                    <p:animScale>
                                      <p:cBhvr>
                                        <p:cTn id="102" dur="750" fill="hold"/>
                                        <p:tgtEl>
                                          <p:spTgt spid="36"/>
                                        </p:tgtEl>
                                      </p:cBhvr>
                                      <p:by x="110000" y="110000"/>
                                    </p:animScale>
                                  </p:childTnLst>
                                </p:cTn>
                              </p:par>
                              <p:par>
                                <p:cTn id="103" presetID="6" presetClass="emph" presetSubtype="0" repeatCount="4000" autoRev="1" fill="remove" nodeType="withEffect">
                                  <p:stCondLst>
                                    <p:cond delay="4500"/>
                                  </p:stCondLst>
                                  <p:childTnLst>
                                    <p:animScale>
                                      <p:cBhvr>
                                        <p:cTn id="104" dur="750" fill="hold"/>
                                        <p:tgtEl>
                                          <p:spTgt spid="41"/>
                                        </p:tgtEl>
                                      </p:cBhvr>
                                      <p:by x="110000" y="110000"/>
                                    </p:animScale>
                                  </p:childTnLst>
                                </p:cTn>
                              </p:par>
                              <p:par>
                                <p:cTn id="105" presetID="26" presetClass="emph" presetSubtype="0" repeatCount="4000" fill="hold" nodeType="withEffect">
                                  <p:stCondLst>
                                    <p:cond delay="4500"/>
                                  </p:stCondLst>
                                  <p:childTnLst>
                                    <p:animEffect transition="out" filter="fade">
                                      <p:cBhvr>
                                        <p:cTn id="106" dur="1500" tmFilter="0, 0; .2, .5; .8, .5; 1, 0"/>
                                        <p:tgtEl>
                                          <p:spTgt spid="6"/>
                                        </p:tgtEl>
                                      </p:cBhvr>
                                    </p:animEffect>
                                    <p:animScale>
                                      <p:cBhvr>
                                        <p:cTn id="107" dur="750" autoRev="1" fill="hold"/>
                                        <p:tgtEl>
                                          <p:spTgt spid="6"/>
                                        </p:tgtEl>
                                      </p:cBhvr>
                                      <p:by x="105000" y="105000"/>
                                    </p:animScale>
                                  </p:childTnLst>
                                </p:cTn>
                              </p:par>
                              <p:par>
                                <p:cTn id="108" presetID="26" presetClass="emph" presetSubtype="0" repeatCount="4000" fill="hold" nodeType="withEffect">
                                  <p:stCondLst>
                                    <p:cond delay="4500"/>
                                  </p:stCondLst>
                                  <p:childTnLst>
                                    <p:animEffect transition="out" filter="fade">
                                      <p:cBhvr>
                                        <p:cTn id="109" dur="1500" tmFilter="0, 0; .2, .5; .8, .5; 1, 0"/>
                                        <p:tgtEl>
                                          <p:spTgt spid="11"/>
                                        </p:tgtEl>
                                      </p:cBhvr>
                                    </p:animEffect>
                                    <p:animScale>
                                      <p:cBhvr>
                                        <p:cTn id="110" dur="750" autoRev="1" fill="hold"/>
                                        <p:tgtEl>
                                          <p:spTgt spid="11"/>
                                        </p:tgtEl>
                                      </p:cBhvr>
                                      <p:by x="105000" y="105000"/>
                                    </p:animScale>
                                  </p:childTnLst>
                                </p:cTn>
                              </p:par>
                              <p:par>
                                <p:cTn id="111" presetID="26" presetClass="emph" presetSubtype="0" repeatCount="4000" fill="hold" nodeType="withEffect">
                                  <p:stCondLst>
                                    <p:cond delay="4500"/>
                                  </p:stCondLst>
                                  <p:childTnLst>
                                    <p:animEffect transition="out" filter="fade">
                                      <p:cBhvr>
                                        <p:cTn id="112" dur="1500" tmFilter="0, 0; .2, .5; .8, .5; 1, 0"/>
                                        <p:tgtEl>
                                          <p:spTgt spid="36"/>
                                        </p:tgtEl>
                                      </p:cBhvr>
                                    </p:animEffect>
                                    <p:animScale>
                                      <p:cBhvr>
                                        <p:cTn id="113" dur="750" autoRev="1" fill="hold"/>
                                        <p:tgtEl>
                                          <p:spTgt spid="36"/>
                                        </p:tgtEl>
                                      </p:cBhvr>
                                      <p:by x="105000" y="105000"/>
                                    </p:animScale>
                                  </p:childTnLst>
                                </p:cTn>
                              </p:par>
                              <p:par>
                                <p:cTn id="114" presetID="26" presetClass="emph" presetSubtype="0" repeatCount="4000" fill="hold" nodeType="withEffect">
                                  <p:stCondLst>
                                    <p:cond delay="4500"/>
                                  </p:stCondLst>
                                  <p:childTnLst>
                                    <p:animEffect transition="out" filter="fade">
                                      <p:cBhvr>
                                        <p:cTn id="115" dur="1500" tmFilter="0, 0; .2, .5; .8, .5; 1, 0"/>
                                        <p:tgtEl>
                                          <p:spTgt spid="41"/>
                                        </p:tgtEl>
                                      </p:cBhvr>
                                    </p:animEffect>
                                    <p:animScale>
                                      <p:cBhvr>
                                        <p:cTn id="116" dur="750" autoRev="1" fill="hold"/>
                                        <p:tgtEl>
                                          <p:spTgt spid="41"/>
                                        </p:tgtEl>
                                      </p:cBhvr>
                                      <p:by x="105000" y="105000"/>
                                    </p:animScale>
                                  </p:childTnLst>
                                </p:cTn>
                              </p:par>
                              <p:par>
                                <p:cTn id="117" presetID="42" presetClass="entr" presetSubtype="0" fill="hold" nodeType="withEffect">
                                  <p:stCondLst>
                                    <p:cond delay="4500"/>
                                  </p:stCondLst>
                                  <p:childTnLst>
                                    <p:set>
                                      <p:cBhvr>
                                        <p:cTn id="118" dur="1" fill="hold">
                                          <p:stCondLst>
                                            <p:cond delay="0"/>
                                          </p:stCondLst>
                                        </p:cTn>
                                        <p:tgtEl>
                                          <p:spTgt spid="123"/>
                                        </p:tgtEl>
                                        <p:attrNameLst>
                                          <p:attrName>style.visibility</p:attrName>
                                        </p:attrNameLst>
                                      </p:cBhvr>
                                      <p:to>
                                        <p:strVal val="visible"/>
                                      </p:to>
                                    </p:set>
                                    <p:animEffect transition="in" filter="fade">
                                      <p:cBhvr>
                                        <p:cTn id="119" dur="500"/>
                                        <p:tgtEl>
                                          <p:spTgt spid="123"/>
                                        </p:tgtEl>
                                      </p:cBhvr>
                                    </p:animEffect>
                                    <p:anim calcmode="lin" valueType="num">
                                      <p:cBhvr>
                                        <p:cTn id="120" dur="500" fill="hold"/>
                                        <p:tgtEl>
                                          <p:spTgt spid="123"/>
                                        </p:tgtEl>
                                        <p:attrNameLst>
                                          <p:attrName>ppt_x</p:attrName>
                                        </p:attrNameLst>
                                      </p:cBhvr>
                                      <p:tavLst>
                                        <p:tav tm="0">
                                          <p:val>
                                            <p:strVal val="#ppt_x"/>
                                          </p:val>
                                        </p:tav>
                                        <p:tav tm="100000">
                                          <p:val>
                                            <p:strVal val="#ppt_x"/>
                                          </p:val>
                                        </p:tav>
                                      </p:tavLst>
                                    </p:anim>
                                    <p:anim calcmode="lin" valueType="num">
                                      <p:cBhvr>
                                        <p:cTn id="121" dur="500" fill="hold"/>
                                        <p:tgtEl>
                                          <p:spTgt spid="123"/>
                                        </p:tgtEl>
                                        <p:attrNameLst>
                                          <p:attrName>ppt_y</p:attrName>
                                        </p:attrNameLst>
                                      </p:cBhvr>
                                      <p:tavLst>
                                        <p:tav tm="0">
                                          <p:val>
                                            <p:strVal val="#ppt_y+.1"/>
                                          </p:val>
                                        </p:tav>
                                        <p:tav tm="100000">
                                          <p:val>
                                            <p:strVal val="#ppt_y"/>
                                          </p:val>
                                        </p:tav>
                                      </p:tavLst>
                                    </p:anim>
                                  </p:childTnLst>
                                </p:cTn>
                              </p:par>
                              <p:par>
                                <p:cTn id="122" presetID="42" presetClass="entr" presetSubtype="0" fill="hold" nodeType="withEffect">
                                  <p:stCondLst>
                                    <p:cond delay="4500"/>
                                  </p:stCondLst>
                                  <p:childTnLst>
                                    <p:set>
                                      <p:cBhvr>
                                        <p:cTn id="123" dur="1" fill="hold">
                                          <p:stCondLst>
                                            <p:cond delay="0"/>
                                          </p:stCondLst>
                                        </p:cTn>
                                        <p:tgtEl>
                                          <p:spTgt spid="126"/>
                                        </p:tgtEl>
                                        <p:attrNameLst>
                                          <p:attrName>style.visibility</p:attrName>
                                        </p:attrNameLst>
                                      </p:cBhvr>
                                      <p:to>
                                        <p:strVal val="visible"/>
                                      </p:to>
                                    </p:set>
                                    <p:animEffect transition="in" filter="fade">
                                      <p:cBhvr>
                                        <p:cTn id="124" dur="500"/>
                                        <p:tgtEl>
                                          <p:spTgt spid="126"/>
                                        </p:tgtEl>
                                      </p:cBhvr>
                                    </p:animEffect>
                                    <p:anim calcmode="lin" valueType="num">
                                      <p:cBhvr>
                                        <p:cTn id="125" dur="500" fill="hold"/>
                                        <p:tgtEl>
                                          <p:spTgt spid="126"/>
                                        </p:tgtEl>
                                        <p:attrNameLst>
                                          <p:attrName>ppt_x</p:attrName>
                                        </p:attrNameLst>
                                      </p:cBhvr>
                                      <p:tavLst>
                                        <p:tav tm="0">
                                          <p:val>
                                            <p:strVal val="#ppt_x"/>
                                          </p:val>
                                        </p:tav>
                                        <p:tav tm="100000">
                                          <p:val>
                                            <p:strVal val="#ppt_x"/>
                                          </p:val>
                                        </p:tav>
                                      </p:tavLst>
                                    </p:anim>
                                    <p:anim calcmode="lin" valueType="num">
                                      <p:cBhvr>
                                        <p:cTn id="126" dur="500" fill="hold"/>
                                        <p:tgtEl>
                                          <p:spTgt spid="126"/>
                                        </p:tgtEl>
                                        <p:attrNameLst>
                                          <p:attrName>ppt_y</p:attrName>
                                        </p:attrNameLst>
                                      </p:cBhvr>
                                      <p:tavLst>
                                        <p:tav tm="0">
                                          <p:val>
                                            <p:strVal val="#ppt_y+.1"/>
                                          </p:val>
                                        </p:tav>
                                        <p:tav tm="100000">
                                          <p:val>
                                            <p:strVal val="#ppt_y"/>
                                          </p:val>
                                        </p:tav>
                                      </p:tavLst>
                                    </p:anim>
                                  </p:childTnLst>
                                </p:cTn>
                              </p:par>
                              <p:par>
                                <p:cTn id="127" presetID="42" presetClass="entr" presetSubtype="0" fill="hold" nodeType="withEffect">
                                  <p:stCondLst>
                                    <p:cond delay="4500"/>
                                  </p:stCondLst>
                                  <p:childTnLst>
                                    <p:set>
                                      <p:cBhvr>
                                        <p:cTn id="128" dur="1" fill="hold">
                                          <p:stCondLst>
                                            <p:cond delay="0"/>
                                          </p:stCondLst>
                                        </p:cTn>
                                        <p:tgtEl>
                                          <p:spTgt spid="129"/>
                                        </p:tgtEl>
                                        <p:attrNameLst>
                                          <p:attrName>style.visibility</p:attrName>
                                        </p:attrNameLst>
                                      </p:cBhvr>
                                      <p:to>
                                        <p:strVal val="visible"/>
                                      </p:to>
                                    </p:set>
                                    <p:animEffect transition="in" filter="fade">
                                      <p:cBhvr>
                                        <p:cTn id="129" dur="500"/>
                                        <p:tgtEl>
                                          <p:spTgt spid="129"/>
                                        </p:tgtEl>
                                      </p:cBhvr>
                                    </p:animEffect>
                                    <p:anim calcmode="lin" valueType="num">
                                      <p:cBhvr>
                                        <p:cTn id="130" dur="500" fill="hold"/>
                                        <p:tgtEl>
                                          <p:spTgt spid="129"/>
                                        </p:tgtEl>
                                        <p:attrNameLst>
                                          <p:attrName>ppt_x</p:attrName>
                                        </p:attrNameLst>
                                      </p:cBhvr>
                                      <p:tavLst>
                                        <p:tav tm="0">
                                          <p:val>
                                            <p:strVal val="#ppt_x"/>
                                          </p:val>
                                        </p:tav>
                                        <p:tav tm="100000">
                                          <p:val>
                                            <p:strVal val="#ppt_x"/>
                                          </p:val>
                                        </p:tav>
                                      </p:tavLst>
                                    </p:anim>
                                    <p:anim calcmode="lin" valueType="num">
                                      <p:cBhvr>
                                        <p:cTn id="131" dur="500" fill="hold"/>
                                        <p:tgtEl>
                                          <p:spTgt spid="129"/>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6500"/>
                                  </p:stCondLst>
                                  <p:childTnLst>
                                    <p:set>
                                      <p:cBhvr>
                                        <p:cTn id="133" dur="1" fill="hold">
                                          <p:stCondLst>
                                            <p:cond delay="0"/>
                                          </p:stCondLst>
                                        </p:cTn>
                                        <p:tgtEl>
                                          <p:spTgt spid="133"/>
                                        </p:tgtEl>
                                        <p:attrNameLst>
                                          <p:attrName>style.visibility</p:attrName>
                                        </p:attrNameLst>
                                      </p:cBhvr>
                                      <p:to>
                                        <p:strVal val="visible"/>
                                      </p:to>
                                    </p:set>
                                    <p:animEffect transition="in" filter="fade">
                                      <p:cBhvr>
                                        <p:cTn id="134" dur="500"/>
                                        <p:tgtEl>
                                          <p:spTgt spid="133"/>
                                        </p:tgtEl>
                                      </p:cBhvr>
                                    </p:animEffect>
                                    <p:anim calcmode="lin" valueType="num">
                                      <p:cBhvr>
                                        <p:cTn id="135" dur="500" fill="hold"/>
                                        <p:tgtEl>
                                          <p:spTgt spid="133"/>
                                        </p:tgtEl>
                                        <p:attrNameLst>
                                          <p:attrName>ppt_x</p:attrName>
                                        </p:attrNameLst>
                                      </p:cBhvr>
                                      <p:tavLst>
                                        <p:tav tm="0">
                                          <p:val>
                                            <p:strVal val="#ppt_x"/>
                                          </p:val>
                                        </p:tav>
                                        <p:tav tm="100000">
                                          <p:val>
                                            <p:strVal val="#ppt_x"/>
                                          </p:val>
                                        </p:tav>
                                      </p:tavLst>
                                    </p:anim>
                                    <p:anim calcmode="lin" valueType="num">
                                      <p:cBhvr>
                                        <p:cTn id="136" dur="500" fill="hold"/>
                                        <p:tgtEl>
                                          <p:spTgt spid="1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106" grpId="1" animBg="1"/>
      <p:bldP spid="106" grpId="2" animBg="1"/>
      <p:bldP spid="106" grpId="3"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a:extLst>
              <a:ext uri="{FF2B5EF4-FFF2-40B4-BE49-F238E27FC236}">
                <a16:creationId xmlns:a16="http://schemas.microsoft.com/office/drawing/2014/main" id="{C3FFA3CA-4916-8330-B4AE-23B30B828816}"/>
              </a:ext>
            </a:extLst>
          </p:cNvPr>
          <p:cNvGrpSpPr/>
          <p:nvPr/>
        </p:nvGrpSpPr>
        <p:grpSpPr>
          <a:xfrm>
            <a:off x="1634853" y="640079"/>
            <a:ext cx="7449551" cy="5683855"/>
            <a:chOff x="1613049" y="7319"/>
            <a:chExt cx="8968683" cy="6842922"/>
          </a:xfrm>
        </p:grpSpPr>
        <p:sp>
          <p:nvSpPr>
            <p:cNvPr id="104" name="Freeform: Shape 103">
              <a:extLst>
                <a:ext uri="{FF2B5EF4-FFF2-40B4-BE49-F238E27FC236}">
                  <a16:creationId xmlns:a16="http://schemas.microsoft.com/office/drawing/2014/main" id="{E80163FC-A4A7-A592-3813-C0B74EFE0488}"/>
                </a:ext>
              </a:extLst>
            </p:cNvPr>
            <p:cNvSpPr/>
            <p:nvPr/>
          </p:nvSpPr>
          <p:spPr>
            <a:xfrm>
              <a:off x="1613049" y="7319"/>
              <a:ext cx="8968683" cy="6842922"/>
            </a:xfrm>
            <a:custGeom>
              <a:avLst/>
              <a:gdLst>
                <a:gd name="connsiteX0" fmla="*/ 7650952 w 8968683"/>
                <a:gd name="connsiteY0" fmla="*/ 4361234 h 6842922"/>
                <a:gd name="connsiteX1" fmla="*/ 6891814 w 8968683"/>
                <a:gd name="connsiteY1" fmla="*/ 4361234 h 6842922"/>
                <a:gd name="connsiteX2" fmla="*/ 6891814 w 8968683"/>
                <a:gd name="connsiteY2" fmla="*/ 4214852 h 6842922"/>
                <a:gd name="connsiteX3" fmla="*/ 7650952 w 8968683"/>
                <a:gd name="connsiteY3" fmla="*/ 4214852 h 6842922"/>
                <a:gd name="connsiteX4" fmla="*/ 7650952 w 8968683"/>
                <a:gd name="connsiteY4" fmla="*/ 4361234 h 6842922"/>
                <a:gd name="connsiteX5" fmla="*/ 1722697 w 8968683"/>
                <a:gd name="connsiteY5" fmla="*/ 6103620 h 6842922"/>
                <a:gd name="connsiteX6" fmla="*/ 2096411 w 8968683"/>
                <a:gd name="connsiteY6" fmla="*/ 6103620 h 6842922"/>
                <a:gd name="connsiteX7" fmla="*/ 2096411 w 8968683"/>
                <a:gd name="connsiteY7" fmla="*/ 5957238 h 6842922"/>
                <a:gd name="connsiteX8" fmla="*/ 1722697 w 8968683"/>
                <a:gd name="connsiteY8" fmla="*/ 5957238 h 6842922"/>
                <a:gd name="connsiteX9" fmla="*/ 1722697 w 8968683"/>
                <a:gd name="connsiteY9" fmla="*/ 6103620 h 6842922"/>
                <a:gd name="connsiteX10" fmla="*/ 146382 w 8968683"/>
                <a:gd name="connsiteY10" fmla="*/ 1821505 h 6842922"/>
                <a:gd name="connsiteX11" fmla="*/ 146382 w 8968683"/>
                <a:gd name="connsiteY11" fmla="*/ 146382 h 6842922"/>
                <a:gd name="connsiteX12" fmla="*/ 2820051 w 8968683"/>
                <a:gd name="connsiteY12" fmla="*/ 146382 h 6842922"/>
                <a:gd name="connsiteX13" fmla="*/ 2820051 w 8968683"/>
                <a:gd name="connsiteY13" fmla="*/ 0 h 6842922"/>
                <a:gd name="connsiteX14" fmla="*/ 0 w 8968683"/>
                <a:gd name="connsiteY14" fmla="*/ 0 h 6842922"/>
                <a:gd name="connsiteX15" fmla="*/ 0 w 8968683"/>
                <a:gd name="connsiteY15" fmla="*/ 1967887 h 6842922"/>
                <a:gd name="connsiteX16" fmla="*/ 146382 w 8968683"/>
                <a:gd name="connsiteY16" fmla="*/ 1967887 h 6842922"/>
                <a:gd name="connsiteX17" fmla="*/ 146382 w 8968683"/>
                <a:gd name="connsiteY17" fmla="*/ 5148331 h 6842922"/>
                <a:gd name="connsiteX18" fmla="*/ 292764 w 8968683"/>
                <a:gd name="connsiteY18" fmla="*/ 5148331 h 6842922"/>
                <a:gd name="connsiteX19" fmla="*/ 292764 w 8968683"/>
                <a:gd name="connsiteY19" fmla="*/ 1967887 h 6842922"/>
                <a:gd name="connsiteX20" fmla="*/ 1624914 w 8968683"/>
                <a:gd name="connsiteY20" fmla="*/ 1967887 h 6842922"/>
                <a:gd name="connsiteX21" fmla="*/ 1624914 w 8968683"/>
                <a:gd name="connsiteY21" fmla="*/ 1821505 h 6842922"/>
                <a:gd name="connsiteX22" fmla="*/ 146382 w 8968683"/>
                <a:gd name="connsiteY22" fmla="*/ 1821505 h 6842922"/>
                <a:gd name="connsiteX23" fmla="*/ 2755203 w 8968683"/>
                <a:gd name="connsiteY23" fmla="*/ 3459521 h 6842922"/>
                <a:gd name="connsiteX24" fmla="*/ 2755203 w 8968683"/>
                <a:gd name="connsiteY24" fmla="*/ 1821432 h 6842922"/>
                <a:gd name="connsiteX25" fmla="*/ 2064061 w 8968683"/>
                <a:gd name="connsiteY25" fmla="*/ 1821432 h 6842922"/>
                <a:gd name="connsiteX26" fmla="*/ 2064061 w 8968683"/>
                <a:gd name="connsiteY26" fmla="*/ 1967814 h 6842922"/>
                <a:gd name="connsiteX27" fmla="*/ 2608821 w 8968683"/>
                <a:gd name="connsiteY27" fmla="*/ 1967814 h 6842922"/>
                <a:gd name="connsiteX28" fmla="*/ 2608821 w 8968683"/>
                <a:gd name="connsiteY28" fmla="*/ 3459521 h 6842922"/>
                <a:gd name="connsiteX29" fmla="*/ 2755203 w 8968683"/>
                <a:gd name="connsiteY29" fmla="*/ 3459521 h 6842922"/>
                <a:gd name="connsiteX30" fmla="*/ 3423364 w 8968683"/>
                <a:gd name="connsiteY30" fmla="*/ 1321757 h 6842922"/>
                <a:gd name="connsiteX31" fmla="*/ 3423364 w 8968683"/>
                <a:gd name="connsiteY31" fmla="*/ 3459521 h 6842922"/>
                <a:gd name="connsiteX32" fmla="*/ 3569747 w 8968683"/>
                <a:gd name="connsiteY32" fmla="*/ 3459521 h 6842922"/>
                <a:gd name="connsiteX33" fmla="*/ 3569747 w 8968683"/>
                <a:gd name="connsiteY33" fmla="*/ 1967814 h 6842922"/>
                <a:gd name="connsiteX34" fmla="*/ 4114507 w 8968683"/>
                <a:gd name="connsiteY34" fmla="*/ 1967814 h 6842922"/>
                <a:gd name="connsiteX35" fmla="*/ 4114507 w 8968683"/>
                <a:gd name="connsiteY35" fmla="*/ 1821432 h 6842922"/>
                <a:gd name="connsiteX36" fmla="*/ 3569747 w 8968683"/>
                <a:gd name="connsiteY36" fmla="*/ 1821432 h 6842922"/>
                <a:gd name="connsiteX37" fmla="*/ 3569747 w 8968683"/>
                <a:gd name="connsiteY37" fmla="*/ 1321757 h 6842922"/>
                <a:gd name="connsiteX38" fmla="*/ 3423364 w 8968683"/>
                <a:gd name="connsiteY38" fmla="*/ 1321757 h 6842922"/>
                <a:gd name="connsiteX39" fmla="*/ 3423364 w 8968683"/>
                <a:gd name="connsiteY39" fmla="*/ 882611 h 6842922"/>
                <a:gd name="connsiteX40" fmla="*/ 3569747 w 8968683"/>
                <a:gd name="connsiteY40" fmla="*/ 882611 h 6842922"/>
                <a:gd name="connsiteX41" fmla="*/ 3569747 w 8968683"/>
                <a:gd name="connsiteY41" fmla="*/ 146382 h 6842922"/>
                <a:gd name="connsiteX42" fmla="*/ 3879564 w 8968683"/>
                <a:gd name="connsiteY42" fmla="*/ 146382 h 6842922"/>
                <a:gd name="connsiteX43" fmla="*/ 3879564 w 8968683"/>
                <a:gd name="connsiteY43" fmla="*/ 0 h 6842922"/>
                <a:gd name="connsiteX44" fmla="*/ 3113547 w 8968683"/>
                <a:gd name="connsiteY44" fmla="*/ 0 h 6842922"/>
                <a:gd name="connsiteX45" fmla="*/ 3113547 w 8968683"/>
                <a:gd name="connsiteY45" fmla="*/ 146382 h 6842922"/>
                <a:gd name="connsiteX46" fmla="*/ 3423364 w 8968683"/>
                <a:gd name="connsiteY46" fmla="*/ 146382 h 6842922"/>
                <a:gd name="connsiteX47" fmla="*/ 3423364 w 8968683"/>
                <a:gd name="connsiteY47" fmla="*/ 882611 h 6842922"/>
                <a:gd name="connsiteX48" fmla="*/ 2608821 w 8968683"/>
                <a:gd name="connsiteY48" fmla="*/ 4677347 h 6842922"/>
                <a:gd name="connsiteX49" fmla="*/ 2755203 w 8968683"/>
                <a:gd name="connsiteY49" fmla="*/ 4677347 h 6842922"/>
                <a:gd name="connsiteX50" fmla="*/ 2755203 w 8968683"/>
                <a:gd name="connsiteY50" fmla="*/ 3898667 h 6842922"/>
                <a:gd name="connsiteX51" fmla="*/ 2608821 w 8968683"/>
                <a:gd name="connsiteY51" fmla="*/ 3898667 h 6842922"/>
                <a:gd name="connsiteX52" fmla="*/ 2608821 w 8968683"/>
                <a:gd name="connsiteY52" fmla="*/ 4214779 h 6842922"/>
                <a:gd name="connsiteX53" fmla="*/ 1641748 w 8968683"/>
                <a:gd name="connsiteY53" fmla="*/ 4214779 h 6842922"/>
                <a:gd name="connsiteX54" fmla="*/ 1641748 w 8968683"/>
                <a:gd name="connsiteY54" fmla="*/ 4361161 h 6842922"/>
                <a:gd name="connsiteX55" fmla="*/ 2608821 w 8968683"/>
                <a:gd name="connsiteY55" fmla="*/ 4361161 h 6842922"/>
                <a:gd name="connsiteX56" fmla="*/ 2608821 w 8968683"/>
                <a:gd name="connsiteY56" fmla="*/ 4677273 h 6842922"/>
                <a:gd name="connsiteX57" fmla="*/ 3569747 w 8968683"/>
                <a:gd name="connsiteY57" fmla="*/ 4361234 h 6842922"/>
                <a:gd name="connsiteX58" fmla="*/ 6452668 w 8968683"/>
                <a:gd name="connsiteY58" fmla="*/ 4361234 h 6842922"/>
                <a:gd name="connsiteX59" fmla="*/ 6452668 w 8968683"/>
                <a:gd name="connsiteY59" fmla="*/ 4214852 h 6842922"/>
                <a:gd name="connsiteX60" fmla="*/ 6164076 w 8968683"/>
                <a:gd name="connsiteY60" fmla="*/ 4214852 h 6842922"/>
                <a:gd name="connsiteX61" fmla="*/ 6164076 w 8968683"/>
                <a:gd name="connsiteY61" fmla="*/ 2553416 h 6842922"/>
                <a:gd name="connsiteX62" fmla="*/ 6452668 w 8968683"/>
                <a:gd name="connsiteY62" fmla="*/ 2553416 h 6842922"/>
                <a:gd name="connsiteX63" fmla="*/ 6452668 w 8968683"/>
                <a:gd name="connsiteY63" fmla="*/ 2407034 h 6842922"/>
                <a:gd name="connsiteX64" fmla="*/ 6164076 w 8968683"/>
                <a:gd name="connsiteY64" fmla="*/ 2407034 h 6842922"/>
                <a:gd name="connsiteX65" fmla="*/ 6164076 w 8968683"/>
                <a:gd name="connsiteY65" fmla="*/ 146382 h 6842922"/>
                <a:gd name="connsiteX66" fmla="*/ 8092587 w 8968683"/>
                <a:gd name="connsiteY66" fmla="*/ 146382 h 6842922"/>
                <a:gd name="connsiteX67" fmla="*/ 8092587 w 8968683"/>
                <a:gd name="connsiteY67" fmla="*/ 292764 h 6842922"/>
                <a:gd name="connsiteX68" fmla="*/ 8238969 w 8968683"/>
                <a:gd name="connsiteY68" fmla="*/ 292764 h 6842922"/>
                <a:gd name="connsiteX69" fmla="*/ 8238969 w 8968683"/>
                <a:gd name="connsiteY69" fmla="*/ 0 h 6842922"/>
                <a:gd name="connsiteX70" fmla="*/ 4172402 w 8968683"/>
                <a:gd name="connsiteY70" fmla="*/ 0 h 6842922"/>
                <a:gd name="connsiteX71" fmla="*/ 4172402 w 8968683"/>
                <a:gd name="connsiteY71" fmla="*/ 146382 h 6842922"/>
                <a:gd name="connsiteX72" fmla="*/ 6017694 w 8968683"/>
                <a:gd name="connsiteY72" fmla="*/ 146382 h 6842922"/>
                <a:gd name="connsiteX73" fmla="*/ 6017694 w 8968683"/>
                <a:gd name="connsiteY73" fmla="*/ 1821505 h 6842922"/>
                <a:gd name="connsiteX74" fmla="*/ 4553727 w 8968683"/>
                <a:gd name="connsiteY74" fmla="*/ 1821505 h 6842922"/>
                <a:gd name="connsiteX75" fmla="*/ 4553727 w 8968683"/>
                <a:gd name="connsiteY75" fmla="*/ 1967887 h 6842922"/>
                <a:gd name="connsiteX76" fmla="*/ 6017694 w 8968683"/>
                <a:gd name="connsiteY76" fmla="*/ 1967887 h 6842922"/>
                <a:gd name="connsiteX77" fmla="*/ 6017694 w 8968683"/>
                <a:gd name="connsiteY77" fmla="*/ 4214852 h 6842922"/>
                <a:gd name="connsiteX78" fmla="*/ 3569820 w 8968683"/>
                <a:gd name="connsiteY78" fmla="*/ 4214852 h 6842922"/>
                <a:gd name="connsiteX79" fmla="*/ 3569820 w 8968683"/>
                <a:gd name="connsiteY79" fmla="*/ 3898740 h 6842922"/>
                <a:gd name="connsiteX80" fmla="*/ 3423438 w 8968683"/>
                <a:gd name="connsiteY80" fmla="*/ 3898740 h 6842922"/>
                <a:gd name="connsiteX81" fmla="*/ 3423438 w 8968683"/>
                <a:gd name="connsiteY81" fmla="*/ 4677420 h 6842922"/>
                <a:gd name="connsiteX82" fmla="*/ 3569820 w 8968683"/>
                <a:gd name="connsiteY82" fmla="*/ 4677420 h 6842922"/>
                <a:gd name="connsiteX83" fmla="*/ 3569820 w 8968683"/>
                <a:gd name="connsiteY83" fmla="*/ 4361308 h 6842922"/>
                <a:gd name="connsiteX84" fmla="*/ 8822301 w 8968683"/>
                <a:gd name="connsiteY84" fmla="*/ 4214852 h 6842922"/>
                <a:gd name="connsiteX85" fmla="*/ 8092587 w 8968683"/>
                <a:gd name="connsiteY85" fmla="*/ 4214852 h 6842922"/>
                <a:gd name="connsiteX86" fmla="*/ 8092587 w 8968683"/>
                <a:gd name="connsiteY86" fmla="*/ 4361234 h 6842922"/>
                <a:gd name="connsiteX87" fmla="*/ 8968683 w 8968683"/>
                <a:gd name="connsiteY87" fmla="*/ 4361234 h 6842922"/>
                <a:gd name="connsiteX88" fmla="*/ 8968683 w 8968683"/>
                <a:gd name="connsiteY88" fmla="*/ 4068470 h 6842922"/>
                <a:gd name="connsiteX89" fmla="*/ 8822301 w 8968683"/>
                <a:gd name="connsiteY89" fmla="*/ 4068470 h 6842922"/>
                <a:gd name="connsiteX90" fmla="*/ 8822301 w 8968683"/>
                <a:gd name="connsiteY90" fmla="*/ 4214852 h 6842922"/>
                <a:gd name="connsiteX91" fmla="*/ 8589114 w 8968683"/>
                <a:gd name="connsiteY91" fmla="*/ 5957238 h 6842922"/>
                <a:gd name="connsiteX92" fmla="*/ 4620989 w 8968683"/>
                <a:gd name="connsiteY92" fmla="*/ 5957238 h 6842922"/>
                <a:gd name="connsiteX93" fmla="*/ 4620989 w 8968683"/>
                <a:gd name="connsiteY93" fmla="*/ 4800381 h 6842922"/>
                <a:gd name="connsiteX94" fmla="*/ 4474607 w 8968683"/>
                <a:gd name="connsiteY94" fmla="*/ 4800381 h 6842922"/>
                <a:gd name="connsiteX95" fmla="*/ 4474607 w 8968683"/>
                <a:gd name="connsiteY95" fmla="*/ 6696541 h 6842922"/>
                <a:gd name="connsiteX96" fmla="*/ 3533224 w 8968683"/>
                <a:gd name="connsiteY96" fmla="*/ 6696541 h 6842922"/>
                <a:gd name="connsiteX97" fmla="*/ 3533224 w 8968683"/>
                <a:gd name="connsiteY97" fmla="*/ 6842923 h 6842922"/>
                <a:gd name="connsiteX98" fmla="*/ 4620989 w 8968683"/>
                <a:gd name="connsiteY98" fmla="*/ 6842923 h 6842922"/>
                <a:gd name="connsiteX99" fmla="*/ 4620989 w 8968683"/>
                <a:gd name="connsiteY99" fmla="*/ 6103620 h 6842922"/>
                <a:gd name="connsiteX100" fmla="*/ 8735497 w 8968683"/>
                <a:gd name="connsiteY100" fmla="*/ 6103620 h 6842922"/>
                <a:gd name="connsiteX101" fmla="*/ 8735497 w 8968683"/>
                <a:gd name="connsiteY101" fmla="*/ 5810856 h 6842922"/>
                <a:gd name="connsiteX102" fmla="*/ 8589114 w 8968683"/>
                <a:gd name="connsiteY102" fmla="*/ 5810856 h 6842922"/>
                <a:gd name="connsiteX103" fmla="*/ 8589114 w 8968683"/>
                <a:gd name="connsiteY103" fmla="*/ 5957238 h 6842922"/>
                <a:gd name="connsiteX104" fmla="*/ 8822301 w 8968683"/>
                <a:gd name="connsiteY104" fmla="*/ 3770729 h 6842922"/>
                <a:gd name="connsiteX105" fmla="*/ 8968683 w 8968683"/>
                <a:gd name="connsiteY105" fmla="*/ 3770729 h 6842922"/>
                <a:gd name="connsiteX106" fmla="*/ 8968683 w 8968683"/>
                <a:gd name="connsiteY106" fmla="*/ 2994977 h 6842922"/>
                <a:gd name="connsiteX107" fmla="*/ 8822301 w 8968683"/>
                <a:gd name="connsiteY107" fmla="*/ 2994977 h 6842922"/>
                <a:gd name="connsiteX108" fmla="*/ 8822301 w 8968683"/>
                <a:gd name="connsiteY108" fmla="*/ 3770729 h 6842922"/>
                <a:gd name="connsiteX109" fmla="*/ 8238896 w 8968683"/>
                <a:gd name="connsiteY109" fmla="*/ 2407034 h 6842922"/>
                <a:gd name="connsiteX110" fmla="*/ 8238896 w 8968683"/>
                <a:gd name="connsiteY110" fmla="*/ 1173252 h 6842922"/>
                <a:gd name="connsiteX111" fmla="*/ 8092514 w 8968683"/>
                <a:gd name="connsiteY111" fmla="*/ 1173252 h 6842922"/>
                <a:gd name="connsiteX112" fmla="*/ 8092514 w 8968683"/>
                <a:gd name="connsiteY112" fmla="*/ 2407034 h 6842922"/>
                <a:gd name="connsiteX113" fmla="*/ 6891741 w 8968683"/>
                <a:gd name="connsiteY113" fmla="*/ 2407034 h 6842922"/>
                <a:gd name="connsiteX114" fmla="*/ 6891741 w 8968683"/>
                <a:gd name="connsiteY114" fmla="*/ 2553416 h 6842922"/>
                <a:gd name="connsiteX115" fmla="*/ 8822228 w 8968683"/>
                <a:gd name="connsiteY115" fmla="*/ 2553416 h 6842922"/>
                <a:gd name="connsiteX116" fmla="*/ 8822228 w 8968683"/>
                <a:gd name="connsiteY116" fmla="*/ 2697309 h 6842922"/>
                <a:gd name="connsiteX117" fmla="*/ 8968610 w 8968683"/>
                <a:gd name="connsiteY117" fmla="*/ 2697309 h 6842922"/>
                <a:gd name="connsiteX118" fmla="*/ 8968610 w 8968683"/>
                <a:gd name="connsiteY118" fmla="*/ 2404545 h 6842922"/>
                <a:gd name="connsiteX119" fmla="*/ 8238896 w 8968683"/>
                <a:gd name="connsiteY119" fmla="*/ 2407034 h 6842922"/>
                <a:gd name="connsiteX120" fmla="*/ 2608821 w 8968683"/>
                <a:gd name="connsiteY120" fmla="*/ 6250002 h 6842922"/>
                <a:gd name="connsiteX121" fmla="*/ 2755203 w 8968683"/>
                <a:gd name="connsiteY121" fmla="*/ 6250002 h 6842922"/>
                <a:gd name="connsiteX122" fmla="*/ 2755203 w 8968683"/>
                <a:gd name="connsiteY122" fmla="*/ 5116566 h 6842922"/>
                <a:gd name="connsiteX123" fmla="*/ 2608821 w 8968683"/>
                <a:gd name="connsiteY123" fmla="*/ 5116566 h 6842922"/>
                <a:gd name="connsiteX124" fmla="*/ 2608821 w 8968683"/>
                <a:gd name="connsiteY124" fmla="*/ 5957238 h 6842922"/>
                <a:gd name="connsiteX125" fmla="*/ 2389248 w 8968683"/>
                <a:gd name="connsiteY125" fmla="*/ 5957238 h 6842922"/>
                <a:gd name="connsiteX126" fmla="*/ 2389248 w 8968683"/>
                <a:gd name="connsiteY126" fmla="*/ 6103620 h 6842922"/>
                <a:gd name="connsiteX127" fmla="*/ 2608821 w 8968683"/>
                <a:gd name="connsiteY127" fmla="*/ 6103620 h 6842922"/>
                <a:gd name="connsiteX128" fmla="*/ 2608821 w 8968683"/>
                <a:gd name="connsiteY128" fmla="*/ 6250002 h 6842922"/>
                <a:gd name="connsiteX129" fmla="*/ 292764 w 8968683"/>
                <a:gd name="connsiteY129" fmla="*/ 5441095 h 6842922"/>
                <a:gd name="connsiteX130" fmla="*/ 146382 w 8968683"/>
                <a:gd name="connsiteY130" fmla="*/ 5441095 h 6842922"/>
                <a:gd name="connsiteX131" fmla="*/ 146382 w 8968683"/>
                <a:gd name="connsiteY131" fmla="*/ 6103620 h 6842922"/>
                <a:gd name="connsiteX132" fmla="*/ 1422175 w 8968683"/>
                <a:gd name="connsiteY132" fmla="*/ 6103620 h 6842922"/>
                <a:gd name="connsiteX133" fmla="*/ 1422175 w 8968683"/>
                <a:gd name="connsiteY133" fmla="*/ 5957238 h 6842922"/>
                <a:gd name="connsiteX134" fmla="*/ 292764 w 8968683"/>
                <a:gd name="connsiteY134" fmla="*/ 5957238 h 6842922"/>
                <a:gd name="connsiteX135" fmla="*/ 292764 w 8968683"/>
                <a:gd name="connsiteY135" fmla="*/ 5441095 h 6842922"/>
                <a:gd name="connsiteX136" fmla="*/ 2755203 w 8968683"/>
                <a:gd name="connsiteY136" fmla="*/ 6542766 h 6842922"/>
                <a:gd name="connsiteX137" fmla="*/ 2608821 w 8968683"/>
                <a:gd name="connsiteY137" fmla="*/ 6542766 h 6842922"/>
                <a:gd name="connsiteX138" fmla="*/ 2608821 w 8968683"/>
                <a:gd name="connsiteY138" fmla="*/ 6835531 h 6842922"/>
                <a:gd name="connsiteX139" fmla="*/ 3094078 w 8968683"/>
                <a:gd name="connsiteY139" fmla="*/ 6835531 h 6842922"/>
                <a:gd name="connsiteX140" fmla="*/ 3094078 w 8968683"/>
                <a:gd name="connsiteY140" fmla="*/ 6689148 h 6842922"/>
                <a:gd name="connsiteX141" fmla="*/ 2755203 w 8968683"/>
                <a:gd name="connsiteY141" fmla="*/ 6689148 h 6842922"/>
                <a:gd name="connsiteX142" fmla="*/ 2755203 w 8968683"/>
                <a:gd name="connsiteY142" fmla="*/ 6542766 h 6842922"/>
                <a:gd name="connsiteX143" fmla="*/ 8090098 w 8968683"/>
                <a:gd name="connsiteY143" fmla="*/ 4800381 h 6842922"/>
                <a:gd name="connsiteX144" fmla="*/ 8090098 w 8968683"/>
                <a:gd name="connsiteY144" fmla="*/ 5093145 h 6842922"/>
                <a:gd name="connsiteX145" fmla="*/ 8588309 w 8968683"/>
                <a:gd name="connsiteY145" fmla="*/ 5093145 h 6842922"/>
                <a:gd name="connsiteX146" fmla="*/ 8588309 w 8968683"/>
                <a:gd name="connsiteY146" fmla="*/ 5237039 h 6842922"/>
                <a:gd name="connsiteX147" fmla="*/ 8734692 w 8968683"/>
                <a:gd name="connsiteY147" fmla="*/ 5237039 h 6842922"/>
                <a:gd name="connsiteX148" fmla="*/ 8734692 w 8968683"/>
                <a:gd name="connsiteY148" fmla="*/ 4944274 h 6842922"/>
                <a:gd name="connsiteX149" fmla="*/ 8236480 w 8968683"/>
                <a:gd name="connsiteY149" fmla="*/ 4946763 h 6842922"/>
                <a:gd name="connsiteX150" fmla="*/ 8236480 w 8968683"/>
                <a:gd name="connsiteY150" fmla="*/ 4800381 h 6842922"/>
                <a:gd name="connsiteX151" fmla="*/ 8090098 w 8968683"/>
                <a:gd name="connsiteY151" fmla="*/ 4800381 h 6842922"/>
                <a:gd name="connsiteX152" fmla="*/ 8092514 w 8968683"/>
                <a:gd name="connsiteY152" fmla="*/ 880488 h 6842922"/>
                <a:gd name="connsiteX153" fmla="*/ 8238896 w 8968683"/>
                <a:gd name="connsiteY153" fmla="*/ 880488 h 6842922"/>
                <a:gd name="connsiteX154" fmla="*/ 8238896 w 8968683"/>
                <a:gd name="connsiteY154" fmla="*/ 587724 h 6842922"/>
                <a:gd name="connsiteX155" fmla="*/ 8092514 w 8968683"/>
                <a:gd name="connsiteY155" fmla="*/ 587724 h 6842922"/>
                <a:gd name="connsiteX156" fmla="*/ 8092514 w 8968683"/>
                <a:gd name="connsiteY156" fmla="*/ 880488 h 68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8968683" h="6842922">
                  <a:moveTo>
                    <a:pt x="7650952" y="4361234"/>
                  </a:moveTo>
                  <a:lnTo>
                    <a:pt x="6891814" y="4361234"/>
                  </a:lnTo>
                  <a:lnTo>
                    <a:pt x="6891814" y="4214852"/>
                  </a:lnTo>
                  <a:lnTo>
                    <a:pt x="7650952" y="4214852"/>
                  </a:lnTo>
                  <a:lnTo>
                    <a:pt x="7650952" y="4361234"/>
                  </a:lnTo>
                  <a:close/>
                  <a:moveTo>
                    <a:pt x="1722697" y="6103620"/>
                  </a:moveTo>
                  <a:lnTo>
                    <a:pt x="2096411" y="6103620"/>
                  </a:lnTo>
                  <a:lnTo>
                    <a:pt x="2096411" y="5957238"/>
                  </a:lnTo>
                  <a:lnTo>
                    <a:pt x="1722697" y="5957238"/>
                  </a:lnTo>
                  <a:lnTo>
                    <a:pt x="1722697" y="6103620"/>
                  </a:lnTo>
                  <a:close/>
                  <a:moveTo>
                    <a:pt x="146382" y="1821505"/>
                  </a:moveTo>
                  <a:lnTo>
                    <a:pt x="146382" y="146382"/>
                  </a:lnTo>
                  <a:lnTo>
                    <a:pt x="2820051" y="146382"/>
                  </a:lnTo>
                  <a:lnTo>
                    <a:pt x="2820051" y="0"/>
                  </a:lnTo>
                  <a:lnTo>
                    <a:pt x="0" y="0"/>
                  </a:lnTo>
                  <a:lnTo>
                    <a:pt x="0" y="1967887"/>
                  </a:lnTo>
                  <a:lnTo>
                    <a:pt x="146382" y="1967887"/>
                  </a:lnTo>
                  <a:lnTo>
                    <a:pt x="146382" y="5148331"/>
                  </a:lnTo>
                  <a:lnTo>
                    <a:pt x="292764" y="5148331"/>
                  </a:lnTo>
                  <a:lnTo>
                    <a:pt x="292764" y="1967887"/>
                  </a:lnTo>
                  <a:lnTo>
                    <a:pt x="1624914" y="1967887"/>
                  </a:lnTo>
                  <a:lnTo>
                    <a:pt x="1624914" y="1821505"/>
                  </a:lnTo>
                  <a:lnTo>
                    <a:pt x="146382" y="1821505"/>
                  </a:lnTo>
                  <a:close/>
                  <a:moveTo>
                    <a:pt x="2755203" y="3459521"/>
                  </a:moveTo>
                  <a:lnTo>
                    <a:pt x="2755203" y="1821432"/>
                  </a:lnTo>
                  <a:lnTo>
                    <a:pt x="2064061" y="1821432"/>
                  </a:lnTo>
                  <a:lnTo>
                    <a:pt x="2064061" y="1967814"/>
                  </a:lnTo>
                  <a:lnTo>
                    <a:pt x="2608821" y="1967814"/>
                  </a:lnTo>
                  <a:lnTo>
                    <a:pt x="2608821" y="3459521"/>
                  </a:lnTo>
                  <a:lnTo>
                    <a:pt x="2755203" y="3459521"/>
                  </a:lnTo>
                  <a:close/>
                  <a:moveTo>
                    <a:pt x="3423364" y="1321757"/>
                  </a:moveTo>
                  <a:lnTo>
                    <a:pt x="3423364" y="3459521"/>
                  </a:lnTo>
                  <a:lnTo>
                    <a:pt x="3569747" y="3459521"/>
                  </a:lnTo>
                  <a:lnTo>
                    <a:pt x="3569747" y="1967814"/>
                  </a:lnTo>
                  <a:lnTo>
                    <a:pt x="4114507" y="1967814"/>
                  </a:lnTo>
                  <a:lnTo>
                    <a:pt x="4114507" y="1821432"/>
                  </a:lnTo>
                  <a:lnTo>
                    <a:pt x="3569747" y="1821432"/>
                  </a:lnTo>
                  <a:lnTo>
                    <a:pt x="3569747" y="1321757"/>
                  </a:lnTo>
                  <a:lnTo>
                    <a:pt x="3423364" y="1321757"/>
                  </a:lnTo>
                  <a:close/>
                  <a:moveTo>
                    <a:pt x="3423364" y="882611"/>
                  </a:moveTo>
                  <a:lnTo>
                    <a:pt x="3569747" y="882611"/>
                  </a:lnTo>
                  <a:lnTo>
                    <a:pt x="3569747" y="146382"/>
                  </a:lnTo>
                  <a:lnTo>
                    <a:pt x="3879564" y="146382"/>
                  </a:lnTo>
                  <a:lnTo>
                    <a:pt x="3879564" y="0"/>
                  </a:lnTo>
                  <a:lnTo>
                    <a:pt x="3113547" y="0"/>
                  </a:lnTo>
                  <a:lnTo>
                    <a:pt x="3113547" y="146382"/>
                  </a:lnTo>
                  <a:lnTo>
                    <a:pt x="3423364" y="146382"/>
                  </a:lnTo>
                  <a:lnTo>
                    <a:pt x="3423364" y="882611"/>
                  </a:lnTo>
                  <a:close/>
                  <a:moveTo>
                    <a:pt x="2608821" y="4677347"/>
                  </a:moveTo>
                  <a:lnTo>
                    <a:pt x="2755203" y="4677347"/>
                  </a:lnTo>
                  <a:lnTo>
                    <a:pt x="2755203" y="3898667"/>
                  </a:lnTo>
                  <a:lnTo>
                    <a:pt x="2608821" y="3898667"/>
                  </a:lnTo>
                  <a:lnTo>
                    <a:pt x="2608821" y="4214779"/>
                  </a:lnTo>
                  <a:lnTo>
                    <a:pt x="1641748" y="4214779"/>
                  </a:lnTo>
                  <a:lnTo>
                    <a:pt x="1641748" y="4361161"/>
                  </a:lnTo>
                  <a:lnTo>
                    <a:pt x="2608821" y="4361161"/>
                  </a:lnTo>
                  <a:lnTo>
                    <a:pt x="2608821" y="4677273"/>
                  </a:lnTo>
                  <a:close/>
                  <a:moveTo>
                    <a:pt x="3569747" y="4361234"/>
                  </a:moveTo>
                  <a:lnTo>
                    <a:pt x="6452668" y="4361234"/>
                  </a:lnTo>
                  <a:lnTo>
                    <a:pt x="6452668" y="4214852"/>
                  </a:lnTo>
                  <a:lnTo>
                    <a:pt x="6164076" y="4214852"/>
                  </a:lnTo>
                  <a:lnTo>
                    <a:pt x="6164076" y="2553416"/>
                  </a:lnTo>
                  <a:lnTo>
                    <a:pt x="6452668" y="2553416"/>
                  </a:lnTo>
                  <a:lnTo>
                    <a:pt x="6452668" y="2407034"/>
                  </a:lnTo>
                  <a:lnTo>
                    <a:pt x="6164076" y="2407034"/>
                  </a:lnTo>
                  <a:lnTo>
                    <a:pt x="6164076" y="146382"/>
                  </a:lnTo>
                  <a:lnTo>
                    <a:pt x="8092587" y="146382"/>
                  </a:lnTo>
                  <a:lnTo>
                    <a:pt x="8092587" y="292764"/>
                  </a:lnTo>
                  <a:lnTo>
                    <a:pt x="8238969" y="292764"/>
                  </a:lnTo>
                  <a:lnTo>
                    <a:pt x="8238969" y="0"/>
                  </a:lnTo>
                  <a:lnTo>
                    <a:pt x="4172402" y="0"/>
                  </a:lnTo>
                  <a:lnTo>
                    <a:pt x="4172402" y="146382"/>
                  </a:lnTo>
                  <a:lnTo>
                    <a:pt x="6017694" y="146382"/>
                  </a:lnTo>
                  <a:lnTo>
                    <a:pt x="6017694" y="1821505"/>
                  </a:lnTo>
                  <a:lnTo>
                    <a:pt x="4553727" y="1821505"/>
                  </a:lnTo>
                  <a:lnTo>
                    <a:pt x="4553727" y="1967887"/>
                  </a:lnTo>
                  <a:lnTo>
                    <a:pt x="6017694" y="1967887"/>
                  </a:lnTo>
                  <a:lnTo>
                    <a:pt x="6017694" y="4214852"/>
                  </a:lnTo>
                  <a:lnTo>
                    <a:pt x="3569820" y="4214852"/>
                  </a:lnTo>
                  <a:lnTo>
                    <a:pt x="3569820" y="3898740"/>
                  </a:lnTo>
                  <a:lnTo>
                    <a:pt x="3423438" y="3898740"/>
                  </a:lnTo>
                  <a:lnTo>
                    <a:pt x="3423438" y="4677420"/>
                  </a:lnTo>
                  <a:lnTo>
                    <a:pt x="3569820" y="4677420"/>
                  </a:lnTo>
                  <a:lnTo>
                    <a:pt x="3569820" y="4361308"/>
                  </a:lnTo>
                  <a:close/>
                  <a:moveTo>
                    <a:pt x="8822301" y="4214852"/>
                  </a:moveTo>
                  <a:lnTo>
                    <a:pt x="8092587" y="4214852"/>
                  </a:lnTo>
                  <a:lnTo>
                    <a:pt x="8092587" y="4361234"/>
                  </a:lnTo>
                  <a:lnTo>
                    <a:pt x="8968683" y="4361234"/>
                  </a:lnTo>
                  <a:lnTo>
                    <a:pt x="8968683" y="4068470"/>
                  </a:lnTo>
                  <a:lnTo>
                    <a:pt x="8822301" y="4068470"/>
                  </a:lnTo>
                  <a:lnTo>
                    <a:pt x="8822301" y="4214852"/>
                  </a:lnTo>
                  <a:close/>
                  <a:moveTo>
                    <a:pt x="8589114" y="5957238"/>
                  </a:moveTo>
                  <a:lnTo>
                    <a:pt x="4620989" y="5957238"/>
                  </a:lnTo>
                  <a:lnTo>
                    <a:pt x="4620989" y="4800381"/>
                  </a:lnTo>
                  <a:lnTo>
                    <a:pt x="4474607" y="4800381"/>
                  </a:lnTo>
                  <a:lnTo>
                    <a:pt x="4474607" y="6696541"/>
                  </a:lnTo>
                  <a:lnTo>
                    <a:pt x="3533224" y="6696541"/>
                  </a:lnTo>
                  <a:lnTo>
                    <a:pt x="3533224" y="6842923"/>
                  </a:lnTo>
                  <a:lnTo>
                    <a:pt x="4620989" y="6842923"/>
                  </a:lnTo>
                  <a:lnTo>
                    <a:pt x="4620989" y="6103620"/>
                  </a:lnTo>
                  <a:lnTo>
                    <a:pt x="8735497" y="6103620"/>
                  </a:lnTo>
                  <a:lnTo>
                    <a:pt x="8735497" y="5810856"/>
                  </a:lnTo>
                  <a:lnTo>
                    <a:pt x="8589114" y="5810856"/>
                  </a:lnTo>
                  <a:lnTo>
                    <a:pt x="8589114" y="5957238"/>
                  </a:lnTo>
                  <a:close/>
                  <a:moveTo>
                    <a:pt x="8822301" y="3770729"/>
                  </a:moveTo>
                  <a:lnTo>
                    <a:pt x="8968683" y="3770729"/>
                  </a:lnTo>
                  <a:lnTo>
                    <a:pt x="8968683" y="2994977"/>
                  </a:lnTo>
                  <a:lnTo>
                    <a:pt x="8822301" y="2994977"/>
                  </a:lnTo>
                  <a:lnTo>
                    <a:pt x="8822301" y="3770729"/>
                  </a:lnTo>
                  <a:close/>
                  <a:moveTo>
                    <a:pt x="8238896" y="2407034"/>
                  </a:moveTo>
                  <a:lnTo>
                    <a:pt x="8238896" y="1173252"/>
                  </a:lnTo>
                  <a:lnTo>
                    <a:pt x="8092514" y="1173252"/>
                  </a:lnTo>
                  <a:lnTo>
                    <a:pt x="8092514" y="2407034"/>
                  </a:lnTo>
                  <a:lnTo>
                    <a:pt x="6891741" y="2407034"/>
                  </a:lnTo>
                  <a:lnTo>
                    <a:pt x="6891741" y="2553416"/>
                  </a:lnTo>
                  <a:lnTo>
                    <a:pt x="8822228" y="2553416"/>
                  </a:lnTo>
                  <a:lnTo>
                    <a:pt x="8822228" y="2697309"/>
                  </a:lnTo>
                  <a:lnTo>
                    <a:pt x="8968610" y="2697309"/>
                  </a:lnTo>
                  <a:lnTo>
                    <a:pt x="8968610" y="2404545"/>
                  </a:lnTo>
                  <a:lnTo>
                    <a:pt x="8238896" y="2407034"/>
                  </a:lnTo>
                  <a:close/>
                  <a:moveTo>
                    <a:pt x="2608821" y="6250002"/>
                  </a:moveTo>
                  <a:lnTo>
                    <a:pt x="2755203" y="6250002"/>
                  </a:lnTo>
                  <a:lnTo>
                    <a:pt x="2755203" y="5116566"/>
                  </a:lnTo>
                  <a:lnTo>
                    <a:pt x="2608821" y="5116566"/>
                  </a:lnTo>
                  <a:lnTo>
                    <a:pt x="2608821" y="5957238"/>
                  </a:lnTo>
                  <a:lnTo>
                    <a:pt x="2389248" y="5957238"/>
                  </a:lnTo>
                  <a:lnTo>
                    <a:pt x="2389248" y="6103620"/>
                  </a:lnTo>
                  <a:lnTo>
                    <a:pt x="2608821" y="6103620"/>
                  </a:lnTo>
                  <a:lnTo>
                    <a:pt x="2608821" y="6250002"/>
                  </a:lnTo>
                  <a:close/>
                  <a:moveTo>
                    <a:pt x="292764" y="5441095"/>
                  </a:moveTo>
                  <a:lnTo>
                    <a:pt x="146382" y="5441095"/>
                  </a:lnTo>
                  <a:lnTo>
                    <a:pt x="146382" y="6103620"/>
                  </a:lnTo>
                  <a:lnTo>
                    <a:pt x="1422175" y="6103620"/>
                  </a:lnTo>
                  <a:lnTo>
                    <a:pt x="1422175" y="5957238"/>
                  </a:lnTo>
                  <a:lnTo>
                    <a:pt x="292764" y="5957238"/>
                  </a:lnTo>
                  <a:lnTo>
                    <a:pt x="292764" y="5441095"/>
                  </a:lnTo>
                  <a:close/>
                  <a:moveTo>
                    <a:pt x="2755203" y="6542766"/>
                  </a:moveTo>
                  <a:lnTo>
                    <a:pt x="2608821" y="6542766"/>
                  </a:lnTo>
                  <a:lnTo>
                    <a:pt x="2608821" y="6835531"/>
                  </a:lnTo>
                  <a:lnTo>
                    <a:pt x="3094078" y="6835531"/>
                  </a:lnTo>
                  <a:lnTo>
                    <a:pt x="3094078" y="6689148"/>
                  </a:lnTo>
                  <a:lnTo>
                    <a:pt x="2755203" y="6689148"/>
                  </a:lnTo>
                  <a:lnTo>
                    <a:pt x="2755203" y="6542766"/>
                  </a:lnTo>
                  <a:close/>
                  <a:moveTo>
                    <a:pt x="8090098" y="4800381"/>
                  </a:moveTo>
                  <a:lnTo>
                    <a:pt x="8090098" y="5093145"/>
                  </a:lnTo>
                  <a:lnTo>
                    <a:pt x="8588309" y="5093145"/>
                  </a:lnTo>
                  <a:lnTo>
                    <a:pt x="8588309" y="5237039"/>
                  </a:lnTo>
                  <a:lnTo>
                    <a:pt x="8734692" y="5237039"/>
                  </a:lnTo>
                  <a:lnTo>
                    <a:pt x="8734692" y="4944274"/>
                  </a:lnTo>
                  <a:lnTo>
                    <a:pt x="8236480" y="4946763"/>
                  </a:lnTo>
                  <a:lnTo>
                    <a:pt x="8236480" y="4800381"/>
                  </a:lnTo>
                  <a:lnTo>
                    <a:pt x="8090098" y="4800381"/>
                  </a:lnTo>
                  <a:close/>
                  <a:moveTo>
                    <a:pt x="8092514" y="880488"/>
                  </a:moveTo>
                  <a:lnTo>
                    <a:pt x="8238896" y="880488"/>
                  </a:lnTo>
                  <a:lnTo>
                    <a:pt x="8238896" y="587724"/>
                  </a:lnTo>
                  <a:lnTo>
                    <a:pt x="8092514" y="587724"/>
                  </a:lnTo>
                  <a:lnTo>
                    <a:pt x="8092514" y="880488"/>
                  </a:lnTo>
                  <a:close/>
                </a:path>
              </a:pathLst>
            </a:custGeom>
            <a:solidFill>
              <a:srgbClr val="F2F2F2"/>
            </a:solidFill>
            <a:ln w="14625" cap="flat">
              <a:solidFill>
                <a:srgbClr val="B3B3B3"/>
              </a:solid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B9B10934-026F-E82B-A053-25EAA112A597}"/>
                </a:ext>
              </a:extLst>
            </p:cNvPr>
            <p:cNvSpPr/>
            <p:nvPr/>
          </p:nvSpPr>
          <p:spPr>
            <a:xfrm>
              <a:off x="6842987" y="5100463"/>
              <a:ext cx="2860159" cy="864093"/>
            </a:xfrm>
            <a:custGeom>
              <a:avLst/>
              <a:gdLst>
                <a:gd name="connsiteX0" fmla="*/ 2640147 w 2860159"/>
                <a:gd name="connsiteY0" fmla="*/ 0 h 864093"/>
                <a:gd name="connsiteX1" fmla="*/ 2640147 w 2860159"/>
                <a:gd name="connsiteY1" fmla="*/ 864093 h 864093"/>
                <a:gd name="connsiteX2" fmla="*/ 2420135 w 2860159"/>
                <a:gd name="connsiteY2" fmla="*/ 0 h 864093"/>
                <a:gd name="connsiteX3" fmla="*/ 2420135 w 2860159"/>
                <a:gd name="connsiteY3" fmla="*/ 864093 h 864093"/>
                <a:gd name="connsiteX4" fmla="*/ 2200122 w 2860159"/>
                <a:gd name="connsiteY4" fmla="*/ 0 h 864093"/>
                <a:gd name="connsiteX5" fmla="*/ 2200122 w 2860159"/>
                <a:gd name="connsiteY5" fmla="*/ 864093 h 864093"/>
                <a:gd name="connsiteX6" fmla="*/ 1980110 w 2860159"/>
                <a:gd name="connsiteY6" fmla="*/ 0 h 864093"/>
                <a:gd name="connsiteX7" fmla="*/ 1980110 w 2860159"/>
                <a:gd name="connsiteY7" fmla="*/ 864093 h 864093"/>
                <a:gd name="connsiteX8" fmla="*/ 1760098 w 2860159"/>
                <a:gd name="connsiteY8" fmla="*/ 0 h 864093"/>
                <a:gd name="connsiteX9" fmla="*/ 1760098 w 2860159"/>
                <a:gd name="connsiteY9" fmla="*/ 864093 h 864093"/>
                <a:gd name="connsiteX10" fmla="*/ 1540086 w 2860159"/>
                <a:gd name="connsiteY10" fmla="*/ 0 h 864093"/>
                <a:gd name="connsiteX11" fmla="*/ 1540086 w 2860159"/>
                <a:gd name="connsiteY11" fmla="*/ 864093 h 864093"/>
                <a:gd name="connsiteX12" fmla="*/ 1320073 w 2860159"/>
                <a:gd name="connsiteY12" fmla="*/ 0 h 864093"/>
                <a:gd name="connsiteX13" fmla="*/ 1320073 w 2860159"/>
                <a:gd name="connsiteY13" fmla="*/ 864093 h 864093"/>
                <a:gd name="connsiteX14" fmla="*/ 1100061 w 2860159"/>
                <a:gd name="connsiteY14" fmla="*/ 0 h 864093"/>
                <a:gd name="connsiteX15" fmla="*/ 1100061 w 2860159"/>
                <a:gd name="connsiteY15" fmla="*/ 864093 h 864093"/>
                <a:gd name="connsiteX16" fmla="*/ 880049 w 2860159"/>
                <a:gd name="connsiteY16" fmla="*/ 0 h 864093"/>
                <a:gd name="connsiteX17" fmla="*/ 880049 w 2860159"/>
                <a:gd name="connsiteY17" fmla="*/ 864093 h 864093"/>
                <a:gd name="connsiteX18" fmla="*/ 660037 w 2860159"/>
                <a:gd name="connsiteY18" fmla="*/ 0 h 864093"/>
                <a:gd name="connsiteX19" fmla="*/ 660037 w 2860159"/>
                <a:gd name="connsiteY19" fmla="*/ 864093 h 864093"/>
                <a:gd name="connsiteX20" fmla="*/ 440024 w 2860159"/>
                <a:gd name="connsiteY20" fmla="*/ 0 h 864093"/>
                <a:gd name="connsiteX21" fmla="*/ 440024 w 2860159"/>
                <a:gd name="connsiteY21" fmla="*/ 864093 h 864093"/>
                <a:gd name="connsiteX22" fmla="*/ 220012 w 2860159"/>
                <a:gd name="connsiteY22" fmla="*/ 0 h 864093"/>
                <a:gd name="connsiteX23" fmla="*/ 220012 w 2860159"/>
                <a:gd name="connsiteY23" fmla="*/ 864093 h 864093"/>
                <a:gd name="connsiteX24" fmla="*/ 2860159 w 2860159"/>
                <a:gd name="connsiteY24" fmla="*/ 864093 h 864093"/>
                <a:gd name="connsiteX25" fmla="*/ 2860159 w 2860159"/>
                <a:gd name="connsiteY25" fmla="*/ 0 h 864093"/>
                <a:gd name="connsiteX26" fmla="*/ 0 w 2860159"/>
                <a:gd name="connsiteY26" fmla="*/ 0 h 864093"/>
                <a:gd name="connsiteX27" fmla="*/ 0 w 2860159"/>
                <a:gd name="connsiteY27" fmla="*/ 864093 h 864093"/>
                <a:gd name="connsiteX28" fmla="*/ 2860159 w 2860159"/>
                <a:gd name="connsiteY28" fmla="*/ 864093 h 8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0159" h="864093">
                  <a:moveTo>
                    <a:pt x="2640147" y="0"/>
                  </a:moveTo>
                  <a:lnTo>
                    <a:pt x="2640147" y="864093"/>
                  </a:lnTo>
                  <a:moveTo>
                    <a:pt x="2420135" y="0"/>
                  </a:moveTo>
                  <a:lnTo>
                    <a:pt x="2420135" y="864093"/>
                  </a:lnTo>
                  <a:moveTo>
                    <a:pt x="2200122" y="0"/>
                  </a:moveTo>
                  <a:lnTo>
                    <a:pt x="2200122" y="864093"/>
                  </a:lnTo>
                  <a:moveTo>
                    <a:pt x="1980110" y="0"/>
                  </a:moveTo>
                  <a:lnTo>
                    <a:pt x="1980110" y="864093"/>
                  </a:lnTo>
                  <a:moveTo>
                    <a:pt x="1760098" y="0"/>
                  </a:moveTo>
                  <a:lnTo>
                    <a:pt x="1760098" y="864093"/>
                  </a:lnTo>
                  <a:moveTo>
                    <a:pt x="1540086" y="0"/>
                  </a:moveTo>
                  <a:lnTo>
                    <a:pt x="1540086" y="864093"/>
                  </a:lnTo>
                  <a:moveTo>
                    <a:pt x="1320073" y="0"/>
                  </a:moveTo>
                  <a:lnTo>
                    <a:pt x="1320073" y="864093"/>
                  </a:lnTo>
                  <a:moveTo>
                    <a:pt x="1100061" y="0"/>
                  </a:moveTo>
                  <a:lnTo>
                    <a:pt x="1100061" y="864093"/>
                  </a:lnTo>
                  <a:moveTo>
                    <a:pt x="880049" y="0"/>
                  </a:moveTo>
                  <a:lnTo>
                    <a:pt x="880049" y="864093"/>
                  </a:lnTo>
                  <a:moveTo>
                    <a:pt x="660037" y="0"/>
                  </a:moveTo>
                  <a:lnTo>
                    <a:pt x="660037" y="864093"/>
                  </a:lnTo>
                  <a:moveTo>
                    <a:pt x="440024" y="0"/>
                  </a:moveTo>
                  <a:lnTo>
                    <a:pt x="440024" y="864093"/>
                  </a:lnTo>
                  <a:moveTo>
                    <a:pt x="220012" y="0"/>
                  </a:moveTo>
                  <a:lnTo>
                    <a:pt x="220012" y="864093"/>
                  </a:lnTo>
                  <a:moveTo>
                    <a:pt x="2860159" y="864093"/>
                  </a:moveTo>
                  <a:lnTo>
                    <a:pt x="2860159" y="0"/>
                  </a:lnTo>
                  <a:lnTo>
                    <a:pt x="0" y="0"/>
                  </a:lnTo>
                  <a:lnTo>
                    <a:pt x="0" y="864093"/>
                  </a:lnTo>
                  <a:lnTo>
                    <a:pt x="2860159" y="864093"/>
                  </a:lnTo>
                  <a:close/>
                </a:path>
              </a:pathLst>
            </a:custGeom>
            <a:noFill/>
            <a:ln w="14625" cap="flat">
              <a:solidFill>
                <a:srgbClr val="B3B3B3"/>
              </a:solidFill>
              <a:prstDash val="solid"/>
              <a:miter/>
            </a:ln>
          </p:spPr>
          <p:txBody>
            <a:bodyPr rtlCol="0" anchor="ctr"/>
            <a:lstStyle/>
            <a:p>
              <a:endParaRPr lang="en-US"/>
            </a:p>
          </p:txBody>
        </p:sp>
      </p:grpSp>
      <p:grpSp>
        <p:nvGrpSpPr>
          <p:cNvPr id="42" name="WiFi">
            <a:extLst>
              <a:ext uri="{FF2B5EF4-FFF2-40B4-BE49-F238E27FC236}">
                <a16:creationId xmlns:a16="http://schemas.microsoft.com/office/drawing/2014/main" id="{BFB4DE02-D6DD-0F77-DF0F-EAF011238CB1}"/>
              </a:ext>
            </a:extLst>
          </p:cNvPr>
          <p:cNvGrpSpPr>
            <a:grpSpLocks noChangeAspect="1"/>
          </p:cNvGrpSpPr>
          <p:nvPr/>
        </p:nvGrpSpPr>
        <p:grpSpPr>
          <a:xfrm>
            <a:off x="7040141" y="1572433"/>
            <a:ext cx="1003766" cy="1003766"/>
            <a:chOff x="11173109" y="1447800"/>
            <a:chExt cx="1097280" cy="1097280"/>
          </a:xfrm>
        </p:grpSpPr>
        <p:sp>
          <p:nvSpPr>
            <p:cNvPr id="43" name="Oval 42">
              <a:extLst>
                <a:ext uri="{FF2B5EF4-FFF2-40B4-BE49-F238E27FC236}">
                  <a16:creationId xmlns:a16="http://schemas.microsoft.com/office/drawing/2014/main" id="{8EBC7EAC-C36D-FF95-4EE0-D6AD700A9AFC}"/>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9A919FE1-BD7C-EE4B-B36E-8ACD64BC6A2C}"/>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51E64EE4-F8A6-496A-3068-1F8CC54ED6D7}"/>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C0A5D785-758F-F794-B613-0823B39974A9}"/>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WiFi">
            <a:extLst>
              <a:ext uri="{FF2B5EF4-FFF2-40B4-BE49-F238E27FC236}">
                <a16:creationId xmlns:a16="http://schemas.microsoft.com/office/drawing/2014/main" id="{8D33DA61-69F0-F46B-2385-8251D23BD899}"/>
              </a:ext>
            </a:extLst>
          </p:cNvPr>
          <p:cNvGrpSpPr>
            <a:grpSpLocks noChangeAspect="1"/>
          </p:cNvGrpSpPr>
          <p:nvPr/>
        </p:nvGrpSpPr>
        <p:grpSpPr>
          <a:xfrm>
            <a:off x="4475047" y="623486"/>
            <a:ext cx="1097280" cy="1097280"/>
            <a:chOff x="11173109" y="1447800"/>
            <a:chExt cx="1097280" cy="1097280"/>
          </a:xfrm>
        </p:grpSpPr>
        <p:sp>
          <p:nvSpPr>
            <p:cNvPr id="48" name="Oval 47">
              <a:extLst>
                <a:ext uri="{FF2B5EF4-FFF2-40B4-BE49-F238E27FC236}">
                  <a16:creationId xmlns:a16="http://schemas.microsoft.com/office/drawing/2014/main" id="{6BFB35D2-A6F0-3119-BBB0-CF4966E0DE13}"/>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39556059-84C1-A501-572D-9795158BB69B}"/>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EAEDAD13-C2E2-3516-91FF-3F3886F2505A}"/>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80C76950-FC32-E6C1-633F-32E75F681642}"/>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WiFi">
            <a:extLst>
              <a:ext uri="{FF2B5EF4-FFF2-40B4-BE49-F238E27FC236}">
                <a16:creationId xmlns:a16="http://schemas.microsoft.com/office/drawing/2014/main" id="{982D244D-8049-9410-517E-6A764B722598}"/>
              </a:ext>
            </a:extLst>
          </p:cNvPr>
          <p:cNvGrpSpPr>
            <a:grpSpLocks noChangeAspect="1"/>
          </p:cNvGrpSpPr>
          <p:nvPr/>
        </p:nvGrpSpPr>
        <p:grpSpPr>
          <a:xfrm>
            <a:off x="5503979" y="2177775"/>
            <a:ext cx="1003766" cy="1003766"/>
            <a:chOff x="11173109" y="1447800"/>
            <a:chExt cx="1097280" cy="1097280"/>
          </a:xfrm>
        </p:grpSpPr>
        <p:sp>
          <p:nvSpPr>
            <p:cNvPr id="53" name="Oval 52">
              <a:extLst>
                <a:ext uri="{FF2B5EF4-FFF2-40B4-BE49-F238E27FC236}">
                  <a16:creationId xmlns:a16="http://schemas.microsoft.com/office/drawing/2014/main" id="{043C827B-0563-5F61-37D0-54459CC68B93}"/>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111E5E1E-FA6D-D47F-2BF8-CA5D2BB86214}"/>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4CA6194F-C0B4-1936-AE61-C1D7E449E525}"/>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9801BF52-556B-6A1E-E3CF-8FBFF3B0AB20}"/>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WiFi">
            <a:extLst>
              <a:ext uri="{FF2B5EF4-FFF2-40B4-BE49-F238E27FC236}">
                <a16:creationId xmlns:a16="http://schemas.microsoft.com/office/drawing/2014/main" id="{0C4B4EF5-6F49-6C98-BB0D-021212250228}"/>
              </a:ext>
            </a:extLst>
          </p:cNvPr>
          <p:cNvGrpSpPr>
            <a:grpSpLocks noChangeAspect="1"/>
          </p:cNvGrpSpPr>
          <p:nvPr/>
        </p:nvGrpSpPr>
        <p:grpSpPr>
          <a:xfrm>
            <a:off x="1652992" y="1143649"/>
            <a:ext cx="1003766" cy="1003766"/>
            <a:chOff x="11173109" y="1447800"/>
            <a:chExt cx="1097280" cy="1097280"/>
          </a:xfrm>
        </p:grpSpPr>
        <p:sp>
          <p:nvSpPr>
            <p:cNvPr id="58" name="Oval 57">
              <a:extLst>
                <a:ext uri="{FF2B5EF4-FFF2-40B4-BE49-F238E27FC236}">
                  <a16:creationId xmlns:a16="http://schemas.microsoft.com/office/drawing/2014/main" id="{581AB76D-12DF-CAB6-C72F-A9AA4FD4F0EE}"/>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B7161E5D-57E2-C172-7FDF-9EE801B577F0}"/>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C310D1C8-6BC3-82DA-FF46-37827880D08D}"/>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7C8DBDC0-4B84-6429-D0D7-CA1E2099F9FE}"/>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2" name="WiFi3">
            <a:extLst>
              <a:ext uri="{FF2B5EF4-FFF2-40B4-BE49-F238E27FC236}">
                <a16:creationId xmlns:a16="http://schemas.microsoft.com/office/drawing/2014/main" id="{41325932-4838-F892-BFFC-7CECCA5F2ACE}"/>
              </a:ext>
            </a:extLst>
          </p:cNvPr>
          <p:cNvGrpSpPr>
            <a:grpSpLocks noChangeAspect="1"/>
          </p:cNvGrpSpPr>
          <p:nvPr/>
        </p:nvGrpSpPr>
        <p:grpSpPr>
          <a:xfrm>
            <a:off x="1798496" y="2944764"/>
            <a:ext cx="1003766" cy="1003766"/>
            <a:chOff x="11173109" y="1447800"/>
            <a:chExt cx="1097280" cy="1097280"/>
          </a:xfrm>
        </p:grpSpPr>
        <p:sp>
          <p:nvSpPr>
            <p:cNvPr id="63" name="Oval 62">
              <a:extLst>
                <a:ext uri="{FF2B5EF4-FFF2-40B4-BE49-F238E27FC236}">
                  <a16:creationId xmlns:a16="http://schemas.microsoft.com/office/drawing/2014/main" id="{F61F3CE4-E9DC-3EE4-26E4-9E3F2DD21457}"/>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67FD4242-D2D4-B4AE-D5EC-33C799FAA653}"/>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91E79E26-34B1-0360-749A-A67E8B6832B3}"/>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460C0498-C113-F3B9-8D60-89DFCA12D9A7}"/>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WiFi3 RED">
            <a:extLst>
              <a:ext uri="{FF2B5EF4-FFF2-40B4-BE49-F238E27FC236}">
                <a16:creationId xmlns:a16="http://schemas.microsoft.com/office/drawing/2014/main" id="{DB5854BB-D6EB-BCF4-C551-A166CC56FD19}"/>
              </a:ext>
            </a:extLst>
          </p:cNvPr>
          <p:cNvGrpSpPr>
            <a:grpSpLocks noChangeAspect="1"/>
          </p:cNvGrpSpPr>
          <p:nvPr/>
        </p:nvGrpSpPr>
        <p:grpSpPr>
          <a:xfrm>
            <a:off x="1798496" y="2944764"/>
            <a:ext cx="1003766" cy="1003766"/>
            <a:chOff x="11173109" y="1447800"/>
            <a:chExt cx="1097280" cy="1097280"/>
          </a:xfrm>
        </p:grpSpPr>
        <p:sp>
          <p:nvSpPr>
            <p:cNvPr id="78" name="Oval 77">
              <a:extLst>
                <a:ext uri="{FF2B5EF4-FFF2-40B4-BE49-F238E27FC236}">
                  <a16:creationId xmlns:a16="http://schemas.microsoft.com/office/drawing/2014/main" id="{574FE0CE-4B0D-1B7F-070C-6FFCCEA6CA3F}"/>
                </a:ext>
              </a:extLst>
            </p:cNvPr>
            <p:cNvSpPr>
              <a:spLocks noChangeAspect="1"/>
            </p:cNvSpPr>
            <p:nvPr/>
          </p:nvSpPr>
          <p:spPr>
            <a:xfrm>
              <a:off x="11264549" y="1539240"/>
              <a:ext cx="914400" cy="914400"/>
            </a:xfrm>
            <a:prstGeom prst="ellipse">
              <a:avLst/>
            </a:prstGeom>
            <a:noFill/>
            <a:ln w="254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F3017FAE-4230-5B96-1C5E-3A5E134EBE0E}"/>
                </a:ext>
              </a:extLst>
            </p:cNvPr>
            <p:cNvSpPr>
              <a:spLocks noChangeAspect="1"/>
            </p:cNvSpPr>
            <p:nvPr/>
          </p:nvSpPr>
          <p:spPr>
            <a:xfrm>
              <a:off x="11355989" y="1630680"/>
              <a:ext cx="731520" cy="731520"/>
            </a:xfrm>
            <a:prstGeom prst="ellipse">
              <a:avLst/>
            </a:prstGeom>
            <a:noFill/>
            <a:ln w="381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5D714535-BA66-9BDA-2F5A-46CC957268F1}"/>
                </a:ext>
              </a:extLst>
            </p:cNvPr>
            <p:cNvSpPr>
              <a:spLocks noChangeAspect="1"/>
            </p:cNvSpPr>
            <p:nvPr/>
          </p:nvSpPr>
          <p:spPr>
            <a:xfrm>
              <a:off x="11447429" y="1722120"/>
              <a:ext cx="548640" cy="548640"/>
            </a:xfrm>
            <a:prstGeom prst="ellipse">
              <a:avLst/>
            </a:prstGeom>
            <a:noFill/>
            <a:ln w="508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C86042CF-B92B-26CA-0EAF-C2CBB858FA65}"/>
                </a:ext>
              </a:extLst>
            </p:cNvPr>
            <p:cNvSpPr>
              <a:spLocks noChangeAspect="1"/>
            </p:cNvSpPr>
            <p:nvPr/>
          </p:nvSpPr>
          <p:spPr>
            <a:xfrm>
              <a:off x="11173109" y="1447800"/>
              <a:ext cx="1097280" cy="1097280"/>
            </a:xfrm>
            <a:prstGeom prst="ellipse">
              <a:avLst/>
            </a:prstGeom>
            <a:noFill/>
            <a:ln w="127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WiFi">
            <a:extLst>
              <a:ext uri="{FF2B5EF4-FFF2-40B4-BE49-F238E27FC236}">
                <a16:creationId xmlns:a16="http://schemas.microsoft.com/office/drawing/2014/main" id="{56AB697F-89CB-C1A2-29BE-DA24B56103AA}"/>
              </a:ext>
            </a:extLst>
          </p:cNvPr>
          <p:cNvGrpSpPr>
            <a:grpSpLocks noChangeAspect="1"/>
          </p:cNvGrpSpPr>
          <p:nvPr/>
        </p:nvGrpSpPr>
        <p:grpSpPr>
          <a:xfrm>
            <a:off x="2338792" y="4579720"/>
            <a:ext cx="1003766" cy="1003766"/>
            <a:chOff x="11173109" y="1447800"/>
            <a:chExt cx="1097280" cy="1097280"/>
          </a:xfrm>
        </p:grpSpPr>
        <p:sp>
          <p:nvSpPr>
            <p:cNvPr id="68" name="Oval 67">
              <a:extLst>
                <a:ext uri="{FF2B5EF4-FFF2-40B4-BE49-F238E27FC236}">
                  <a16:creationId xmlns:a16="http://schemas.microsoft.com/office/drawing/2014/main" id="{F8F13D06-4C08-B071-8CD5-E82D9C9B99B2}"/>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EC68E064-9A3D-45CE-BE11-0AF3AA2589C0}"/>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EE86EF37-F55B-BB31-1676-06FA2C8BEDE5}"/>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4AE0D095-1637-AFA8-4115-C5D77D6DA11E}"/>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2" name="WiFi">
            <a:extLst>
              <a:ext uri="{FF2B5EF4-FFF2-40B4-BE49-F238E27FC236}">
                <a16:creationId xmlns:a16="http://schemas.microsoft.com/office/drawing/2014/main" id="{90044704-20C7-5FD8-89E1-AA6261D0C263}"/>
              </a:ext>
            </a:extLst>
          </p:cNvPr>
          <p:cNvGrpSpPr>
            <a:grpSpLocks noChangeAspect="1"/>
          </p:cNvGrpSpPr>
          <p:nvPr/>
        </p:nvGrpSpPr>
        <p:grpSpPr>
          <a:xfrm>
            <a:off x="7853837" y="2927117"/>
            <a:ext cx="1003766" cy="1003766"/>
            <a:chOff x="11173109" y="1447800"/>
            <a:chExt cx="1097280" cy="1097280"/>
          </a:xfrm>
        </p:grpSpPr>
        <p:sp>
          <p:nvSpPr>
            <p:cNvPr id="73" name="Oval 72">
              <a:extLst>
                <a:ext uri="{FF2B5EF4-FFF2-40B4-BE49-F238E27FC236}">
                  <a16:creationId xmlns:a16="http://schemas.microsoft.com/office/drawing/2014/main" id="{E1065918-58C4-FA33-0C10-3C2017B9AEBD}"/>
                </a:ext>
              </a:extLst>
            </p:cNvPr>
            <p:cNvSpPr>
              <a:spLocks noChangeAspect="1"/>
            </p:cNvSpPr>
            <p:nvPr/>
          </p:nvSpPr>
          <p:spPr>
            <a:xfrm>
              <a:off x="11264549" y="1539240"/>
              <a:ext cx="914400" cy="914400"/>
            </a:xfrm>
            <a:prstGeom prst="ellipse">
              <a:avLst/>
            </a:prstGeom>
            <a:noFill/>
            <a:ln w="254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3A9C5031-CDB4-BC49-8C36-2D90A7CF0B33}"/>
                </a:ext>
              </a:extLst>
            </p:cNvPr>
            <p:cNvSpPr>
              <a:spLocks noChangeAspect="1"/>
            </p:cNvSpPr>
            <p:nvPr/>
          </p:nvSpPr>
          <p:spPr>
            <a:xfrm>
              <a:off x="11355989" y="1630680"/>
              <a:ext cx="731520" cy="731520"/>
            </a:xfrm>
            <a:prstGeom prst="ellipse">
              <a:avLst/>
            </a:prstGeom>
            <a:noFill/>
            <a:ln w="381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85E30D9-3016-09C8-C0DA-471A515E81E6}"/>
                </a:ext>
              </a:extLst>
            </p:cNvPr>
            <p:cNvSpPr>
              <a:spLocks noChangeAspect="1"/>
            </p:cNvSpPr>
            <p:nvPr/>
          </p:nvSpPr>
          <p:spPr>
            <a:xfrm>
              <a:off x="11447429" y="1722120"/>
              <a:ext cx="548640" cy="548640"/>
            </a:xfrm>
            <a:prstGeom prst="ellipse">
              <a:avLst/>
            </a:prstGeom>
            <a:noFill/>
            <a:ln w="508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599EE609-3530-A06A-8351-FEFA3C5932DA}"/>
                </a:ext>
              </a:extLst>
            </p:cNvPr>
            <p:cNvSpPr>
              <a:spLocks noChangeAspect="1"/>
            </p:cNvSpPr>
            <p:nvPr/>
          </p:nvSpPr>
          <p:spPr>
            <a:xfrm>
              <a:off x="11173109" y="1447800"/>
              <a:ext cx="1097280" cy="1097280"/>
            </a:xfrm>
            <a:prstGeom prst="ellipse">
              <a:avLst/>
            </a:prstGeom>
            <a:noFill/>
            <a:ln w="12700">
              <a:gradFill flip="none" rotWithShape="1">
                <a:gsLst>
                  <a:gs pos="50000">
                    <a:schemeClr val="accent1"/>
                  </a:gs>
                  <a:gs pos="100000">
                    <a:schemeClr val="accent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WiFi Person RED">
            <a:extLst>
              <a:ext uri="{FF2B5EF4-FFF2-40B4-BE49-F238E27FC236}">
                <a16:creationId xmlns:a16="http://schemas.microsoft.com/office/drawing/2014/main" id="{EE416ADB-0B77-A969-8F73-EA15E809FC5A}"/>
              </a:ext>
            </a:extLst>
          </p:cNvPr>
          <p:cNvGrpSpPr>
            <a:grpSpLocks noChangeAspect="1"/>
          </p:cNvGrpSpPr>
          <p:nvPr/>
        </p:nvGrpSpPr>
        <p:grpSpPr>
          <a:xfrm>
            <a:off x="2366759" y="2237663"/>
            <a:ext cx="1003766" cy="1003766"/>
            <a:chOff x="11173109" y="1447800"/>
            <a:chExt cx="1097280" cy="1097280"/>
          </a:xfrm>
        </p:grpSpPr>
        <p:sp>
          <p:nvSpPr>
            <p:cNvPr id="83" name="Oval 82">
              <a:extLst>
                <a:ext uri="{FF2B5EF4-FFF2-40B4-BE49-F238E27FC236}">
                  <a16:creationId xmlns:a16="http://schemas.microsoft.com/office/drawing/2014/main" id="{CD5A5518-7929-148E-2769-4466FDE7BC53}"/>
                </a:ext>
              </a:extLst>
            </p:cNvPr>
            <p:cNvSpPr>
              <a:spLocks noChangeAspect="1"/>
            </p:cNvSpPr>
            <p:nvPr/>
          </p:nvSpPr>
          <p:spPr>
            <a:xfrm>
              <a:off x="11264549" y="1539240"/>
              <a:ext cx="914400" cy="914400"/>
            </a:xfrm>
            <a:prstGeom prst="ellipse">
              <a:avLst/>
            </a:prstGeom>
            <a:noFill/>
            <a:ln w="254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429DDB2D-5797-B2C8-0CDD-A8B2B82C4CFE}"/>
                </a:ext>
              </a:extLst>
            </p:cNvPr>
            <p:cNvSpPr>
              <a:spLocks noChangeAspect="1"/>
            </p:cNvSpPr>
            <p:nvPr/>
          </p:nvSpPr>
          <p:spPr>
            <a:xfrm>
              <a:off x="11355989" y="1630680"/>
              <a:ext cx="731520" cy="731520"/>
            </a:xfrm>
            <a:prstGeom prst="ellipse">
              <a:avLst/>
            </a:prstGeom>
            <a:noFill/>
            <a:ln w="381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3A690D5F-2004-45DE-270F-BBBFAFA3FDAA}"/>
                </a:ext>
              </a:extLst>
            </p:cNvPr>
            <p:cNvSpPr>
              <a:spLocks noChangeAspect="1"/>
            </p:cNvSpPr>
            <p:nvPr/>
          </p:nvSpPr>
          <p:spPr>
            <a:xfrm>
              <a:off x="11447429" y="1722120"/>
              <a:ext cx="548640" cy="548640"/>
            </a:xfrm>
            <a:prstGeom prst="ellipse">
              <a:avLst/>
            </a:prstGeom>
            <a:noFill/>
            <a:ln w="508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D64CBFEC-A04D-515A-F9E5-ECFC746067AB}"/>
                </a:ext>
              </a:extLst>
            </p:cNvPr>
            <p:cNvSpPr>
              <a:spLocks noChangeAspect="1"/>
            </p:cNvSpPr>
            <p:nvPr/>
          </p:nvSpPr>
          <p:spPr>
            <a:xfrm>
              <a:off x="11173109" y="1447800"/>
              <a:ext cx="1097280" cy="1097280"/>
            </a:xfrm>
            <a:prstGeom prst="ellipse">
              <a:avLst/>
            </a:prstGeom>
            <a:noFill/>
            <a:ln w="127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WiFi RED Mini">
            <a:extLst>
              <a:ext uri="{FF2B5EF4-FFF2-40B4-BE49-F238E27FC236}">
                <a16:creationId xmlns:a16="http://schemas.microsoft.com/office/drawing/2014/main" id="{2330946C-6B3E-7F02-9F6C-B318C3A37189}"/>
              </a:ext>
            </a:extLst>
          </p:cNvPr>
          <p:cNvGrpSpPr>
            <a:grpSpLocks noChangeAspect="1"/>
          </p:cNvGrpSpPr>
          <p:nvPr/>
        </p:nvGrpSpPr>
        <p:grpSpPr>
          <a:xfrm>
            <a:off x="5503979" y="2177775"/>
            <a:ext cx="1003766" cy="1003766"/>
            <a:chOff x="11173109" y="1447800"/>
            <a:chExt cx="1097280" cy="1097280"/>
          </a:xfrm>
        </p:grpSpPr>
        <p:sp>
          <p:nvSpPr>
            <p:cNvPr id="6" name="Oval 5">
              <a:extLst>
                <a:ext uri="{FF2B5EF4-FFF2-40B4-BE49-F238E27FC236}">
                  <a16:creationId xmlns:a16="http://schemas.microsoft.com/office/drawing/2014/main" id="{F1C8C913-8D9F-ED39-836C-443B53489006}"/>
                </a:ext>
              </a:extLst>
            </p:cNvPr>
            <p:cNvSpPr>
              <a:spLocks noChangeAspect="1"/>
            </p:cNvSpPr>
            <p:nvPr/>
          </p:nvSpPr>
          <p:spPr>
            <a:xfrm>
              <a:off x="11264549" y="1539240"/>
              <a:ext cx="914400" cy="914400"/>
            </a:xfrm>
            <a:prstGeom prst="ellipse">
              <a:avLst/>
            </a:prstGeom>
            <a:noFill/>
            <a:ln w="254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E18864B-A938-5260-CF7C-76BAEBFF6B8D}"/>
                </a:ext>
              </a:extLst>
            </p:cNvPr>
            <p:cNvSpPr>
              <a:spLocks noChangeAspect="1"/>
            </p:cNvSpPr>
            <p:nvPr/>
          </p:nvSpPr>
          <p:spPr>
            <a:xfrm>
              <a:off x="11355989" y="1630680"/>
              <a:ext cx="731520" cy="731520"/>
            </a:xfrm>
            <a:prstGeom prst="ellipse">
              <a:avLst/>
            </a:prstGeom>
            <a:noFill/>
            <a:ln w="381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A26A08BE-07BC-F32E-EAFC-B46DA8AE22B7}"/>
                </a:ext>
              </a:extLst>
            </p:cNvPr>
            <p:cNvSpPr>
              <a:spLocks noChangeAspect="1"/>
            </p:cNvSpPr>
            <p:nvPr/>
          </p:nvSpPr>
          <p:spPr>
            <a:xfrm>
              <a:off x="11447429" y="1722120"/>
              <a:ext cx="548640" cy="548640"/>
            </a:xfrm>
            <a:prstGeom prst="ellipse">
              <a:avLst/>
            </a:prstGeom>
            <a:noFill/>
            <a:ln w="508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5E220E88-E0F4-1DF3-40AA-493E08AF7A60}"/>
                </a:ext>
              </a:extLst>
            </p:cNvPr>
            <p:cNvSpPr>
              <a:spLocks noChangeAspect="1"/>
            </p:cNvSpPr>
            <p:nvPr/>
          </p:nvSpPr>
          <p:spPr>
            <a:xfrm>
              <a:off x="11173109" y="1447800"/>
              <a:ext cx="1097280" cy="1097280"/>
            </a:xfrm>
            <a:prstGeom prst="ellipse">
              <a:avLst/>
            </a:prstGeom>
            <a:noFill/>
            <a:ln w="12700">
              <a:gradFill flip="none" rotWithShape="1">
                <a:gsLst>
                  <a:gs pos="50000">
                    <a:schemeClr val="accent4"/>
                  </a:gs>
                  <a:gs pos="100000">
                    <a:schemeClr val="tx2">
                      <a:alpha val="0"/>
                    </a:schemeClr>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Graphic 13">
            <a:extLst>
              <a:ext uri="{FF2B5EF4-FFF2-40B4-BE49-F238E27FC236}">
                <a16:creationId xmlns:a16="http://schemas.microsoft.com/office/drawing/2014/main" id="{A42B2CC5-A624-BC57-C0C4-3ECBA10D8E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93537" y="1371212"/>
            <a:ext cx="548640" cy="548640"/>
          </a:xfrm>
          <a:prstGeom prst="rect">
            <a:avLst/>
          </a:prstGeom>
        </p:spPr>
      </p:pic>
      <p:pic>
        <p:nvPicPr>
          <p:cNvPr id="15" name="Graphic 14">
            <a:extLst>
              <a:ext uri="{FF2B5EF4-FFF2-40B4-BE49-F238E27FC236}">
                <a16:creationId xmlns:a16="http://schemas.microsoft.com/office/drawing/2014/main" id="{958B97CB-25C6-9058-A488-66F85CEAA70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32821" y="2405338"/>
            <a:ext cx="548640" cy="548640"/>
          </a:xfrm>
          <a:prstGeom prst="rect">
            <a:avLst/>
          </a:prstGeom>
        </p:spPr>
      </p:pic>
      <p:pic>
        <p:nvPicPr>
          <p:cNvPr id="16" name="Graphic 15">
            <a:extLst>
              <a:ext uri="{FF2B5EF4-FFF2-40B4-BE49-F238E27FC236}">
                <a16:creationId xmlns:a16="http://schemas.microsoft.com/office/drawing/2014/main" id="{2C30E477-A3EA-2AC6-F874-D8F678E74C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26059" y="3172327"/>
            <a:ext cx="548640" cy="548640"/>
          </a:xfrm>
          <a:prstGeom prst="rect">
            <a:avLst/>
          </a:prstGeom>
        </p:spPr>
      </p:pic>
      <p:pic>
        <p:nvPicPr>
          <p:cNvPr id="17" name="Graphic 16">
            <a:extLst>
              <a:ext uri="{FF2B5EF4-FFF2-40B4-BE49-F238E27FC236}">
                <a16:creationId xmlns:a16="http://schemas.microsoft.com/office/drawing/2014/main" id="{FF1C834F-4E57-9DFD-287D-2470329E17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52214" y="901986"/>
            <a:ext cx="548640" cy="548640"/>
          </a:xfrm>
          <a:prstGeom prst="rect">
            <a:avLst/>
          </a:prstGeom>
        </p:spPr>
      </p:pic>
      <p:pic>
        <p:nvPicPr>
          <p:cNvPr id="36" name="Graphic 35">
            <a:extLst>
              <a:ext uri="{FF2B5EF4-FFF2-40B4-BE49-F238E27FC236}">
                <a16:creationId xmlns:a16="http://schemas.microsoft.com/office/drawing/2014/main" id="{F87D6783-564E-8280-41AA-7BCA638C3A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2947" y="4844356"/>
            <a:ext cx="823908" cy="823908"/>
          </a:xfrm>
          <a:prstGeom prst="rect">
            <a:avLst/>
          </a:prstGeom>
        </p:spPr>
      </p:pic>
      <p:pic>
        <p:nvPicPr>
          <p:cNvPr id="37" name="Graphic 36">
            <a:extLst>
              <a:ext uri="{FF2B5EF4-FFF2-40B4-BE49-F238E27FC236}">
                <a16:creationId xmlns:a16="http://schemas.microsoft.com/office/drawing/2014/main" id="{C21D2BF8-C892-47CD-9B16-69949A8FD8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44580" y="1070598"/>
            <a:ext cx="761726" cy="839453"/>
          </a:xfrm>
          <a:prstGeom prst="rect">
            <a:avLst/>
          </a:prstGeom>
        </p:spPr>
      </p:pic>
      <p:pic>
        <p:nvPicPr>
          <p:cNvPr id="38" name="Graphic 37">
            <a:extLst>
              <a:ext uri="{FF2B5EF4-FFF2-40B4-BE49-F238E27FC236}">
                <a16:creationId xmlns:a16="http://schemas.microsoft.com/office/drawing/2014/main" id="{3428DBD7-C24E-555D-FD85-F9FF72B263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42848" y="3088186"/>
            <a:ext cx="761726" cy="808362"/>
          </a:xfrm>
          <a:prstGeom prst="rect">
            <a:avLst/>
          </a:prstGeom>
        </p:spPr>
      </p:pic>
      <p:pic>
        <p:nvPicPr>
          <p:cNvPr id="39" name="Graphic 38">
            <a:extLst>
              <a:ext uri="{FF2B5EF4-FFF2-40B4-BE49-F238E27FC236}">
                <a16:creationId xmlns:a16="http://schemas.microsoft.com/office/drawing/2014/main" id="{E35C909F-FF5A-4416-F251-0D555457F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40907" y="1086143"/>
            <a:ext cx="823908" cy="823908"/>
          </a:xfrm>
          <a:prstGeom prst="rect">
            <a:avLst/>
          </a:prstGeom>
        </p:spPr>
      </p:pic>
      <p:pic>
        <p:nvPicPr>
          <p:cNvPr id="40" name="Graphic 39">
            <a:extLst>
              <a:ext uri="{FF2B5EF4-FFF2-40B4-BE49-F238E27FC236}">
                <a16:creationId xmlns:a16="http://schemas.microsoft.com/office/drawing/2014/main" id="{D3515972-6252-0383-C03C-9867AF2ED36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4784" y="2443926"/>
            <a:ext cx="839453" cy="746181"/>
          </a:xfrm>
          <a:prstGeom prst="rect">
            <a:avLst/>
          </a:prstGeom>
        </p:spPr>
      </p:pic>
      <p:grpSp>
        <p:nvGrpSpPr>
          <p:cNvPr id="112" name="Group 111">
            <a:extLst>
              <a:ext uri="{FF2B5EF4-FFF2-40B4-BE49-F238E27FC236}">
                <a16:creationId xmlns:a16="http://schemas.microsoft.com/office/drawing/2014/main" id="{0373F7BB-310D-8F93-C931-413A5642B2A7}"/>
              </a:ext>
            </a:extLst>
          </p:cNvPr>
          <p:cNvGrpSpPr>
            <a:grpSpLocks noChangeAspect="1"/>
          </p:cNvGrpSpPr>
          <p:nvPr/>
        </p:nvGrpSpPr>
        <p:grpSpPr>
          <a:xfrm>
            <a:off x="11007672" y="4060180"/>
            <a:ext cx="380138" cy="365760"/>
            <a:chOff x="6742650" y="3092995"/>
            <a:chExt cx="448246" cy="431292"/>
          </a:xfrm>
        </p:grpSpPr>
        <p:sp>
          <p:nvSpPr>
            <p:cNvPr id="113" name="Freeform: Shape 112">
              <a:extLst>
                <a:ext uri="{FF2B5EF4-FFF2-40B4-BE49-F238E27FC236}">
                  <a16:creationId xmlns:a16="http://schemas.microsoft.com/office/drawing/2014/main" id="{1680DA91-9896-BF33-7F4E-B23DFE99F38D}"/>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14" name="Freeform: Shape 113">
              <a:extLst>
                <a:ext uri="{FF2B5EF4-FFF2-40B4-BE49-F238E27FC236}">
                  <a16:creationId xmlns:a16="http://schemas.microsoft.com/office/drawing/2014/main" id="{1491F5E6-9958-4171-C1F7-4AE1F2B352EC}"/>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15" name="Freeform: Shape 114">
              <a:extLst>
                <a:ext uri="{FF2B5EF4-FFF2-40B4-BE49-F238E27FC236}">
                  <a16:creationId xmlns:a16="http://schemas.microsoft.com/office/drawing/2014/main" id="{676285FE-0CEE-D3C3-75BA-6DD8D46E938E}"/>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16" name="Group 115">
            <a:extLst>
              <a:ext uri="{FF2B5EF4-FFF2-40B4-BE49-F238E27FC236}">
                <a16:creationId xmlns:a16="http://schemas.microsoft.com/office/drawing/2014/main" id="{63E47190-AD9E-1D55-5CC8-8A4056A0F201}"/>
              </a:ext>
            </a:extLst>
          </p:cNvPr>
          <p:cNvGrpSpPr>
            <a:grpSpLocks noChangeAspect="1"/>
          </p:cNvGrpSpPr>
          <p:nvPr/>
        </p:nvGrpSpPr>
        <p:grpSpPr>
          <a:xfrm>
            <a:off x="10781060" y="4624403"/>
            <a:ext cx="380138" cy="365760"/>
            <a:chOff x="6742650" y="3092995"/>
            <a:chExt cx="448246" cy="431292"/>
          </a:xfrm>
        </p:grpSpPr>
        <p:sp>
          <p:nvSpPr>
            <p:cNvPr id="117" name="Freeform: Shape 116">
              <a:extLst>
                <a:ext uri="{FF2B5EF4-FFF2-40B4-BE49-F238E27FC236}">
                  <a16:creationId xmlns:a16="http://schemas.microsoft.com/office/drawing/2014/main" id="{CB548979-44D3-FDEE-5FE5-AF26691A54AC}"/>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18" name="Freeform: Shape 117">
              <a:extLst>
                <a:ext uri="{FF2B5EF4-FFF2-40B4-BE49-F238E27FC236}">
                  <a16:creationId xmlns:a16="http://schemas.microsoft.com/office/drawing/2014/main" id="{D40C45CF-F1BF-DBCB-11B7-2E9E2DF06DE2}"/>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19" name="Freeform: Shape 118">
              <a:extLst>
                <a:ext uri="{FF2B5EF4-FFF2-40B4-BE49-F238E27FC236}">
                  <a16:creationId xmlns:a16="http://schemas.microsoft.com/office/drawing/2014/main" id="{CAD161A7-EA90-7EEF-44B0-1B6CF05A2A6F}"/>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20" name="Group 119">
            <a:extLst>
              <a:ext uri="{FF2B5EF4-FFF2-40B4-BE49-F238E27FC236}">
                <a16:creationId xmlns:a16="http://schemas.microsoft.com/office/drawing/2014/main" id="{1765D8EF-5B2A-6D38-7667-EB2D771E2034}"/>
              </a:ext>
            </a:extLst>
          </p:cNvPr>
          <p:cNvGrpSpPr>
            <a:grpSpLocks noChangeAspect="1"/>
          </p:cNvGrpSpPr>
          <p:nvPr/>
        </p:nvGrpSpPr>
        <p:grpSpPr>
          <a:xfrm>
            <a:off x="10115004" y="3908487"/>
            <a:ext cx="380138" cy="365760"/>
            <a:chOff x="6742650" y="3092995"/>
            <a:chExt cx="448246" cy="431292"/>
          </a:xfrm>
        </p:grpSpPr>
        <p:sp>
          <p:nvSpPr>
            <p:cNvPr id="121" name="Freeform: Shape 120">
              <a:extLst>
                <a:ext uri="{FF2B5EF4-FFF2-40B4-BE49-F238E27FC236}">
                  <a16:creationId xmlns:a16="http://schemas.microsoft.com/office/drawing/2014/main" id="{E8FB76FE-F124-7505-87DA-C626B5240BBE}"/>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22" name="Freeform: Shape 121">
              <a:extLst>
                <a:ext uri="{FF2B5EF4-FFF2-40B4-BE49-F238E27FC236}">
                  <a16:creationId xmlns:a16="http://schemas.microsoft.com/office/drawing/2014/main" id="{F0693737-7666-A0A0-1893-4D70055B4F86}"/>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23" name="Freeform: Shape 122">
              <a:extLst>
                <a:ext uri="{FF2B5EF4-FFF2-40B4-BE49-F238E27FC236}">
                  <a16:creationId xmlns:a16="http://schemas.microsoft.com/office/drawing/2014/main" id="{A750B7A7-6A1E-2B9D-7823-E80D992EB34C}"/>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24" name="Group 123">
            <a:extLst>
              <a:ext uri="{FF2B5EF4-FFF2-40B4-BE49-F238E27FC236}">
                <a16:creationId xmlns:a16="http://schemas.microsoft.com/office/drawing/2014/main" id="{DE073FAC-742C-9D02-9447-D5F6706FF0A0}"/>
              </a:ext>
            </a:extLst>
          </p:cNvPr>
          <p:cNvGrpSpPr>
            <a:grpSpLocks noChangeAspect="1"/>
          </p:cNvGrpSpPr>
          <p:nvPr/>
        </p:nvGrpSpPr>
        <p:grpSpPr>
          <a:xfrm>
            <a:off x="10305835" y="4330033"/>
            <a:ext cx="380138" cy="365760"/>
            <a:chOff x="6742650" y="3092995"/>
            <a:chExt cx="448246" cy="431292"/>
          </a:xfrm>
        </p:grpSpPr>
        <p:sp>
          <p:nvSpPr>
            <p:cNvPr id="125" name="Freeform: Shape 124">
              <a:extLst>
                <a:ext uri="{FF2B5EF4-FFF2-40B4-BE49-F238E27FC236}">
                  <a16:creationId xmlns:a16="http://schemas.microsoft.com/office/drawing/2014/main" id="{270685F5-5EB2-983F-5C08-102BD6425F23}"/>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26" name="Freeform: Shape 125">
              <a:extLst>
                <a:ext uri="{FF2B5EF4-FFF2-40B4-BE49-F238E27FC236}">
                  <a16:creationId xmlns:a16="http://schemas.microsoft.com/office/drawing/2014/main" id="{2E909AE4-10B6-E548-0B0F-D1E17CD55B97}"/>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27" name="Freeform: Shape 126">
              <a:extLst>
                <a:ext uri="{FF2B5EF4-FFF2-40B4-BE49-F238E27FC236}">
                  <a16:creationId xmlns:a16="http://schemas.microsoft.com/office/drawing/2014/main" id="{7878015E-400F-5584-776C-830974CCDB6B}"/>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28" name="Group 127">
            <a:extLst>
              <a:ext uri="{FF2B5EF4-FFF2-40B4-BE49-F238E27FC236}">
                <a16:creationId xmlns:a16="http://schemas.microsoft.com/office/drawing/2014/main" id="{7F360C49-3FA6-128F-9D2D-E8253E02CCD9}"/>
              </a:ext>
            </a:extLst>
          </p:cNvPr>
          <p:cNvGrpSpPr>
            <a:grpSpLocks noChangeAspect="1"/>
          </p:cNvGrpSpPr>
          <p:nvPr/>
        </p:nvGrpSpPr>
        <p:grpSpPr>
          <a:xfrm>
            <a:off x="9671640" y="4048011"/>
            <a:ext cx="380138" cy="365760"/>
            <a:chOff x="6742650" y="3092995"/>
            <a:chExt cx="448246" cy="431292"/>
          </a:xfrm>
        </p:grpSpPr>
        <p:sp>
          <p:nvSpPr>
            <p:cNvPr id="129" name="Freeform: Shape 128">
              <a:extLst>
                <a:ext uri="{FF2B5EF4-FFF2-40B4-BE49-F238E27FC236}">
                  <a16:creationId xmlns:a16="http://schemas.microsoft.com/office/drawing/2014/main" id="{7CDCFBA7-9096-EA65-53C4-5C73FF5E13DC}"/>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30" name="Freeform: Shape 129">
              <a:extLst>
                <a:ext uri="{FF2B5EF4-FFF2-40B4-BE49-F238E27FC236}">
                  <a16:creationId xmlns:a16="http://schemas.microsoft.com/office/drawing/2014/main" id="{825498DE-3B44-5A23-F867-64D86302F3BC}"/>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31" name="Freeform: Shape 130">
              <a:extLst>
                <a:ext uri="{FF2B5EF4-FFF2-40B4-BE49-F238E27FC236}">
                  <a16:creationId xmlns:a16="http://schemas.microsoft.com/office/drawing/2014/main" id="{FBD173A7-1CCF-7D1D-D507-B459CD2A55A4}"/>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32" name="Group 131">
            <a:extLst>
              <a:ext uri="{FF2B5EF4-FFF2-40B4-BE49-F238E27FC236}">
                <a16:creationId xmlns:a16="http://schemas.microsoft.com/office/drawing/2014/main" id="{6FE1D737-F482-2CBA-965E-42D7A2670F77}"/>
              </a:ext>
            </a:extLst>
          </p:cNvPr>
          <p:cNvGrpSpPr>
            <a:grpSpLocks noChangeAspect="1"/>
          </p:cNvGrpSpPr>
          <p:nvPr/>
        </p:nvGrpSpPr>
        <p:grpSpPr>
          <a:xfrm>
            <a:off x="9388595" y="3553606"/>
            <a:ext cx="380138" cy="365760"/>
            <a:chOff x="6742650" y="3092995"/>
            <a:chExt cx="448246" cy="431292"/>
          </a:xfrm>
        </p:grpSpPr>
        <p:sp>
          <p:nvSpPr>
            <p:cNvPr id="133" name="Freeform: Shape 132">
              <a:extLst>
                <a:ext uri="{FF2B5EF4-FFF2-40B4-BE49-F238E27FC236}">
                  <a16:creationId xmlns:a16="http://schemas.microsoft.com/office/drawing/2014/main" id="{49071B63-FAD7-6745-7EF8-D479532AE4A9}"/>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34" name="Freeform: Shape 133">
              <a:extLst>
                <a:ext uri="{FF2B5EF4-FFF2-40B4-BE49-F238E27FC236}">
                  <a16:creationId xmlns:a16="http://schemas.microsoft.com/office/drawing/2014/main" id="{DFF00E2B-C695-51E1-76D3-29094EB2AAED}"/>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35" name="Freeform: Shape 134">
              <a:extLst>
                <a:ext uri="{FF2B5EF4-FFF2-40B4-BE49-F238E27FC236}">
                  <a16:creationId xmlns:a16="http://schemas.microsoft.com/office/drawing/2014/main" id="{ECB66BF1-D68D-F7F0-5E6F-39DE0388BDB1}"/>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36" name="Group 135">
            <a:extLst>
              <a:ext uri="{FF2B5EF4-FFF2-40B4-BE49-F238E27FC236}">
                <a16:creationId xmlns:a16="http://schemas.microsoft.com/office/drawing/2014/main" id="{0376EE18-5272-707B-E09E-DA25E24D738A}"/>
              </a:ext>
            </a:extLst>
          </p:cNvPr>
          <p:cNvGrpSpPr>
            <a:grpSpLocks noChangeAspect="1"/>
          </p:cNvGrpSpPr>
          <p:nvPr/>
        </p:nvGrpSpPr>
        <p:grpSpPr>
          <a:xfrm>
            <a:off x="9394579" y="4491160"/>
            <a:ext cx="380138" cy="365760"/>
            <a:chOff x="6742650" y="3092995"/>
            <a:chExt cx="448246" cy="431292"/>
          </a:xfrm>
        </p:grpSpPr>
        <p:sp>
          <p:nvSpPr>
            <p:cNvPr id="137" name="Freeform: Shape 136">
              <a:extLst>
                <a:ext uri="{FF2B5EF4-FFF2-40B4-BE49-F238E27FC236}">
                  <a16:creationId xmlns:a16="http://schemas.microsoft.com/office/drawing/2014/main" id="{244DFB07-9404-A16F-8F98-8DB8B324D05C}"/>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19050" cap="flat">
              <a:solidFill>
                <a:schemeClr val="accent3"/>
              </a:solidFill>
              <a:prstDash val="solid"/>
              <a:round/>
            </a:ln>
          </p:spPr>
          <p:txBody>
            <a:bodyPr rtlCol="0" anchor="ctr"/>
            <a:lstStyle/>
            <a:p>
              <a:endParaRPr lang="en-US"/>
            </a:p>
          </p:txBody>
        </p:sp>
        <p:sp>
          <p:nvSpPr>
            <p:cNvPr id="138" name="Freeform: Shape 137">
              <a:extLst>
                <a:ext uri="{FF2B5EF4-FFF2-40B4-BE49-F238E27FC236}">
                  <a16:creationId xmlns:a16="http://schemas.microsoft.com/office/drawing/2014/main" id="{2EB8C6E5-F462-E553-8469-9D393F838BBA}"/>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39" name="Freeform: Shape 138">
              <a:extLst>
                <a:ext uri="{FF2B5EF4-FFF2-40B4-BE49-F238E27FC236}">
                  <a16:creationId xmlns:a16="http://schemas.microsoft.com/office/drawing/2014/main" id="{C0986DC3-C3B0-3EBC-E1C4-6D316AFDC289}"/>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grpSp>
        <p:nvGrpSpPr>
          <p:cNvPr id="10" name="Group 9">
            <a:extLst>
              <a:ext uri="{FF2B5EF4-FFF2-40B4-BE49-F238E27FC236}">
                <a16:creationId xmlns:a16="http://schemas.microsoft.com/office/drawing/2014/main" id="{9D876B82-977C-1719-6AEF-5EC459756FD6}"/>
              </a:ext>
            </a:extLst>
          </p:cNvPr>
          <p:cNvGrpSpPr>
            <a:grpSpLocks noChangeAspect="1"/>
          </p:cNvGrpSpPr>
          <p:nvPr/>
        </p:nvGrpSpPr>
        <p:grpSpPr>
          <a:xfrm>
            <a:off x="9660926" y="4753048"/>
            <a:ext cx="1235449" cy="1188720"/>
            <a:chOff x="6742650" y="3092995"/>
            <a:chExt cx="448246" cy="431292"/>
          </a:xfrm>
        </p:grpSpPr>
        <p:sp>
          <p:nvSpPr>
            <p:cNvPr id="11" name="Freeform: Shape 10">
              <a:extLst>
                <a:ext uri="{FF2B5EF4-FFF2-40B4-BE49-F238E27FC236}">
                  <a16:creationId xmlns:a16="http://schemas.microsoft.com/office/drawing/2014/main" id="{08DD6E74-609D-89B9-2003-3A4703CD7A75}"/>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31750" cap="flat">
              <a:solidFill>
                <a:schemeClr val="accent3"/>
              </a:solidFill>
              <a:prstDash val="solid"/>
              <a:round/>
            </a:ln>
          </p:spPr>
          <p:txBody>
            <a:bodyPr rtlCol="0" anchor="ctr"/>
            <a:lstStyle/>
            <a:p>
              <a:endParaRPr lang="en-US"/>
            </a:p>
          </p:txBody>
        </p:sp>
        <p:sp>
          <p:nvSpPr>
            <p:cNvPr id="12" name="Freeform: Shape 11">
              <a:extLst>
                <a:ext uri="{FF2B5EF4-FFF2-40B4-BE49-F238E27FC236}">
                  <a16:creationId xmlns:a16="http://schemas.microsoft.com/office/drawing/2014/main" id="{249DE529-AF5B-1BEA-B434-C06052580383}"/>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sp>
          <p:nvSpPr>
            <p:cNvPr id="13" name="Freeform: Shape 12">
              <a:extLst>
                <a:ext uri="{FF2B5EF4-FFF2-40B4-BE49-F238E27FC236}">
                  <a16:creationId xmlns:a16="http://schemas.microsoft.com/office/drawing/2014/main" id="{F56A564F-908E-B0E1-26DE-236E54051A8D}"/>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chemeClr val="bg1"/>
            </a:solidFill>
            <a:ln w="19050" cap="flat">
              <a:noFill/>
              <a:prstDash val="solid"/>
              <a:round/>
            </a:ln>
          </p:spPr>
          <p:txBody>
            <a:bodyPr rtlCol="0" anchor="ctr"/>
            <a:lstStyle/>
            <a:p>
              <a:endParaRPr lang="en-US"/>
            </a:p>
          </p:txBody>
        </p:sp>
      </p:grpSp>
      <p:sp>
        <p:nvSpPr>
          <p:cNvPr id="140" name="blink">
            <a:extLst>
              <a:ext uri="{FF2B5EF4-FFF2-40B4-BE49-F238E27FC236}">
                <a16:creationId xmlns:a16="http://schemas.microsoft.com/office/drawing/2014/main" id="{0EC8264B-993C-681C-742D-AA43A5A05747}"/>
              </a:ext>
            </a:extLst>
          </p:cNvPr>
          <p:cNvSpPr/>
          <p:nvPr/>
        </p:nvSpPr>
        <p:spPr>
          <a:xfrm>
            <a:off x="9899862" y="5084012"/>
            <a:ext cx="757576" cy="34433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endParaRPr lang="en-US"/>
          </a:p>
        </p:txBody>
      </p:sp>
      <p:grpSp>
        <p:nvGrpSpPr>
          <p:cNvPr id="30" name="Group 29">
            <a:extLst>
              <a:ext uri="{FF2B5EF4-FFF2-40B4-BE49-F238E27FC236}">
                <a16:creationId xmlns:a16="http://schemas.microsoft.com/office/drawing/2014/main" id="{1019EC1A-01FB-E142-B413-511EF212B25A}"/>
              </a:ext>
            </a:extLst>
          </p:cNvPr>
          <p:cNvGrpSpPr/>
          <p:nvPr/>
        </p:nvGrpSpPr>
        <p:grpSpPr>
          <a:xfrm>
            <a:off x="5259544" y="2441133"/>
            <a:ext cx="387410" cy="341832"/>
            <a:chOff x="7319750" y="4432580"/>
            <a:chExt cx="323850" cy="285750"/>
          </a:xfrm>
        </p:grpSpPr>
        <p:sp>
          <p:nvSpPr>
            <p:cNvPr id="29" name="Isosceles Triangle 28">
              <a:extLst>
                <a:ext uri="{FF2B5EF4-FFF2-40B4-BE49-F238E27FC236}">
                  <a16:creationId xmlns:a16="http://schemas.microsoft.com/office/drawing/2014/main" id="{BA4F06FC-14A7-60AF-291A-215181A0B0C7}"/>
                </a:ext>
              </a:extLst>
            </p:cNvPr>
            <p:cNvSpPr/>
            <p:nvPr/>
          </p:nvSpPr>
          <p:spPr>
            <a:xfrm>
              <a:off x="7352209" y="4462787"/>
              <a:ext cx="258935" cy="223219"/>
            </a:xfrm>
            <a:prstGeom prst="triangle">
              <a:avLst/>
            </a:prstGeom>
            <a:solidFill>
              <a:schemeClr val="accent4"/>
            </a:solidFill>
            <a:ln w="53975" cap="rnd">
              <a:solidFill>
                <a:schemeClr val="accent4"/>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a:extLst>
                <a:ext uri="{FF2B5EF4-FFF2-40B4-BE49-F238E27FC236}">
                  <a16:creationId xmlns:a16="http://schemas.microsoft.com/office/drawing/2014/main" id="{1AACB8D0-8E2E-33D7-9B0C-6C28E1D9F5B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19750" y="4432580"/>
              <a:ext cx="323850" cy="285750"/>
            </a:xfrm>
            <a:prstGeom prst="rect">
              <a:avLst/>
            </a:prstGeom>
          </p:spPr>
        </p:pic>
      </p:grpSp>
      <p:pic>
        <p:nvPicPr>
          <p:cNvPr id="3" name="Graphic 2">
            <a:extLst>
              <a:ext uri="{FF2B5EF4-FFF2-40B4-BE49-F238E27FC236}">
                <a16:creationId xmlns:a16="http://schemas.microsoft.com/office/drawing/2014/main" id="{24DFB9CC-E66C-1464-22F6-151AA6FC31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67703" y="1801370"/>
            <a:ext cx="548640" cy="548640"/>
          </a:xfrm>
          <a:prstGeom prst="rect">
            <a:avLst/>
          </a:prstGeom>
        </p:spPr>
      </p:pic>
      <p:pic>
        <p:nvPicPr>
          <p:cNvPr id="5" name="Graphic 4">
            <a:extLst>
              <a:ext uri="{FF2B5EF4-FFF2-40B4-BE49-F238E27FC236}">
                <a16:creationId xmlns:a16="http://schemas.microsoft.com/office/drawing/2014/main" id="{A2325C93-6FC5-1297-419E-6BB422E1DD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92559" y="3187846"/>
            <a:ext cx="548640" cy="548640"/>
          </a:xfrm>
          <a:prstGeom prst="rect">
            <a:avLst/>
          </a:prstGeom>
        </p:spPr>
      </p:pic>
      <p:pic>
        <p:nvPicPr>
          <p:cNvPr id="7" name="Graphic 6">
            <a:extLst>
              <a:ext uri="{FF2B5EF4-FFF2-40B4-BE49-F238E27FC236}">
                <a16:creationId xmlns:a16="http://schemas.microsoft.com/office/drawing/2014/main" id="{F8DE6213-2A12-DA18-54BD-E8BCBEBFD7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61422" y="4800584"/>
            <a:ext cx="548640" cy="548640"/>
          </a:xfrm>
          <a:prstGeom prst="rect">
            <a:avLst/>
          </a:prstGeom>
        </p:spPr>
      </p:pic>
    </p:spTree>
    <p:extLst>
      <p:ext uri="{BB962C8B-B14F-4D97-AF65-F5344CB8AC3E}">
        <p14:creationId xmlns:p14="http://schemas.microsoft.com/office/powerpoint/2010/main" val="238976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3000" accel="15000" decel="15000" autoRev="1" fill="remove" nodeType="withEffect">
                                  <p:stCondLst>
                                    <p:cond delay="0"/>
                                  </p:stCondLst>
                                  <p:childTnLst>
                                    <p:animMotion origin="layout" path="M 1.04167E-6 3.7037E-7 L 1.04167E-6 -0.02245 " pathEditMode="relative" rAng="0" ptsTypes="AA">
                                      <p:cBhvr>
                                        <p:cTn id="6" dur="1500" fill="hold"/>
                                        <p:tgtEl>
                                          <p:spTgt spid="10"/>
                                        </p:tgtEl>
                                        <p:attrNameLst>
                                          <p:attrName>ppt_x</p:attrName>
                                          <p:attrName>ppt_y</p:attrName>
                                        </p:attrNameLst>
                                      </p:cBhvr>
                                      <p:rCtr x="0" y="-1134"/>
                                    </p:animMotion>
                                  </p:childTnLst>
                                </p:cTn>
                              </p:par>
                              <p:par>
                                <p:cTn id="7" presetID="16" presetClass="entr" presetSubtype="26" fill="remove" grpId="0" nodeType="withEffect">
                                  <p:stCondLst>
                                    <p:cond delay="2750"/>
                                  </p:stCondLst>
                                  <p:childTnLst>
                                    <p:set>
                                      <p:cBhvr>
                                        <p:cTn id="8" dur="1" fill="hold">
                                          <p:stCondLst>
                                            <p:cond delay="0"/>
                                          </p:stCondLst>
                                        </p:cTn>
                                        <p:tgtEl>
                                          <p:spTgt spid="140"/>
                                        </p:tgtEl>
                                        <p:attrNameLst>
                                          <p:attrName>style.visibility</p:attrName>
                                        </p:attrNameLst>
                                      </p:cBhvr>
                                      <p:to>
                                        <p:strVal val="visible"/>
                                      </p:to>
                                    </p:set>
                                    <p:animEffect transition="in" filter="barn(inHorizontal)">
                                      <p:cBhvr>
                                        <p:cTn id="9" dur="250"/>
                                        <p:tgtEl>
                                          <p:spTgt spid="140"/>
                                        </p:tgtEl>
                                      </p:cBhvr>
                                    </p:animEffect>
                                  </p:childTnLst>
                                </p:cTn>
                              </p:par>
                              <p:par>
                                <p:cTn id="10" presetID="16" presetClass="exit" presetSubtype="42" fill="hold" grpId="1" nodeType="withEffect">
                                  <p:stCondLst>
                                    <p:cond delay="3000"/>
                                  </p:stCondLst>
                                  <p:childTnLst>
                                    <p:animEffect transition="out" filter="barn(outHorizontal)">
                                      <p:cBhvr>
                                        <p:cTn id="11" dur="250"/>
                                        <p:tgtEl>
                                          <p:spTgt spid="140"/>
                                        </p:tgtEl>
                                      </p:cBhvr>
                                    </p:animEffect>
                                    <p:set>
                                      <p:cBhvr>
                                        <p:cTn id="12" dur="1" fill="hold">
                                          <p:stCondLst>
                                            <p:cond delay="249"/>
                                          </p:stCondLst>
                                        </p:cTn>
                                        <p:tgtEl>
                                          <p:spTgt spid="140"/>
                                        </p:tgtEl>
                                        <p:attrNameLst>
                                          <p:attrName>style.visibility</p:attrName>
                                        </p:attrNameLst>
                                      </p:cBhvr>
                                      <p:to>
                                        <p:strVal val="hidden"/>
                                      </p:to>
                                    </p:set>
                                  </p:childTnLst>
                                </p:cTn>
                              </p:par>
                              <p:par>
                                <p:cTn id="13" presetID="16" presetClass="entr" presetSubtype="26" fill="hold" grpId="2" nodeType="withEffect">
                                  <p:stCondLst>
                                    <p:cond delay="8750"/>
                                  </p:stCondLst>
                                  <p:childTnLst>
                                    <p:set>
                                      <p:cBhvr>
                                        <p:cTn id="14" dur="1" fill="hold">
                                          <p:stCondLst>
                                            <p:cond delay="0"/>
                                          </p:stCondLst>
                                        </p:cTn>
                                        <p:tgtEl>
                                          <p:spTgt spid="140"/>
                                        </p:tgtEl>
                                        <p:attrNameLst>
                                          <p:attrName>style.visibility</p:attrName>
                                        </p:attrNameLst>
                                      </p:cBhvr>
                                      <p:to>
                                        <p:strVal val="visible"/>
                                      </p:to>
                                    </p:set>
                                    <p:animEffect transition="in" filter="barn(inHorizontal)">
                                      <p:cBhvr>
                                        <p:cTn id="15" dur="250"/>
                                        <p:tgtEl>
                                          <p:spTgt spid="140"/>
                                        </p:tgtEl>
                                      </p:cBhvr>
                                    </p:animEffect>
                                  </p:childTnLst>
                                </p:cTn>
                              </p:par>
                              <p:par>
                                <p:cTn id="16" presetID="16" presetClass="exit" presetSubtype="42" fill="hold" grpId="3" nodeType="withEffect">
                                  <p:stCondLst>
                                    <p:cond delay="9000"/>
                                  </p:stCondLst>
                                  <p:childTnLst>
                                    <p:animEffect transition="out" filter="barn(outHorizontal)">
                                      <p:cBhvr>
                                        <p:cTn id="17" dur="250"/>
                                        <p:tgtEl>
                                          <p:spTgt spid="140"/>
                                        </p:tgtEl>
                                      </p:cBhvr>
                                    </p:animEffect>
                                    <p:set>
                                      <p:cBhvr>
                                        <p:cTn id="18" dur="1" fill="hold">
                                          <p:stCondLst>
                                            <p:cond delay="249"/>
                                          </p:stCondLst>
                                        </p:cTn>
                                        <p:tgtEl>
                                          <p:spTgt spid="140"/>
                                        </p:tgtEl>
                                        <p:attrNameLst>
                                          <p:attrName>style.visibility</p:attrName>
                                        </p:attrNameLst>
                                      </p:cBhvr>
                                      <p:to>
                                        <p:strVal val="hidden"/>
                                      </p:to>
                                    </p:set>
                                  </p:childTnLst>
                                </p:cTn>
                              </p:par>
                              <p:par>
                                <p:cTn id="19" presetID="6" presetClass="emph" presetSubtype="0" repeatCount="6000" autoRev="1" fill="hold" nodeType="withEffect">
                                  <p:stCondLst>
                                    <p:cond delay="0"/>
                                  </p:stCondLst>
                                  <p:childTnLst>
                                    <p:animScale>
                                      <p:cBhvr>
                                        <p:cTn id="20" dur="750" fill="hold"/>
                                        <p:tgtEl>
                                          <p:spTgt spid="42"/>
                                        </p:tgtEl>
                                      </p:cBhvr>
                                      <p:by x="110000" y="110000"/>
                                    </p:animScale>
                                  </p:childTnLst>
                                </p:cTn>
                              </p:par>
                              <p:par>
                                <p:cTn id="21" presetID="6" presetClass="emph" presetSubtype="0" repeatCount="6000" autoRev="1" fill="hold" nodeType="withEffect">
                                  <p:stCondLst>
                                    <p:cond delay="0"/>
                                  </p:stCondLst>
                                  <p:childTnLst>
                                    <p:animScale>
                                      <p:cBhvr>
                                        <p:cTn id="22" dur="750" fill="hold"/>
                                        <p:tgtEl>
                                          <p:spTgt spid="47"/>
                                        </p:tgtEl>
                                      </p:cBhvr>
                                      <p:by x="110000" y="110000"/>
                                    </p:animScale>
                                  </p:childTnLst>
                                </p:cTn>
                              </p:par>
                              <p:par>
                                <p:cTn id="23" presetID="6" presetClass="emph" presetSubtype="0" repeatCount="6000" autoRev="1" fill="hold" nodeType="withEffect">
                                  <p:stCondLst>
                                    <p:cond delay="0"/>
                                  </p:stCondLst>
                                  <p:childTnLst>
                                    <p:animScale>
                                      <p:cBhvr>
                                        <p:cTn id="24" dur="750" fill="hold"/>
                                        <p:tgtEl>
                                          <p:spTgt spid="52"/>
                                        </p:tgtEl>
                                      </p:cBhvr>
                                      <p:by x="110000" y="110000"/>
                                    </p:animScale>
                                  </p:childTnLst>
                                </p:cTn>
                              </p:par>
                              <p:par>
                                <p:cTn id="25" presetID="6" presetClass="emph" presetSubtype="0" repeatCount="6000" autoRev="1" fill="hold" nodeType="withEffect">
                                  <p:stCondLst>
                                    <p:cond delay="0"/>
                                  </p:stCondLst>
                                  <p:childTnLst>
                                    <p:animScale>
                                      <p:cBhvr>
                                        <p:cTn id="26" dur="750" fill="hold"/>
                                        <p:tgtEl>
                                          <p:spTgt spid="57"/>
                                        </p:tgtEl>
                                      </p:cBhvr>
                                      <p:by x="110000" y="110000"/>
                                    </p:animScale>
                                  </p:childTnLst>
                                </p:cTn>
                              </p:par>
                              <p:par>
                                <p:cTn id="27" presetID="6" presetClass="emph" presetSubtype="0" repeatCount="6000" autoRev="1" fill="hold" nodeType="withEffect">
                                  <p:stCondLst>
                                    <p:cond delay="0"/>
                                  </p:stCondLst>
                                  <p:childTnLst>
                                    <p:animScale>
                                      <p:cBhvr>
                                        <p:cTn id="28" dur="750" fill="hold"/>
                                        <p:tgtEl>
                                          <p:spTgt spid="62"/>
                                        </p:tgtEl>
                                      </p:cBhvr>
                                      <p:by x="110000" y="110000"/>
                                    </p:animScale>
                                  </p:childTnLst>
                                </p:cTn>
                              </p:par>
                              <p:par>
                                <p:cTn id="29" presetID="6" presetClass="emph" presetSubtype="0" repeatCount="6000" autoRev="1" fill="hold" nodeType="withEffect">
                                  <p:stCondLst>
                                    <p:cond delay="0"/>
                                  </p:stCondLst>
                                  <p:childTnLst>
                                    <p:animScale>
                                      <p:cBhvr>
                                        <p:cTn id="30" dur="750" fill="hold"/>
                                        <p:tgtEl>
                                          <p:spTgt spid="67"/>
                                        </p:tgtEl>
                                      </p:cBhvr>
                                      <p:by x="110000" y="110000"/>
                                    </p:animScale>
                                  </p:childTnLst>
                                </p:cTn>
                              </p:par>
                              <p:par>
                                <p:cTn id="31" presetID="6" presetClass="emph" presetSubtype="0" repeatCount="6000" autoRev="1" fill="hold" nodeType="withEffect">
                                  <p:stCondLst>
                                    <p:cond delay="0"/>
                                  </p:stCondLst>
                                  <p:childTnLst>
                                    <p:animScale>
                                      <p:cBhvr>
                                        <p:cTn id="32" dur="750" fill="hold"/>
                                        <p:tgtEl>
                                          <p:spTgt spid="72"/>
                                        </p:tgtEl>
                                      </p:cBhvr>
                                      <p:by x="110000" y="110000"/>
                                    </p:animScale>
                                  </p:childTnLst>
                                </p:cTn>
                              </p:par>
                              <p:par>
                                <p:cTn id="33" presetID="26" presetClass="emph" presetSubtype="0" repeatCount="6000" fill="hold" nodeType="withEffect">
                                  <p:stCondLst>
                                    <p:cond delay="0"/>
                                  </p:stCondLst>
                                  <p:childTnLst>
                                    <p:animEffect transition="out" filter="fade">
                                      <p:cBhvr>
                                        <p:cTn id="34" dur="1500" tmFilter="0, 0; .2, .5; .8, .5; 1, 0"/>
                                        <p:tgtEl>
                                          <p:spTgt spid="42"/>
                                        </p:tgtEl>
                                      </p:cBhvr>
                                    </p:animEffect>
                                    <p:animScale>
                                      <p:cBhvr>
                                        <p:cTn id="35" dur="750" autoRev="1" fill="hold"/>
                                        <p:tgtEl>
                                          <p:spTgt spid="42"/>
                                        </p:tgtEl>
                                      </p:cBhvr>
                                      <p:by x="105000" y="105000"/>
                                    </p:animScale>
                                  </p:childTnLst>
                                </p:cTn>
                              </p:par>
                              <p:par>
                                <p:cTn id="36" presetID="26" presetClass="emph" presetSubtype="0" repeatCount="6000" fill="hold" nodeType="withEffect">
                                  <p:stCondLst>
                                    <p:cond delay="0"/>
                                  </p:stCondLst>
                                  <p:childTnLst>
                                    <p:animEffect transition="out" filter="fade">
                                      <p:cBhvr>
                                        <p:cTn id="37" dur="1500" tmFilter="0, 0; .2, .5; .8, .5; 1, 0"/>
                                        <p:tgtEl>
                                          <p:spTgt spid="47"/>
                                        </p:tgtEl>
                                      </p:cBhvr>
                                    </p:animEffect>
                                    <p:animScale>
                                      <p:cBhvr>
                                        <p:cTn id="38" dur="750" autoRev="1" fill="hold"/>
                                        <p:tgtEl>
                                          <p:spTgt spid="47"/>
                                        </p:tgtEl>
                                      </p:cBhvr>
                                      <p:by x="105000" y="105000"/>
                                    </p:animScale>
                                  </p:childTnLst>
                                </p:cTn>
                              </p:par>
                              <p:par>
                                <p:cTn id="39" presetID="26" presetClass="emph" presetSubtype="0" repeatCount="6000" fill="hold" nodeType="withEffect">
                                  <p:stCondLst>
                                    <p:cond delay="0"/>
                                  </p:stCondLst>
                                  <p:childTnLst>
                                    <p:animEffect transition="out" filter="fade">
                                      <p:cBhvr>
                                        <p:cTn id="40" dur="1500" tmFilter="0, 0; .2, .5; .8, .5; 1, 0"/>
                                        <p:tgtEl>
                                          <p:spTgt spid="52"/>
                                        </p:tgtEl>
                                      </p:cBhvr>
                                    </p:animEffect>
                                    <p:animScale>
                                      <p:cBhvr>
                                        <p:cTn id="41" dur="750" autoRev="1" fill="hold"/>
                                        <p:tgtEl>
                                          <p:spTgt spid="52"/>
                                        </p:tgtEl>
                                      </p:cBhvr>
                                      <p:by x="105000" y="105000"/>
                                    </p:animScale>
                                  </p:childTnLst>
                                </p:cTn>
                              </p:par>
                              <p:par>
                                <p:cTn id="42" presetID="26" presetClass="emph" presetSubtype="0" repeatCount="6000" fill="hold" nodeType="withEffect">
                                  <p:stCondLst>
                                    <p:cond delay="0"/>
                                  </p:stCondLst>
                                  <p:childTnLst>
                                    <p:animEffect transition="out" filter="fade">
                                      <p:cBhvr>
                                        <p:cTn id="43" dur="1500" tmFilter="0, 0; .2, .5; .8, .5; 1, 0"/>
                                        <p:tgtEl>
                                          <p:spTgt spid="57"/>
                                        </p:tgtEl>
                                      </p:cBhvr>
                                    </p:animEffect>
                                    <p:animScale>
                                      <p:cBhvr>
                                        <p:cTn id="44" dur="750" autoRev="1" fill="hold"/>
                                        <p:tgtEl>
                                          <p:spTgt spid="57"/>
                                        </p:tgtEl>
                                      </p:cBhvr>
                                      <p:by x="105000" y="105000"/>
                                    </p:animScale>
                                  </p:childTnLst>
                                </p:cTn>
                              </p:par>
                              <p:par>
                                <p:cTn id="45" presetID="26" presetClass="emph" presetSubtype="0" repeatCount="6000" fill="hold" nodeType="withEffect">
                                  <p:stCondLst>
                                    <p:cond delay="0"/>
                                  </p:stCondLst>
                                  <p:childTnLst>
                                    <p:animEffect transition="out" filter="fade">
                                      <p:cBhvr>
                                        <p:cTn id="46" dur="1500" tmFilter="0, 0; .2, .5; .8, .5; 1, 0"/>
                                        <p:tgtEl>
                                          <p:spTgt spid="62"/>
                                        </p:tgtEl>
                                      </p:cBhvr>
                                    </p:animEffect>
                                    <p:animScale>
                                      <p:cBhvr>
                                        <p:cTn id="47" dur="750" autoRev="1" fill="hold"/>
                                        <p:tgtEl>
                                          <p:spTgt spid="62"/>
                                        </p:tgtEl>
                                      </p:cBhvr>
                                      <p:by x="105000" y="105000"/>
                                    </p:animScale>
                                  </p:childTnLst>
                                </p:cTn>
                              </p:par>
                              <p:par>
                                <p:cTn id="48" presetID="26" presetClass="emph" presetSubtype="0" repeatCount="6000" fill="hold" nodeType="withEffect">
                                  <p:stCondLst>
                                    <p:cond delay="0"/>
                                  </p:stCondLst>
                                  <p:childTnLst>
                                    <p:animEffect transition="out" filter="fade">
                                      <p:cBhvr>
                                        <p:cTn id="49" dur="1500" tmFilter="0, 0; .2, .5; .8, .5; 1, 0"/>
                                        <p:tgtEl>
                                          <p:spTgt spid="67"/>
                                        </p:tgtEl>
                                      </p:cBhvr>
                                    </p:animEffect>
                                    <p:animScale>
                                      <p:cBhvr>
                                        <p:cTn id="50" dur="750" autoRev="1" fill="hold"/>
                                        <p:tgtEl>
                                          <p:spTgt spid="67"/>
                                        </p:tgtEl>
                                      </p:cBhvr>
                                      <p:by x="105000" y="105000"/>
                                    </p:animScale>
                                  </p:childTnLst>
                                </p:cTn>
                              </p:par>
                              <p:par>
                                <p:cTn id="51" presetID="26" presetClass="emph" presetSubtype="0" repeatCount="6000" fill="hold" nodeType="withEffect">
                                  <p:stCondLst>
                                    <p:cond delay="0"/>
                                  </p:stCondLst>
                                  <p:childTnLst>
                                    <p:animEffect transition="out" filter="fade">
                                      <p:cBhvr>
                                        <p:cTn id="52" dur="1500" tmFilter="0, 0; .2, .5; .8, .5; 1, 0"/>
                                        <p:tgtEl>
                                          <p:spTgt spid="72"/>
                                        </p:tgtEl>
                                      </p:cBhvr>
                                    </p:animEffect>
                                    <p:animScale>
                                      <p:cBhvr>
                                        <p:cTn id="53" dur="750" autoRev="1" fill="hold"/>
                                        <p:tgtEl>
                                          <p:spTgt spid="72"/>
                                        </p:tgtEl>
                                      </p:cBhvr>
                                      <p:by x="105000" y="105000"/>
                                    </p:animScale>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500"/>
                                        <p:tgtEl>
                                          <p:spTgt spid="62"/>
                                        </p:tgtEl>
                                      </p:cBhvr>
                                    </p:animEffect>
                                    <p:set>
                                      <p:cBhvr>
                                        <p:cTn id="58" dur="1" fill="hold">
                                          <p:stCondLst>
                                            <p:cond delay="499"/>
                                          </p:stCondLst>
                                        </p:cTn>
                                        <p:tgtEl>
                                          <p:spTgt spid="62"/>
                                        </p:tgtEl>
                                        <p:attrNameLst>
                                          <p:attrName>style.visibility</p:attrName>
                                        </p:attrNameLst>
                                      </p:cBhvr>
                                      <p:to>
                                        <p:strVal val="hidden"/>
                                      </p:to>
                                    </p:set>
                                  </p:childTnLst>
                                </p:cTn>
                              </p:par>
                              <p:par>
                                <p:cTn id="59" presetID="10" presetClass="entr" presetSubtype="0" fill="hold" nodeType="withEffect">
                                  <p:stCondLst>
                                    <p:cond delay="0"/>
                                  </p:stCondLst>
                                  <p:childTnLst>
                                    <p:set>
                                      <p:cBhvr>
                                        <p:cTn id="60" dur="1" fill="hold">
                                          <p:stCondLst>
                                            <p:cond delay="0"/>
                                          </p:stCondLst>
                                        </p:cTn>
                                        <p:tgtEl>
                                          <p:spTgt spid="77"/>
                                        </p:tgtEl>
                                        <p:attrNameLst>
                                          <p:attrName>style.visibility</p:attrName>
                                        </p:attrNameLst>
                                      </p:cBhvr>
                                      <p:to>
                                        <p:strVal val="visible"/>
                                      </p:to>
                                    </p:set>
                                    <p:animEffect transition="in" filter="fade">
                                      <p:cBhvr>
                                        <p:cTn id="61" dur="500"/>
                                        <p:tgtEl>
                                          <p:spTgt spid="77"/>
                                        </p:tgtEl>
                                      </p:cBhvr>
                                    </p:animEffect>
                                  </p:childTnLst>
                                </p:cTn>
                              </p:par>
                              <p:par>
                                <p:cTn id="62" presetID="6" presetClass="emph" presetSubtype="0" repeatCount="4000" autoRev="1" fill="hold" nodeType="withEffect">
                                  <p:stCondLst>
                                    <p:cond delay="0"/>
                                  </p:stCondLst>
                                  <p:childTnLst>
                                    <p:animScale>
                                      <p:cBhvr>
                                        <p:cTn id="63" dur="750" fill="hold"/>
                                        <p:tgtEl>
                                          <p:spTgt spid="77"/>
                                        </p:tgtEl>
                                      </p:cBhvr>
                                      <p:by x="110000" y="110000"/>
                                    </p:animScale>
                                  </p:childTnLst>
                                </p:cTn>
                              </p:par>
                              <p:par>
                                <p:cTn id="64" presetID="26" presetClass="emph" presetSubtype="0" repeatCount="4000" fill="hold" nodeType="withEffect">
                                  <p:stCondLst>
                                    <p:cond delay="0"/>
                                  </p:stCondLst>
                                  <p:childTnLst>
                                    <p:animEffect transition="out" filter="fade">
                                      <p:cBhvr>
                                        <p:cTn id="65" dur="1500" tmFilter="0, 0; .2, .5; .8, .5; 1, 0"/>
                                        <p:tgtEl>
                                          <p:spTgt spid="77"/>
                                        </p:tgtEl>
                                      </p:cBhvr>
                                    </p:animEffect>
                                    <p:animScale>
                                      <p:cBhvr>
                                        <p:cTn id="66" dur="750" autoRev="1" fill="hold"/>
                                        <p:tgtEl>
                                          <p:spTgt spid="77"/>
                                        </p:tgtEl>
                                      </p:cBhvr>
                                      <p:by x="105000" y="105000"/>
                                    </p:animScale>
                                  </p:childTnLst>
                                </p:cTn>
                              </p:par>
                              <p:par>
                                <p:cTn id="67" presetID="10" presetClass="entr" presetSubtype="0" fill="hold" nodeType="withEffect">
                                  <p:stCondLst>
                                    <p:cond delay="0"/>
                                  </p:stCondLst>
                                  <p:childTnLst>
                                    <p:set>
                                      <p:cBhvr>
                                        <p:cTn id="68" dur="1" fill="hold">
                                          <p:stCondLst>
                                            <p:cond delay="0"/>
                                          </p:stCondLst>
                                        </p:cTn>
                                        <p:tgtEl>
                                          <p:spTgt spid="82"/>
                                        </p:tgtEl>
                                        <p:attrNameLst>
                                          <p:attrName>style.visibility</p:attrName>
                                        </p:attrNameLst>
                                      </p:cBhvr>
                                      <p:to>
                                        <p:strVal val="visible"/>
                                      </p:to>
                                    </p:set>
                                    <p:animEffect transition="in" filter="fade">
                                      <p:cBhvr>
                                        <p:cTn id="69" dur="500"/>
                                        <p:tgtEl>
                                          <p:spTgt spid="82"/>
                                        </p:tgtEl>
                                      </p:cBhvr>
                                    </p:animEffect>
                                  </p:childTnLst>
                                </p:cTn>
                              </p:par>
                              <p:par>
                                <p:cTn id="70" presetID="6" presetClass="emph" presetSubtype="0" repeatCount="4000" autoRev="1" fill="hold" nodeType="withEffect">
                                  <p:stCondLst>
                                    <p:cond delay="0"/>
                                  </p:stCondLst>
                                  <p:childTnLst>
                                    <p:animScale>
                                      <p:cBhvr>
                                        <p:cTn id="71" dur="750" fill="hold"/>
                                        <p:tgtEl>
                                          <p:spTgt spid="82"/>
                                        </p:tgtEl>
                                      </p:cBhvr>
                                      <p:by x="110000" y="110000"/>
                                    </p:animScale>
                                  </p:childTnLst>
                                </p:cTn>
                              </p:par>
                              <p:par>
                                <p:cTn id="72" presetID="26" presetClass="emph" presetSubtype="0" repeatCount="4000" fill="hold" nodeType="withEffect">
                                  <p:stCondLst>
                                    <p:cond delay="0"/>
                                  </p:stCondLst>
                                  <p:childTnLst>
                                    <p:animEffect transition="out" filter="fade">
                                      <p:cBhvr>
                                        <p:cTn id="73" dur="1500" tmFilter="0, 0; .2, .5; .8, .5; 1, 0"/>
                                        <p:tgtEl>
                                          <p:spTgt spid="82"/>
                                        </p:tgtEl>
                                      </p:cBhvr>
                                    </p:animEffect>
                                    <p:animScale>
                                      <p:cBhvr>
                                        <p:cTn id="74" dur="750" autoRev="1" fill="hold"/>
                                        <p:tgtEl>
                                          <p:spTgt spid="82"/>
                                        </p:tgtEl>
                                      </p:cBhvr>
                                      <p:by x="105000" y="105000"/>
                                    </p:animScale>
                                  </p:childTnLst>
                                </p:cTn>
                              </p:par>
                              <p:par>
                                <p:cTn id="75" presetID="6" presetClass="emph" presetSubtype="0" repeatCount="4000" autoRev="1" fill="remove" nodeType="withEffect">
                                  <p:stCondLst>
                                    <p:cond delay="0"/>
                                  </p:stCondLst>
                                  <p:childTnLst>
                                    <p:animScale>
                                      <p:cBhvr>
                                        <p:cTn id="76" dur="750" fill="hold"/>
                                        <p:tgtEl>
                                          <p:spTgt spid="42"/>
                                        </p:tgtEl>
                                      </p:cBhvr>
                                      <p:by x="110000" y="110000"/>
                                    </p:animScale>
                                  </p:childTnLst>
                                </p:cTn>
                              </p:par>
                              <p:par>
                                <p:cTn id="77" presetID="6" presetClass="emph" presetSubtype="0" repeatCount="4000" autoRev="1" fill="remove" nodeType="withEffect">
                                  <p:stCondLst>
                                    <p:cond delay="0"/>
                                  </p:stCondLst>
                                  <p:childTnLst>
                                    <p:animScale>
                                      <p:cBhvr>
                                        <p:cTn id="78" dur="750" fill="hold"/>
                                        <p:tgtEl>
                                          <p:spTgt spid="47"/>
                                        </p:tgtEl>
                                      </p:cBhvr>
                                      <p:by x="110000" y="110000"/>
                                    </p:animScale>
                                  </p:childTnLst>
                                </p:cTn>
                              </p:par>
                              <p:par>
                                <p:cTn id="79" presetID="6" presetClass="emph" presetSubtype="0" repeatCount="4000" autoRev="1" fill="remove" nodeType="withEffect">
                                  <p:stCondLst>
                                    <p:cond delay="0"/>
                                  </p:stCondLst>
                                  <p:childTnLst>
                                    <p:animScale>
                                      <p:cBhvr>
                                        <p:cTn id="80" dur="750" fill="hold"/>
                                        <p:tgtEl>
                                          <p:spTgt spid="52"/>
                                        </p:tgtEl>
                                      </p:cBhvr>
                                      <p:by x="110000" y="110000"/>
                                    </p:animScale>
                                  </p:childTnLst>
                                </p:cTn>
                              </p:par>
                              <p:par>
                                <p:cTn id="81" presetID="6" presetClass="emph" presetSubtype="0" repeatCount="4000" autoRev="1" fill="remove" nodeType="withEffect">
                                  <p:stCondLst>
                                    <p:cond delay="0"/>
                                  </p:stCondLst>
                                  <p:childTnLst>
                                    <p:animScale>
                                      <p:cBhvr>
                                        <p:cTn id="82" dur="750" fill="hold"/>
                                        <p:tgtEl>
                                          <p:spTgt spid="57"/>
                                        </p:tgtEl>
                                      </p:cBhvr>
                                      <p:by x="110000" y="110000"/>
                                    </p:animScale>
                                  </p:childTnLst>
                                </p:cTn>
                              </p:par>
                              <p:par>
                                <p:cTn id="83" presetID="6" presetClass="emph" presetSubtype="0" repeatCount="4000" autoRev="1" fill="remove" nodeType="withEffect">
                                  <p:stCondLst>
                                    <p:cond delay="0"/>
                                  </p:stCondLst>
                                  <p:childTnLst>
                                    <p:animScale>
                                      <p:cBhvr>
                                        <p:cTn id="84" dur="750" fill="hold"/>
                                        <p:tgtEl>
                                          <p:spTgt spid="67"/>
                                        </p:tgtEl>
                                      </p:cBhvr>
                                      <p:by x="110000" y="110000"/>
                                    </p:animScale>
                                  </p:childTnLst>
                                </p:cTn>
                              </p:par>
                              <p:par>
                                <p:cTn id="85" presetID="6" presetClass="emph" presetSubtype="0" repeatCount="4000" autoRev="1" fill="remove" nodeType="withEffect">
                                  <p:stCondLst>
                                    <p:cond delay="0"/>
                                  </p:stCondLst>
                                  <p:childTnLst>
                                    <p:animScale>
                                      <p:cBhvr>
                                        <p:cTn id="86" dur="750" fill="hold"/>
                                        <p:tgtEl>
                                          <p:spTgt spid="72"/>
                                        </p:tgtEl>
                                      </p:cBhvr>
                                      <p:by x="110000" y="110000"/>
                                    </p:animScale>
                                  </p:childTnLst>
                                </p:cTn>
                              </p:par>
                              <p:par>
                                <p:cTn id="87" presetID="26" presetClass="emph" presetSubtype="0" repeatCount="4000" fill="hold" nodeType="withEffect">
                                  <p:stCondLst>
                                    <p:cond delay="0"/>
                                  </p:stCondLst>
                                  <p:childTnLst>
                                    <p:animEffect transition="out" filter="fade">
                                      <p:cBhvr>
                                        <p:cTn id="88" dur="1500" tmFilter="0, 0; .2, .5; .8, .5; 1, 0"/>
                                        <p:tgtEl>
                                          <p:spTgt spid="42"/>
                                        </p:tgtEl>
                                      </p:cBhvr>
                                    </p:animEffect>
                                    <p:animScale>
                                      <p:cBhvr>
                                        <p:cTn id="89" dur="750" autoRev="1" fill="hold"/>
                                        <p:tgtEl>
                                          <p:spTgt spid="42"/>
                                        </p:tgtEl>
                                      </p:cBhvr>
                                      <p:by x="105000" y="105000"/>
                                    </p:animScale>
                                  </p:childTnLst>
                                </p:cTn>
                              </p:par>
                              <p:par>
                                <p:cTn id="90" presetID="26" presetClass="emph" presetSubtype="0" repeatCount="4000" fill="hold" nodeType="withEffect">
                                  <p:stCondLst>
                                    <p:cond delay="0"/>
                                  </p:stCondLst>
                                  <p:childTnLst>
                                    <p:animEffect transition="out" filter="fade">
                                      <p:cBhvr>
                                        <p:cTn id="91" dur="1500" tmFilter="0, 0; .2, .5; .8, .5; 1, 0"/>
                                        <p:tgtEl>
                                          <p:spTgt spid="47"/>
                                        </p:tgtEl>
                                      </p:cBhvr>
                                    </p:animEffect>
                                    <p:animScale>
                                      <p:cBhvr>
                                        <p:cTn id="92" dur="750" autoRev="1" fill="hold"/>
                                        <p:tgtEl>
                                          <p:spTgt spid="47"/>
                                        </p:tgtEl>
                                      </p:cBhvr>
                                      <p:by x="105000" y="105000"/>
                                    </p:animScale>
                                  </p:childTnLst>
                                </p:cTn>
                              </p:par>
                              <p:par>
                                <p:cTn id="93" presetID="26" presetClass="emph" presetSubtype="0" repeatCount="4000" fill="hold" nodeType="withEffect">
                                  <p:stCondLst>
                                    <p:cond delay="0"/>
                                  </p:stCondLst>
                                  <p:childTnLst>
                                    <p:animEffect transition="out" filter="fade">
                                      <p:cBhvr>
                                        <p:cTn id="94" dur="1500" tmFilter="0, 0; .2, .5; .8, .5; 1, 0"/>
                                        <p:tgtEl>
                                          <p:spTgt spid="52"/>
                                        </p:tgtEl>
                                      </p:cBhvr>
                                    </p:animEffect>
                                    <p:animScale>
                                      <p:cBhvr>
                                        <p:cTn id="95" dur="750" autoRev="1" fill="hold"/>
                                        <p:tgtEl>
                                          <p:spTgt spid="52"/>
                                        </p:tgtEl>
                                      </p:cBhvr>
                                      <p:by x="105000" y="105000"/>
                                    </p:animScale>
                                  </p:childTnLst>
                                </p:cTn>
                              </p:par>
                              <p:par>
                                <p:cTn id="96" presetID="26" presetClass="emph" presetSubtype="0" repeatCount="4000" fill="hold" nodeType="withEffect">
                                  <p:stCondLst>
                                    <p:cond delay="0"/>
                                  </p:stCondLst>
                                  <p:childTnLst>
                                    <p:animEffect transition="out" filter="fade">
                                      <p:cBhvr>
                                        <p:cTn id="97" dur="1500" tmFilter="0, 0; .2, .5; .8, .5; 1, 0"/>
                                        <p:tgtEl>
                                          <p:spTgt spid="57"/>
                                        </p:tgtEl>
                                      </p:cBhvr>
                                    </p:animEffect>
                                    <p:animScale>
                                      <p:cBhvr>
                                        <p:cTn id="98" dur="750" autoRev="1" fill="hold"/>
                                        <p:tgtEl>
                                          <p:spTgt spid="57"/>
                                        </p:tgtEl>
                                      </p:cBhvr>
                                      <p:by x="105000" y="105000"/>
                                    </p:animScale>
                                  </p:childTnLst>
                                </p:cTn>
                              </p:par>
                              <p:par>
                                <p:cTn id="99" presetID="26" presetClass="emph" presetSubtype="0" repeatCount="4000" fill="hold" nodeType="withEffect">
                                  <p:stCondLst>
                                    <p:cond delay="0"/>
                                  </p:stCondLst>
                                  <p:childTnLst>
                                    <p:animEffect transition="out" filter="fade">
                                      <p:cBhvr>
                                        <p:cTn id="100" dur="1500" tmFilter="0, 0; .2, .5; .8, .5; 1, 0"/>
                                        <p:tgtEl>
                                          <p:spTgt spid="67"/>
                                        </p:tgtEl>
                                      </p:cBhvr>
                                    </p:animEffect>
                                    <p:animScale>
                                      <p:cBhvr>
                                        <p:cTn id="101" dur="750" autoRev="1" fill="hold"/>
                                        <p:tgtEl>
                                          <p:spTgt spid="67"/>
                                        </p:tgtEl>
                                      </p:cBhvr>
                                      <p:by x="105000" y="105000"/>
                                    </p:animScale>
                                  </p:childTnLst>
                                </p:cTn>
                              </p:par>
                              <p:par>
                                <p:cTn id="102" presetID="26" presetClass="emph" presetSubtype="0" repeatCount="4000" fill="hold" nodeType="withEffect">
                                  <p:stCondLst>
                                    <p:cond delay="0"/>
                                  </p:stCondLst>
                                  <p:childTnLst>
                                    <p:animEffect transition="out" filter="fade">
                                      <p:cBhvr>
                                        <p:cTn id="103" dur="1500" tmFilter="0, 0; .2, .5; .8, .5; 1, 0"/>
                                        <p:tgtEl>
                                          <p:spTgt spid="72"/>
                                        </p:tgtEl>
                                      </p:cBhvr>
                                    </p:animEffect>
                                    <p:animScale>
                                      <p:cBhvr>
                                        <p:cTn id="104" dur="750" autoRev="1" fill="hold"/>
                                        <p:tgtEl>
                                          <p:spTgt spid="72"/>
                                        </p:tgtEl>
                                      </p:cBhvr>
                                      <p:by x="105000" y="105000"/>
                                    </p:animScale>
                                  </p:childTnLst>
                                </p:cTn>
                              </p:par>
                            </p:childTnLst>
                          </p:cTn>
                        </p:par>
                        <p:par>
                          <p:cTn id="105" fill="hold">
                            <p:stCondLst>
                              <p:cond delay="6000"/>
                            </p:stCondLst>
                            <p:childTnLst>
                              <p:par>
                                <p:cTn id="106" presetID="10" presetClass="exit" presetSubtype="0" fill="hold" nodeType="afterEffect">
                                  <p:stCondLst>
                                    <p:cond delay="0"/>
                                  </p:stCondLst>
                                  <p:childTnLst>
                                    <p:animEffect transition="out" filter="fade">
                                      <p:cBhvr>
                                        <p:cTn id="107" dur="500"/>
                                        <p:tgtEl>
                                          <p:spTgt spid="77"/>
                                        </p:tgtEl>
                                      </p:cBhvr>
                                    </p:animEffect>
                                    <p:set>
                                      <p:cBhvr>
                                        <p:cTn id="108" dur="1" fill="hold">
                                          <p:stCondLst>
                                            <p:cond delay="499"/>
                                          </p:stCondLst>
                                        </p:cTn>
                                        <p:tgtEl>
                                          <p:spTgt spid="77"/>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82"/>
                                        </p:tgtEl>
                                      </p:cBhvr>
                                    </p:animEffect>
                                    <p:set>
                                      <p:cBhvr>
                                        <p:cTn id="111" dur="1" fill="hold">
                                          <p:stCondLst>
                                            <p:cond delay="499"/>
                                          </p:stCondLst>
                                        </p:cTn>
                                        <p:tgtEl>
                                          <p:spTgt spid="82"/>
                                        </p:tgtEl>
                                        <p:attrNameLst>
                                          <p:attrName>style.visibility</p:attrName>
                                        </p:attrNameLst>
                                      </p:cBhvr>
                                      <p:to>
                                        <p:strVal val="hidden"/>
                                      </p:to>
                                    </p:set>
                                  </p:childTnLst>
                                </p:cTn>
                              </p:par>
                              <p:par>
                                <p:cTn id="112" presetID="10" presetClass="entr" presetSubtype="0" fill="hold" nodeType="withEffect">
                                  <p:stCondLst>
                                    <p:cond delay="0"/>
                                  </p:stCondLst>
                                  <p:childTnLst>
                                    <p:set>
                                      <p:cBhvr>
                                        <p:cTn id="113" dur="1" fill="hold">
                                          <p:stCondLst>
                                            <p:cond delay="0"/>
                                          </p:stCondLst>
                                        </p:cTn>
                                        <p:tgtEl>
                                          <p:spTgt spid="62"/>
                                        </p:tgtEl>
                                        <p:attrNameLst>
                                          <p:attrName>style.visibility</p:attrName>
                                        </p:attrNameLst>
                                      </p:cBhvr>
                                      <p:to>
                                        <p:strVal val="visible"/>
                                      </p:to>
                                    </p:set>
                                    <p:animEffect transition="in" filter="fade">
                                      <p:cBhvr>
                                        <p:cTn id="114" dur="500"/>
                                        <p:tgtEl>
                                          <p:spTgt spid="62"/>
                                        </p:tgtEl>
                                      </p:cBhvr>
                                    </p:animEffect>
                                  </p:childTnLst>
                                </p:cTn>
                              </p:par>
                            </p:childTnLst>
                          </p:cTn>
                        </p:par>
                      </p:childTnLst>
                    </p:cTn>
                  </p:par>
                  <p:par>
                    <p:cTn id="115" fill="hold">
                      <p:stCondLst>
                        <p:cond delay="indefinite"/>
                      </p:stCondLst>
                      <p:childTnLst>
                        <p:par>
                          <p:cTn id="116" fill="hold">
                            <p:stCondLst>
                              <p:cond delay="0"/>
                            </p:stCondLst>
                            <p:childTnLst>
                              <p:par>
                                <p:cTn id="117" presetID="2" presetClass="exit" presetSubtype="8" fill="hold" nodeType="clickEffect">
                                  <p:stCondLst>
                                    <p:cond delay="0"/>
                                  </p:stCondLst>
                                  <p:childTnLst>
                                    <p:anim calcmode="lin" valueType="num">
                                      <p:cBhvr additive="base">
                                        <p:cTn id="118" dur="500"/>
                                        <p:tgtEl>
                                          <p:spTgt spid="37"/>
                                        </p:tgtEl>
                                        <p:attrNameLst>
                                          <p:attrName>ppt_x</p:attrName>
                                        </p:attrNameLst>
                                      </p:cBhvr>
                                      <p:tavLst>
                                        <p:tav tm="0">
                                          <p:val>
                                            <p:strVal val="ppt_x"/>
                                          </p:val>
                                        </p:tav>
                                        <p:tav tm="100000">
                                          <p:val>
                                            <p:strVal val="0-ppt_w/2"/>
                                          </p:val>
                                        </p:tav>
                                      </p:tavLst>
                                    </p:anim>
                                    <p:anim calcmode="lin" valueType="num">
                                      <p:cBhvr additive="base">
                                        <p:cTn id="119" dur="500"/>
                                        <p:tgtEl>
                                          <p:spTgt spid="37"/>
                                        </p:tgtEl>
                                        <p:attrNameLst>
                                          <p:attrName>ppt_y</p:attrName>
                                        </p:attrNameLst>
                                      </p:cBhvr>
                                      <p:tavLst>
                                        <p:tav tm="0">
                                          <p:val>
                                            <p:strVal val="ppt_y"/>
                                          </p:val>
                                        </p:tav>
                                        <p:tav tm="100000">
                                          <p:val>
                                            <p:strVal val="ppt_y"/>
                                          </p:val>
                                        </p:tav>
                                      </p:tavLst>
                                    </p:anim>
                                    <p:set>
                                      <p:cBhvr>
                                        <p:cTn id="120" dur="1" fill="hold">
                                          <p:stCondLst>
                                            <p:cond delay="499"/>
                                          </p:stCondLst>
                                        </p:cTn>
                                        <p:tgtEl>
                                          <p:spTgt spid="37"/>
                                        </p:tgtEl>
                                        <p:attrNameLst>
                                          <p:attrName>style.visibility</p:attrName>
                                        </p:attrNameLst>
                                      </p:cBhvr>
                                      <p:to>
                                        <p:strVal val="hidden"/>
                                      </p:to>
                                    </p:set>
                                  </p:childTnLst>
                                </p:cTn>
                              </p:par>
                              <p:par>
                                <p:cTn id="121" presetID="2" presetClass="exit" presetSubtype="8" fill="hold" nodeType="withEffect">
                                  <p:stCondLst>
                                    <p:cond delay="0"/>
                                  </p:stCondLst>
                                  <p:childTnLst>
                                    <p:anim calcmode="lin" valueType="num">
                                      <p:cBhvr additive="base">
                                        <p:cTn id="122" dur="500"/>
                                        <p:tgtEl>
                                          <p:spTgt spid="40"/>
                                        </p:tgtEl>
                                        <p:attrNameLst>
                                          <p:attrName>ppt_x</p:attrName>
                                        </p:attrNameLst>
                                      </p:cBhvr>
                                      <p:tavLst>
                                        <p:tav tm="0">
                                          <p:val>
                                            <p:strVal val="ppt_x"/>
                                          </p:val>
                                        </p:tav>
                                        <p:tav tm="100000">
                                          <p:val>
                                            <p:strVal val="0-ppt_w/2"/>
                                          </p:val>
                                        </p:tav>
                                      </p:tavLst>
                                    </p:anim>
                                    <p:anim calcmode="lin" valueType="num">
                                      <p:cBhvr additive="base">
                                        <p:cTn id="123" dur="500"/>
                                        <p:tgtEl>
                                          <p:spTgt spid="40"/>
                                        </p:tgtEl>
                                        <p:attrNameLst>
                                          <p:attrName>ppt_y</p:attrName>
                                        </p:attrNameLst>
                                      </p:cBhvr>
                                      <p:tavLst>
                                        <p:tav tm="0">
                                          <p:val>
                                            <p:strVal val="ppt_y"/>
                                          </p:val>
                                        </p:tav>
                                        <p:tav tm="100000">
                                          <p:val>
                                            <p:strVal val="ppt_y"/>
                                          </p:val>
                                        </p:tav>
                                      </p:tavLst>
                                    </p:anim>
                                    <p:set>
                                      <p:cBhvr>
                                        <p:cTn id="124" dur="1" fill="hold">
                                          <p:stCondLst>
                                            <p:cond delay="499"/>
                                          </p:stCondLst>
                                        </p:cTn>
                                        <p:tgtEl>
                                          <p:spTgt spid="40"/>
                                        </p:tgtEl>
                                        <p:attrNameLst>
                                          <p:attrName>style.visibility</p:attrName>
                                        </p:attrNameLst>
                                      </p:cBhvr>
                                      <p:to>
                                        <p:strVal val="hidden"/>
                                      </p:to>
                                    </p:set>
                                  </p:childTnLst>
                                </p:cTn>
                              </p:par>
                              <p:par>
                                <p:cTn id="125" presetID="2" presetClass="exit" presetSubtype="8" fill="hold" nodeType="withEffect">
                                  <p:stCondLst>
                                    <p:cond delay="0"/>
                                  </p:stCondLst>
                                  <p:childTnLst>
                                    <p:anim calcmode="lin" valueType="num">
                                      <p:cBhvr additive="base">
                                        <p:cTn id="126" dur="500"/>
                                        <p:tgtEl>
                                          <p:spTgt spid="39"/>
                                        </p:tgtEl>
                                        <p:attrNameLst>
                                          <p:attrName>ppt_x</p:attrName>
                                        </p:attrNameLst>
                                      </p:cBhvr>
                                      <p:tavLst>
                                        <p:tav tm="0">
                                          <p:val>
                                            <p:strVal val="ppt_x"/>
                                          </p:val>
                                        </p:tav>
                                        <p:tav tm="100000">
                                          <p:val>
                                            <p:strVal val="0-ppt_w/2"/>
                                          </p:val>
                                        </p:tav>
                                      </p:tavLst>
                                    </p:anim>
                                    <p:anim calcmode="lin" valueType="num">
                                      <p:cBhvr additive="base">
                                        <p:cTn id="127" dur="500"/>
                                        <p:tgtEl>
                                          <p:spTgt spid="39"/>
                                        </p:tgtEl>
                                        <p:attrNameLst>
                                          <p:attrName>ppt_y</p:attrName>
                                        </p:attrNameLst>
                                      </p:cBhvr>
                                      <p:tavLst>
                                        <p:tav tm="0">
                                          <p:val>
                                            <p:strVal val="ppt_y"/>
                                          </p:val>
                                        </p:tav>
                                        <p:tav tm="100000">
                                          <p:val>
                                            <p:strVal val="ppt_y"/>
                                          </p:val>
                                        </p:tav>
                                      </p:tavLst>
                                    </p:anim>
                                    <p:set>
                                      <p:cBhvr>
                                        <p:cTn id="128" dur="1" fill="hold">
                                          <p:stCondLst>
                                            <p:cond delay="499"/>
                                          </p:stCondLst>
                                        </p:cTn>
                                        <p:tgtEl>
                                          <p:spTgt spid="39"/>
                                        </p:tgtEl>
                                        <p:attrNameLst>
                                          <p:attrName>style.visibility</p:attrName>
                                        </p:attrNameLst>
                                      </p:cBhvr>
                                      <p:to>
                                        <p:strVal val="hidden"/>
                                      </p:to>
                                    </p:set>
                                  </p:childTnLst>
                                </p:cTn>
                              </p:par>
                              <p:par>
                                <p:cTn id="129" presetID="2" presetClass="exit" presetSubtype="8" fill="hold" nodeType="withEffect">
                                  <p:stCondLst>
                                    <p:cond delay="0"/>
                                  </p:stCondLst>
                                  <p:childTnLst>
                                    <p:anim calcmode="lin" valueType="num">
                                      <p:cBhvr additive="base">
                                        <p:cTn id="130" dur="500"/>
                                        <p:tgtEl>
                                          <p:spTgt spid="38"/>
                                        </p:tgtEl>
                                        <p:attrNameLst>
                                          <p:attrName>ppt_x</p:attrName>
                                        </p:attrNameLst>
                                      </p:cBhvr>
                                      <p:tavLst>
                                        <p:tav tm="0">
                                          <p:val>
                                            <p:strVal val="ppt_x"/>
                                          </p:val>
                                        </p:tav>
                                        <p:tav tm="100000">
                                          <p:val>
                                            <p:strVal val="0-ppt_w/2"/>
                                          </p:val>
                                        </p:tav>
                                      </p:tavLst>
                                    </p:anim>
                                    <p:anim calcmode="lin" valueType="num">
                                      <p:cBhvr additive="base">
                                        <p:cTn id="131" dur="500"/>
                                        <p:tgtEl>
                                          <p:spTgt spid="38"/>
                                        </p:tgtEl>
                                        <p:attrNameLst>
                                          <p:attrName>ppt_y</p:attrName>
                                        </p:attrNameLst>
                                      </p:cBhvr>
                                      <p:tavLst>
                                        <p:tav tm="0">
                                          <p:val>
                                            <p:strVal val="ppt_y"/>
                                          </p:val>
                                        </p:tav>
                                        <p:tav tm="100000">
                                          <p:val>
                                            <p:strVal val="ppt_y"/>
                                          </p:val>
                                        </p:tav>
                                      </p:tavLst>
                                    </p:anim>
                                    <p:set>
                                      <p:cBhvr>
                                        <p:cTn id="132" dur="1" fill="hold">
                                          <p:stCondLst>
                                            <p:cond delay="499"/>
                                          </p:stCondLst>
                                        </p:cTn>
                                        <p:tgtEl>
                                          <p:spTgt spid="38"/>
                                        </p:tgtEl>
                                        <p:attrNameLst>
                                          <p:attrName>style.visibility</p:attrName>
                                        </p:attrNameLst>
                                      </p:cBhvr>
                                      <p:to>
                                        <p:strVal val="hidden"/>
                                      </p:to>
                                    </p:set>
                                  </p:childTnLst>
                                </p:cTn>
                              </p:par>
                              <p:par>
                                <p:cTn id="133" presetID="2" presetClass="exit" presetSubtype="8" fill="hold" nodeType="withEffect">
                                  <p:stCondLst>
                                    <p:cond delay="0"/>
                                  </p:stCondLst>
                                  <p:childTnLst>
                                    <p:anim calcmode="lin" valueType="num">
                                      <p:cBhvr additive="base">
                                        <p:cTn id="134" dur="500"/>
                                        <p:tgtEl>
                                          <p:spTgt spid="36"/>
                                        </p:tgtEl>
                                        <p:attrNameLst>
                                          <p:attrName>ppt_x</p:attrName>
                                        </p:attrNameLst>
                                      </p:cBhvr>
                                      <p:tavLst>
                                        <p:tav tm="0">
                                          <p:val>
                                            <p:strVal val="ppt_x"/>
                                          </p:val>
                                        </p:tav>
                                        <p:tav tm="100000">
                                          <p:val>
                                            <p:strVal val="0-ppt_w/2"/>
                                          </p:val>
                                        </p:tav>
                                      </p:tavLst>
                                    </p:anim>
                                    <p:anim calcmode="lin" valueType="num">
                                      <p:cBhvr additive="base">
                                        <p:cTn id="135" dur="500"/>
                                        <p:tgtEl>
                                          <p:spTgt spid="36"/>
                                        </p:tgtEl>
                                        <p:attrNameLst>
                                          <p:attrName>ppt_y</p:attrName>
                                        </p:attrNameLst>
                                      </p:cBhvr>
                                      <p:tavLst>
                                        <p:tav tm="0">
                                          <p:val>
                                            <p:strVal val="ppt_y"/>
                                          </p:val>
                                        </p:tav>
                                        <p:tav tm="100000">
                                          <p:val>
                                            <p:strVal val="ppt_y"/>
                                          </p:val>
                                        </p:tav>
                                      </p:tavLst>
                                    </p:anim>
                                    <p:set>
                                      <p:cBhvr>
                                        <p:cTn id="136" dur="1" fill="hold">
                                          <p:stCondLst>
                                            <p:cond delay="499"/>
                                          </p:stCondLst>
                                        </p:cTn>
                                        <p:tgtEl>
                                          <p:spTgt spid="36"/>
                                        </p:tgtEl>
                                        <p:attrNameLst>
                                          <p:attrName>style.visibility</p:attrName>
                                        </p:attrNameLst>
                                      </p:cBhvr>
                                      <p:to>
                                        <p:strVal val="hidden"/>
                                      </p:to>
                                    </p:set>
                                  </p:childTnLst>
                                </p:cTn>
                              </p:par>
                            </p:childTnLst>
                          </p:cTn>
                        </p:par>
                        <p:par>
                          <p:cTn id="137" fill="hold">
                            <p:stCondLst>
                              <p:cond delay="500"/>
                            </p:stCondLst>
                            <p:childTnLst>
                              <p:par>
                                <p:cTn id="138" presetID="42" presetClass="entr" presetSubtype="0" fill="hold" nodeType="afterEffect">
                                  <p:stCondLst>
                                    <p:cond delay="500"/>
                                  </p:stCondLst>
                                  <p:childTnLst>
                                    <p:set>
                                      <p:cBhvr>
                                        <p:cTn id="139" dur="1" fill="hold">
                                          <p:stCondLst>
                                            <p:cond delay="0"/>
                                          </p:stCondLst>
                                        </p:cTn>
                                        <p:tgtEl>
                                          <p:spTgt spid="132"/>
                                        </p:tgtEl>
                                        <p:attrNameLst>
                                          <p:attrName>style.visibility</p:attrName>
                                        </p:attrNameLst>
                                      </p:cBhvr>
                                      <p:to>
                                        <p:strVal val="visible"/>
                                      </p:to>
                                    </p:set>
                                    <p:animEffect transition="in" filter="fade">
                                      <p:cBhvr>
                                        <p:cTn id="140" dur="500"/>
                                        <p:tgtEl>
                                          <p:spTgt spid="132"/>
                                        </p:tgtEl>
                                      </p:cBhvr>
                                    </p:animEffect>
                                    <p:anim calcmode="lin" valueType="num">
                                      <p:cBhvr>
                                        <p:cTn id="141" dur="500" fill="hold"/>
                                        <p:tgtEl>
                                          <p:spTgt spid="132"/>
                                        </p:tgtEl>
                                        <p:attrNameLst>
                                          <p:attrName>ppt_x</p:attrName>
                                        </p:attrNameLst>
                                      </p:cBhvr>
                                      <p:tavLst>
                                        <p:tav tm="0">
                                          <p:val>
                                            <p:strVal val="#ppt_x"/>
                                          </p:val>
                                        </p:tav>
                                        <p:tav tm="100000">
                                          <p:val>
                                            <p:strVal val="#ppt_x"/>
                                          </p:val>
                                        </p:tav>
                                      </p:tavLst>
                                    </p:anim>
                                    <p:anim calcmode="lin" valueType="num">
                                      <p:cBhvr>
                                        <p:cTn id="142" dur="500" fill="hold"/>
                                        <p:tgtEl>
                                          <p:spTgt spid="132"/>
                                        </p:tgtEl>
                                        <p:attrNameLst>
                                          <p:attrName>ppt_y</p:attrName>
                                        </p:attrNameLst>
                                      </p:cBhvr>
                                      <p:tavLst>
                                        <p:tav tm="0">
                                          <p:val>
                                            <p:strVal val="#ppt_y+.1"/>
                                          </p:val>
                                        </p:tav>
                                        <p:tav tm="100000">
                                          <p:val>
                                            <p:strVal val="#ppt_y"/>
                                          </p:val>
                                        </p:tav>
                                      </p:tavLst>
                                    </p:anim>
                                  </p:childTnLst>
                                </p:cTn>
                              </p:par>
                              <p:par>
                                <p:cTn id="143" presetID="42" presetClass="entr" presetSubtype="0" fill="hold" nodeType="withEffect">
                                  <p:stCondLst>
                                    <p:cond delay="500"/>
                                  </p:stCondLst>
                                  <p:childTnLst>
                                    <p:set>
                                      <p:cBhvr>
                                        <p:cTn id="144" dur="1" fill="hold">
                                          <p:stCondLst>
                                            <p:cond delay="0"/>
                                          </p:stCondLst>
                                        </p:cTn>
                                        <p:tgtEl>
                                          <p:spTgt spid="128"/>
                                        </p:tgtEl>
                                        <p:attrNameLst>
                                          <p:attrName>style.visibility</p:attrName>
                                        </p:attrNameLst>
                                      </p:cBhvr>
                                      <p:to>
                                        <p:strVal val="visible"/>
                                      </p:to>
                                    </p:set>
                                    <p:animEffect transition="in" filter="fade">
                                      <p:cBhvr>
                                        <p:cTn id="145" dur="500"/>
                                        <p:tgtEl>
                                          <p:spTgt spid="128"/>
                                        </p:tgtEl>
                                      </p:cBhvr>
                                    </p:animEffect>
                                    <p:anim calcmode="lin" valueType="num">
                                      <p:cBhvr>
                                        <p:cTn id="146" dur="500" fill="hold"/>
                                        <p:tgtEl>
                                          <p:spTgt spid="128"/>
                                        </p:tgtEl>
                                        <p:attrNameLst>
                                          <p:attrName>ppt_x</p:attrName>
                                        </p:attrNameLst>
                                      </p:cBhvr>
                                      <p:tavLst>
                                        <p:tav tm="0">
                                          <p:val>
                                            <p:strVal val="#ppt_x"/>
                                          </p:val>
                                        </p:tav>
                                        <p:tav tm="100000">
                                          <p:val>
                                            <p:strVal val="#ppt_x"/>
                                          </p:val>
                                        </p:tav>
                                      </p:tavLst>
                                    </p:anim>
                                    <p:anim calcmode="lin" valueType="num">
                                      <p:cBhvr>
                                        <p:cTn id="147" dur="500" fill="hold"/>
                                        <p:tgtEl>
                                          <p:spTgt spid="128"/>
                                        </p:tgtEl>
                                        <p:attrNameLst>
                                          <p:attrName>ppt_y</p:attrName>
                                        </p:attrNameLst>
                                      </p:cBhvr>
                                      <p:tavLst>
                                        <p:tav tm="0">
                                          <p:val>
                                            <p:strVal val="#ppt_y+.1"/>
                                          </p:val>
                                        </p:tav>
                                        <p:tav tm="100000">
                                          <p:val>
                                            <p:strVal val="#ppt_y"/>
                                          </p:val>
                                        </p:tav>
                                      </p:tavLst>
                                    </p:anim>
                                  </p:childTnLst>
                                </p:cTn>
                              </p:par>
                              <p:par>
                                <p:cTn id="148" presetID="42" presetClass="entr" presetSubtype="0" fill="hold" nodeType="withEffect">
                                  <p:stCondLst>
                                    <p:cond delay="500"/>
                                  </p:stCondLst>
                                  <p:childTnLst>
                                    <p:set>
                                      <p:cBhvr>
                                        <p:cTn id="149" dur="1" fill="hold">
                                          <p:stCondLst>
                                            <p:cond delay="0"/>
                                          </p:stCondLst>
                                        </p:cTn>
                                        <p:tgtEl>
                                          <p:spTgt spid="120"/>
                                        </p:tgtEl>
                                        <p:attrNameLst>
                                          <p:attrName>style.visibility</p:attrName>
                                        </p:attrNameLst>
                                      </p:cBhvr>
                                      <p:to>
                                        <p:strVal val="visible"/>
                                      </p:to>
                                    </p:set>
                                    <p:animEffect transition="in" filter="fade">
                                      <p:cBhvr>
                                        <p:cTn id="150" dur="500"/>
                                        <p:tgtEl>
                                          <p:spTgt spid="120"/>
                                        </p:tgtEl>
                                      </p:cBhvr>
                                    </p:animEffect>
                                    <p:anim calcmode="lin" valueType="num">
                                      <p:cBhvr>
                                        <p:cTn id="151" dur="500" fill="hold"/>
                                        <p:tgtEl>
                                          <p:spTgt spid="120"/>
                                        </p:tgtEl>
                                        <p:attrNameLst>
                                          <p:attrName>ppt_x</p:attrName>
                                        </p:attrNameLst>
                                      </p:cBhvr>
                                      <p:tavLst>
                                        <p:tav tm="0">
                                          <p:val>
                                            <p:strVal val="#ppt_x"/>
                                          </p:val>
                                        </p:tav>
                                        <p:tav tm="100000">
                                          <p:val>
                                            <p:strVal val="#ppt_x"/>
                                          </p:val>
                                        </p:tav>
                                      </p:tavLst>
                                    </p:anim>
                                    <p:anim calcmode="lin" valueType="num">
                                      <p:cBhvr>
                                        <p:cTn id="152" dur="500" fill="hold"/>
                                        <p:tgtEl>
                                          <p:spTgt spid="120"/>
                                        </p:tgtEl>
                                        <p:attrNameLst>
                                          <p:attrName>ppt_y</p:attrName>
                                        </p:attrNameLst>
                                      </p:cBhvr>
                                      <p:tavLst>
                                        <p:tav tm="0">
                                          <p:val>
                                            <p:strVal val="#ppt_y+.1"/>
                                          </p:val>
                                        </p:tav>
                                        <p:tav tm="100000">
                                          <p:val>
                                            <p:strVal val="#ppt_y"/>
                                          </p:val>
                                        </p:tav>
                                      </p:tavLst>
                                    </p:anim>
                                  </p:childTnLst>
                                </p:cTn>
                              </p:par>
                              <p:par>
                                <p:cTn id="153" presetID="42" presetClass="entr" presetSubtype="0" fill="hold" nodeType="withEffect">
                                  <p:stCondLst>
                                    <p:cond delay="500"/>
                                  </p:stCondLst>
                                  <p:childTnLst>
                                    <p:set>
                                      <p:cBhvr>
                                        <p:cTn id="154" dur="1" fill="hold">
                                          <p:stCondLst>
                                            <p:cond delay="0"/>
                                          </p:stCondLst>
                                        </p:cTn>
                                        <p:tgtEl>
                                          <p:spTgt spid="136"/>
                                        </p:tgtEl>
                                        <p:attrNameLst>
                                          <p:attrName>style.visibility</p:attrName>
                                        </p:attrNameLst>
                                      </p:cBhvr>
                                      <p:to>
                                        <p:strVal val="visible"/>
                                      </p:to>
                                    </p:set>
                                    <p:animEffect transition="in" filter="fade">
                                      <p:cBhvr>
                                        <p:cTn id="155" dur="500"/>
                                        <p:tgtEl>
                                          <p:spTgt spid="136"/>
                                        </p:tgtEl>
                                      </p:cBhvr>
                                    </p:animEffect>
                                    <p:anim calcmode="lin" valueType="num">
                                      <p:cBhvr>
                                        <p:cTn id="156" dur="500" fill="hold"/>
                                        <p:tgtEl>
                                          <p:spTgt spid="136"/>
                                        </p:tgtEl>
                                        <p:attrNameLst>
                                          <p:attrName>ppt_x</p:attrName>
                                        </p:attrNameLst>
                                      </p:cBhvr>
                                      <p:tavLst>
                                        <p:tav tm="0">
                                          <p:val>
                                            <p:strVal val="#ppt_x"/>
                                          </p:val>
                                        </p:tav>
                                        <p:tav tm="100000">
                                          <p:val>
                                            <p:strVal val="#ppt_x"/>
                                          </p:val>
                                        </p:tav>
                                      </p:tavLst>
                                    </p:anim>
                                    <p:anim calcmode="lin" valueType="num">
                                      <p:cBhvr>
                                        <p:cTn id="157" dur="500" fill="hold"/>
                                        <p:tgtEl>
                                          <p:spTgt spid="136"/>
                                        </p:tgtEl>
                                        <p:attrNameLst>
                                          <p:attrName>ppt_y</p:attrName>
                                        </p:attrNameLst>
                                      </p:cBhvr>
                                      <p:tavLst>
                                        <p:tav tm="0">
                                          <p:val>
                                            <p:strVal val="#ppt_y+.1"/>
                                          </p:val>
                                        </p:tav>
                                        <p:tav tm="100000">
                                          <p:val>
                                            <p:strVal val="#ppt_y"/>
                                          </p:val>
                                        </p:tav>
                                      </p:tavLst>
                                    </p:anim>
                                  </p:childTnLst>
                                </p:cTn>
                              </p:par>
                              <p:par>
                                <p:cTn id="158" presetID="42" presetClass="entr" presetSubtype="0" fill="hold" nodeType="withEffect">
                                  <p:stCondLst>
                                    <p:cond delay="500"/>
                                  </p:stCondLst>
                                  <p:childTnLst>
                                    <p:set>
                                      <p:cBhvr>
                                        <p:cTn id="159" dur="1" fill="hold">
                                          <p:stCondLst>
                                            <p:cond delay="0"/>
                                          </p:stCondLst>
                                        </p:cTn>
                                        <p:tgtEl>
                                          <p:spTgt spid="116"/>
                                        </p:tgtEl>
                                        <p:attrNameLst>
                                          <p:attrName>style.visibility</p:attrName>
                                        </p:attrNameLst>
                                      </p:cBhvr>
                                      <p:to>
                                        <p:strVal val="visible"/>
                                      </p:to>
                                    </p:set>
                                    <p:animEffect transition="in" filter="fade">
                                      <p:cBhvr>
                                        <p:cTn id="160" dur="500"/>
                                        <p:tgtEl>
                                          <p:spTgt spid="116"/>
                                        </p:tgtEl>
                                      </p:cBhvr>
                                    </p:animEffect>
                                    <p:anim calcmode="lin" valueType="num">
                                      <p:cBhvr>
                                        <p:cTn id="161" dur="500" fill="hold"/>
                                        <p:tgtEl>
                                          <p:spTgt spid="116"/>
                                        </p:tgtEl>
                                        <p:attrNameLst>
                                          <p:attrName>ppt_x</p:attrName>
                                        </p:attrNameLst>
                                      </p:cBhvr>
                                      <p:tavLst>
                                        <p:tav tm="0">
                                          <p:val>
                                            <p:strVal val="#ppt_x"/>
                                          </p:val>
                                        </p:tav>
                                        <p:tav tm="100000">
                                          <p:val>
                                            <p:strVal val="#ppt_x"/>
                                          </p:val>
                                        </p:tav>
                                      </p:tavLst>
                                    </p:anim>
                                    <p:anim calcmode="lin" valueType="num">
                                      <p:cBhvr>
                                        <p:cTn id="162" dur="500" fill="hold"/>
                                        <p:tgtEl>
                                          <p:spTgt spid="116"/>
                                        </p:tgtEl>
                                        <p:attrNameLst>
                                          <p:attrName>ppt_y</p:attrName>
                                        </p:attrNameLst>
                                      </p:cBhvr>
                                      <p:tavLst>
                                        <p:tav tm="0">
                                          <p:val>
                                            <p:strVal val="#ppt_y+.1"/>
                                          </p:val>
                                        </p:tav>
                                        <p:tav tm="100000">
                                          <p:val>
                                            <p:strVal val="#ppt_y"/>
                                          </p:val>
                                        </p:tav>
                                      </p:tavLst>
                                    </p:anim>
                                  </p:childTnLst>
                                </p:cTn>
                              </p:par>
                              <p:par>
                                <p:cTn id="163" presetID="42" presetClass="entr" presetSubtype="0" fill="hold" nodeType="withEffect">
                                  <p:stCondLst>
                                    <p:cond delay="500"/>
                                  </p:stCondLst>
                                  <p:childTnLst>
                                    <p:set>
                                      <p:cBhvr>
                                        <p:cTn id="164" dur="1" fill="hold">
                                          <p:stCondLst>
                                            <p:cond delay="0"/>
                                          </p:stCondLst>
                                        </p:cTn>
                                        <p:tgtEl>
                                          <p:spTgt spid="124"/>
                                        </p:tgtEl>
                                        <p:attrNameLst>
                                          <p:attrName>style.visibility</p:attrName>
                                        </p:attrNameLst>
                                      </p:cBhvr>
                                      <p:to>
                                        <p:strVal val="visible"/>
                                      </p:to>
                                    </p:set>
                                    <p:animEffect transition="in" filter="fade">
                                      <p:cBhvr>
                                        <p:cTn id="165" dur="500"/>
                                        <p:tgtEl>
                                          <p:spTgt spid="124"/>
                                        </p:tgtEl>
                                      </p:cBhvr>
                                    </p:animEffect>
                                    <p:anim calcmode="lin" valueType="num">
                                      <p:cBhvr>
                                        <p:cTn id="166" dur="500" fill="hold"/>
                                        <p:tgtEl>
                                          <p:spTgt spid="124"/>
                                        </p:tgtEl>
                                        <p:attrNameLst>
                                          <p:attrName>ppt_x</p:attrName>
                                        </p:attrNameLst>
                                      </p:cBhvr>
                                      <p:tavLst>
                                        <p:tav tm="0">
                                          <p:val>
                                            <p:strVal val="#ppt_x"/>
                                          </p:val>
                                        </p:tav>
                                        <p:tav tm="100000">
                                          <p:val>
                                            <p:strVal val="#ppt_x"/>
                                          </p:val>
                                        </p:tav>
                                      </p:tavLst>
                                    </p:anim>
                                    <p:anim calcmode="lin" valueType="num">
                                      <p:cBhvr>
                                        <p:cTn id="167" dur="500" fill="hold"/>
                                        <p:tgtEl>
                                          <p:spTgt spid="124"/>
                                        </p:tgtEl>
                                        <p:attrNameLst>
                                          <p:attrName>ppt_y</p:attrName>
                                        </p:attrNameLst>
                                      </p:cBhvr>
                                      <p:tavLst>
                                        <p:tav tm="0">
                                          <p:val>
                                            <p:strVal val="#ppt_y+.1"/>
                                          </p:val>
                                        </p:tav>
                                        <p:tav tm="100000">
                                          <p:val>
                                            <p:strVal val="#ppt_y"/>
                                          </p:val>
                                        </p:tav>
                                      </p:tavLst>
                                    </p:anim>
                                  </p:childTnLst>
                                </p:cTn>
                              </p:par>
                              <p:par>
                                <p:cTn id="168" presetID="42" presetClass="entr" presetSubtype="0" fill="hold" nodeType="withEffect">
                                  <p:stCondLst>
                                    <p:cond delay="500"/>
                                  </p:stCondLst>
                                  <p:childTnLst>
                                    <p:set>
                                      <p:cBhvr>
                                        <p:cTn id="169" dur="1" fill="hold">
                                          <p:stCondLst>
                                            <p:cond delay="0"/>
                                          </p:stCondLst>
                                        </p:cTn>
                                        <p:tgtEl>
                                          <p:spTgt spid="112"/>
                                        </p:tgtEl>
                                        <p:attrNameLst>
                                          <p:attrName>style.visibility</p:attrName>
                                        </p:attrNameLst>
                                      </p:cBhvr>
                                      <p:to>
                                        <p:strVal val="visible"/>
                                      </p:to>
                                    </p:set>
                                    <p:animEffect transition="in" filter="fade">
                                      <p:cBhvr>
                                        <p:cTn id="170" dur="500"/>
                                        <p:tgtEl>
                                          <p:spTgt spid="112"/>
                                        </p:tgtEl>
                                      </p:cBhvr>
                                    </p:animEffect>
                                    <p:anim calcmode="lin" valueType="num">
                                      <p:cBhvr>
                                        <p:cTn id="171" dur="500" fill="hold"/>
                                        <p:tgtEl>
                                          <p:spTgt spid="112"/>
                                        </p:tgtEl>
                                        <p:attrNameLst>
                                          <p:attrName>ppt_x</p:attrName>
                                        </p:attrNameLst>
                                      </p:cBhvr>
                                      <p:tavLst>
                                        <p:tav tm="0">
                                          <p:val>
                                            <p:strVal val="#ppt_x"/>
                                          </p:val>
                                        </p:tav>
                                        <p:tav tm="100000">
                                          <p:val>
                                            <p:strVal val="#ppt_x"/>
                                          </p:val>
                                        </p:tav>
                                      </p:tavLst>
                                    </p:anim>
                                    <p:anim calcmode="lin" valueType="num">
                                      <p:cBhvr>
                                        <p:cTn id="172" dur="500" fill="hold"/>
                                        <p:tgtEl>
                                          <p:spTgt spid="112"/>
                                        </p:tgtEl>
                                        <p:attrNameLst>
                                          <p:attrName>ppt_y</p:attrName>
                                        </p:attrNameLst>
                                      </p:cBhvr>
                                      <p:tavLst>
                                        <p:tav tm="0">
                                          <p:val>
                                            <p:strVal val="#ppt_y+.1"/>
                                          </p:val>
                                        </p:tav>
                                        <p:tav tm="100000">
                                          <p:val>
                                            <p:strVal val="#ppt_y"/>
                                          </p:val>
                                        </p:tav>
                                      </p:tavLst>
                                    </p:anim>
                                  </p:childTnLst>
                                </p:cTn>
                              </p:par>
                              <p:par>
                                <p:cTn id="173" presetID="6" presetClass="emph" presetSubtype="0" repeatCount="6000" autoRev="1" fill="remove" nodeType="withEffect">
                                  <p:stCondLst>
                                    <p:cond delay="0"/>
                                  </p:stCondLst>
                                  <p:childTnLst>
                                    <p:animScale>
                                      <p:cBhvr>
                                        <p:cTn id="174" dur="750" fill="hold"/>
                                        <p:tgtEl>
                                          <p:spTgt spid="42"/>
                                        </p:tgtEl>
                                      </p:cBhvr>
                                      <p:by x="110000" y="110000"/>
                                    </p:animScale>
                                  </p:childTnLst>
                                </p:cTn>
                              </p:par>
                              <p:par>
                                <p:cTn id="175" presetID="6" presetClass="emph" presetSubtype="0" repeatCount="6000" autoRev="1" fill="remove" nodeType="withEffect">
                                  <p:stCondLst>
                                    <p:cond delay="0"/>
                                  </p:stCondLst>
                                  <p:childTnLst>
                                    <p:animScale>
                                      <p:cBhvr>
                                        <p:cTn id="176" dur="750" fill="hold"/>
                                        <p:tgtEl>
                                          <p:spTgt spid="47"/>
                                        </p:tgtEl>
                                      </p:cBhvr>
                                      <p:by x="110000" y="110000"/>
                                    </p:animScale>
                                  </p:childTnLst>
                                </p:cTn>
                              </p:par>
                              <p:par>
                                <p:cTn id="177" presetID="6" presetClass="emph" presetSubtype="0" repeatCount="6000" autoRev="1" fill="remove" nodeType="withEffect">
                                  <p:stCondLst>
                                    <p:cond delay="0"/>
                                  </p:stCondLst>
                                  <p:childTnLst>
                                    <p:animScale>
                                      <p:cBhvr>
                                        <p:cTn id="178" dur="750" fill="hold"/>
                                        <p:tgtEl>
                                          <p:spTgt spid="52"/>
                                        </p:tgtEl>
                                      </p:cBhvr>
                                      <p:by x="110000" y="110000"/>
                                    </p:animScale>
                                  </p:childTnLst>
                                </p:cTn>
                              </p:par>
                              <p:par>
                                <p:cTn id="179" presetID="6" presetClass="emph" presetSubtype="0" repeatCount="6000" autoRev="1" fill="remove" nodeType="withEffect">
                                  <p:stCondLst>
                                    <p:cond delay="0"/>
                                  </p:stCondLst>
                                  <p:childTnLst>
                                    <p:animScale>
                                      <p:cBhvr>
                                        <p:cTn id="180" dur="750" fill="hold"/>
                                        <p:tgtEl>
                                          <p:spTgt spid="57"/>
                                        </p:tgtEl>
                                      </p:cBhvr>
                                      <p:by x="110000" y="110000"/>
                                    </p:animScale>
                                  </p:childTnLst>
                                </p:cTn>
                              </p:par>
                              <p:par>
                                <p:cTn id="181" presetID="6" presetClass="emph" presetSubtype="0" repeatCount="6000" autoRev="1" fill="remove" nodeType="withEffect">
                                  <p:stCondLst>
                                    <p:cond delay="0"/>
                                  </p:stCondLst>
                                  <p:childTnLst>
                                    <p:animScale>
                                      <p:cBhvr>
                                        <p:cTn id="182" dur="750" fill="hold"/>
                                        <p:tgtEl>
                                          <p:spTgt spid="62"/>
                                        </p:tgtEl>
                                      </p:cBhvr>
                                      <p:by x="110000" y="110000"/>
                                    </p:animScale>
                                  </p:childTnLst>
                                </p:cTn>
                              </p:par>
                              <p:par>
                                <p:cTn id="183" presetID="6" presetClass="emph" presetSubtype="0" repeatCount="6000" autoRev="1" fill="remove" nodeType="withEffect">
                                  <p:stCondLst>
                                    <p:cond delay="0"/>
                                  </p:stCondLst>
                                  <p:childTnLst>
                                    <p:animScale>
                                      <p:cBhvr>
                                        <p:cTn id="184" dur="750" fill="hold"/>
                                        <p:tgtEl>
                                          <p:spTgt spid="67"/>
                                        </p:tgtEl>
                                      </p:cBhvr>
                                      <p:by x="110000" y="110000"/>
                                    </p:animScale>
                                  </p:childTnLst>
                                </p:cTn>
                              </p:par>
                              <p:par>
                                <p:cTn id="185" presetID="26" presetClass="emph" presetSubtype="0" repeatCount="6000" fill="hold" nodeType="withEffect">
                                  <p:stCondLst>
                                    <p:cond delay="0"/>
                                  </p:stCondLst>
                                  <p:childTnLst>
                                    <p:animEffect transition="out" filter="fade">
                                      <p:cBhvr>
                                        <p:cTn id="186" dur="1500" tmFilter="0, 0; .2, .5; .8, .5; 1, 0"/>
                                        <p:tgtEl>
                                          <p:spTgt spid="42"/>
                                        </p:tgtEl>
                                      </p:cBhvr>
                                    </p:animEffect>
                                    <p:animScale>
                                      <p:cBhvr>
                                        <p:cTn id="187" dur="750" autoRev="1" fill="hold"/>
                                        <p:tgtEl>
                                          <p:spTgt spid="42"/>
                                        </p:tgtEl>
                                      </p:cBhvr>
                                      <p:by x="105000" y="105000"/>
                                    </p:animScale>
                                  </p:childTnLst>
                                </p:cTn>
                              </p:par>
                              <p:par>
                                <p:cTn id="188" presetID="26" presetClass="emph" presetSubtype="0" repeatCount="6000" fill="hold" nodeType="withEffect">
                                  <p:stCondLst>
                                    <p:cond delay="0"/>
                                  </p:stCondLst>
                                  <p:childTnLst>
                                    <p:animEffect transition="out" filter="fade">
                                      <p:cBhvr>
                                        <p:cTn id="189" dur="1500" tmFilter="0, 0; .2, .5; .8, .5; 1, 0"/>
                                        <p:tgtEl>
                                          <p:spTgt spid="47"/>
                                        </p:tgtEl>
                                      </p:cBhvr>
                                    </p:animEffect>
                                    <p:animScale>
                                      <p:cBhvr>
                                        <p:cTn id="190" dur="750" autoRev="1" fill="hold"/>
                                        <p:tgtEl>
                                          <p:spTgt spid="47"/>
                                        </p:tgtEl>
                                      </p:cBhvr>
                                      <p:by x="105000" y="105000"/>
                                    </p:animScale>
                                  </p:childTnLst>
                                </p:cTn>
                              </p:par>
                              <p:par>
                                <p:cTn id="191" presetID="26" presetClass="emph" presetSubtype="0" repeatCount="6000" fill="hold" nodeType="withEffect">
                                  <p:stCondLst>
                                    <p:cond delay="0"/>
                                  </p:stCondLst>
                                  <p:childTnLst>
                                    <p:animEffect transition="out" filter="fade">
                                      <p:cBhvr>
                                        <p:cTn id="192" dur="1500" tmFilter="0, 0; .2, .5; .8, .5; 1, 0"/>
                                        <p:tgtEl>
                                          <p:spTgt spid="52"/>
                                        </p:tgtEl>
                                      </p:cBhvr>
                                    </p:animEffect>
                                    <p:animScale>
                                      <p:cBhvr>
                                        <p:cTn id="193" dur="750" autoRev="1" fill="hold"/>
                                        <p:tgtEl>
                                          <p:spTgt spid="52"/>
                                        </p:tgtEl>
                                      </p:cBhvr>
                                      <p:by x="105000" y="105000"/>
                                    </p:animScale>
                                  </p:childTnLst>
                                </p:cTn>
                              </p:par>
                              <p:par>
                                <p:cTn id="194" presetID="26" presetClass="emph" presetSubtype="0" repeatCount="6000" fill="hold" nodeType="withEffect">
                                  <p:stCondLst>
                                    <p:cond delay="0"/>
                                  </p:stCondLst>
                                  <p:childTnLst>
                                    <p:animEffect transition="out" filter="fade">
                                      <p:cBhvr>
                                        <p:cTn id="195" dur="1500" tmFilter="0, 0; .2, .5; .8, .5; 1, 0"/>
                                        <p:tgtEl>
                                          <p:spTgt spid="57"/>
                                        </p:tgtEl>
                                      </p:cBhvr>
                                    </p:animEffect>
                                    <p:animScale>
                                      <p:cBhvr>
                                        <p:cTn id="196" dur="750" autoRev="1" fill="hold"/>
                                        <p:tgtEl>
                                          <p:spTgt spid="57"/>
                                        </p:tgtEl>
                                      </p:cBhvr>
                                      <p:by x="105000" y="105000"/>
                                    </p:animScale>
                                  </p:childTnLst>
                                </p:cTn>
                              </p:par>
                              <p:par>
                                <p:cTn id="197" presetID="26" presetClass="emph" presetSubtype="0" repeatCount="6000" fill="hold" nodeType="withEffect">
                                  <p:stCondLst>
                                    <p:cond delay="0"/>
                                  </p:stCondLst>
                                  <p:childTnLst>
                                    <p:animEffect transition="out" filter="fade">
                                      <p:cBhvr>
                                        <p:cTn id="198" dur="1500" tmFilter="0, 0; .2, .5; .8, .5; 1, 0"/>
                                        <p:tgtEl>
                                          <p:spTgt spid="62"/>
                                        </p:tgtEl>
                                      </p:cBhvr>
                                    </p:animEffect>
                                    <p:animScale>
                                      <p:cBhvr>
                                        <p:cTn id="199" dur="750" autoRev="1" fill="hold"/>
                                        <p:tgtEl>
                                          <p:spTgt spid="62"/>
                                        </p:tgtEl>
                                      </p:cBhvr>
                                      <p:by x="105000" y="105000"/>
                                    </p:animScale>
                                  </p:childTnLst>
                                </p:cTn>
                              </p:par>
                              <p:par>
                                <p:cTn id="200" presetID="26" presetClass="emph" presetSubtype="0" repeatCount="6000" fill="hold" nodeType="withEffect">
                                  <p:stCondLst>
                                    <p:cond delay="0"/>
                                  </p:stCondLst>
                                  <p:childTnLst>
                                    <p:animEffect transition="out" filter="fade">
                                      <p:cBhvr>
                                        <p:cTn id="201" dur="1500" tmFilter="0, 0; .2, .5; .8, .5; 1, 0"/>
                                        <p:tgtEl>
                                          <p:spTgt spid="67"/>
                                        </p:tgtEl>
                                      </p:cBhvr>
                                    </p:animEffect>
                                    <p:animScale>
                                      <p:cBhvr>
                                        <p:cTn id="202" dur="750" autoRev="1" fill="hold"/>
                                        <p:tgtEl>
                                          <p:spTgt spid="67"/>
                                        </p:tgtEl>
                                      </p:cBhvr>
                                      <p:by x="105000" y="105000"/>
                                    </p:animScale>
                                  </p:childTnLst>
                                </p:cTn>
                              </p:par>
                              <p:par>
                                <p:cTn id="203" presetID="26" presetClass="emph" presetSubtype="0" repeatCount="6000" fill="hold" nodeType="withEffect">
                                  <p:stCondLst>
                                    <p:cond delay="0"/>
                                  </p:stCondLst>
                                  <p:childTnLst>
                                    <p:animEffect transition="out" filter="fade">
                                      <p:cBhvr>
                                        <p:cTn id="204" dur="1500" tmFilter="0, 0; .2, .5; .8, .5; 1, 0"/>
                                        <p:tgtEl>
                                          <p:spTgt spid="72"/>
                                        </p:tgtEl>
                                      </p:cBhvr>
                                    </p:animEffect>
                                    <p:animScale>
                                      <p:cBhvr>
                                        <p:cTn id="205" dur="750" autoRev="1" fill="hold"/>
                                        <p:tgtEl>
                                          <p:spTgt spid="72"/>
                                        </p:tgtEl>
                                      </p:cBhvr>
                                      <p:by x="105000" y="105000"/>
                                    </p:animScale>
                                  </p:childTnLst>
                                </p:cTn>
                              </p:par>
                              <p:par>
                                <p:cTn id="206" presetID="6" presetClass="emph" presetSubtype="0" repeatCount="6000" autoRev="1" fill="remove" nodeType="withEffect">
                                  <p:stCondLst>
                                    <p:cond delay="0"/>
                                  </p:stCondLst>
                                  <p:childTnLst>
                                    <p:animScale>
                                      <p:cBhvr>
                                        <p:cTn id="207" dur="750" fill="hold"/>
                                        <p:tgtEl>
                                          <p:spTgt spid="72"/>
                                        </p:tgtEl>
                                      </p:cBhvr>
                                      <p:by x="110000" y="110000"/>
                                    </p:animScale>
                                  </p:childTnLst>
                                </p:cTn>
                              </p:par>
                            </p:childTnLst>
                          </p:cTn>
                        </p:par>
                      </p:childTnLst>
                    </p:cTn>
                  </p:par>
                  <p:par>
                    <p:cTn id="208" fill="hold">
                      <p:stCondLst>
                        <p:cond delay="indefinite"/>
                      </p:stCondLst>
                      <p:childTnLst>
                        <p:par>
                          <p:cTn id="209" fill="hold">
                            <p:stCondLst>
                              <p:cond delay="0"/>
                            </p:stCondLst>
                            <p:childTnLst>
                              <p:par>
                                <p:cTn id="210" presetID="49" presetClass="path" presetSubtype="0" accel="50000" decel="50000" fill="hold" nodeType="clickEffect">
                                  <p:stCondLst>
                                    <p:cond delay="0"/>
                                  </p:stCondLst>
                                  <p:childTnLst>
                                    <p:animMotion origin="layout" path="M 2.91667E-6 4.07407E-6 L -0.56394 -0.34653 " pathEditMode="relative" rAng="0" ptsTypes="AA">
                                      <p:cBhvr>
                                        <p:cTn id="211" dur="1500" fill="hold"/>
                                        <p:tgtEl>
                                          <p:spTgt spid="132"/>
                                        </p:tgtEl>
                                        <p:attrNameLst>
                                          <p:attrName>ppt_x</p:attrName>
                                          <p:attrName>ppt_y</p:attrName>
                                        </p:attrNameLst>
                                      </p:cBhvr>
                                      <p:rCtr x="-28203" y="-17338"/>
                                    </p:animMotion>
                                  </p:childTnLst>
                                </p:cTn>
                              </p:par>
                              <p:par>
                                <p:cTn id="212" presetID="56" presetClass="path" presetSubtype="0" accel="50000" decel="50000" fill="hold" nodeType="withEffect">
                                  <p:stCondLst>
                                    <p:cond delay="0"/>
                                  </p:stCondLst>
                                  <p:childTnLst>
                                    <p:animMotion origin="layout" path="M 6.25E-7 1.11022E-16 L -0.30039 -0.38935 " pathEditMode="relative" rAng="0" ptsTypes="AA">
                                      <p:cBhvr>
                                        <p:cTn id="213" dur="1500" fill="hold"/>
                                        <p:tgtEl>
                                          <p:spTgt spid="112"/>
                                        </p:tgtEl>
                                        <p:attrNameLst>
                                          <p:attrName>ppt_x</p:attrName>
                                          <p:attrName>ppt_y</p:attrName>
                                        </p:attrNameLst>
                                      </p:cBhvr>
                                      <p:rCtr x="-15026" y="-19468"/>
                                    </p:animMotion>
                                  </p:childTnLst>
                                </p:cTn>
                              </p:par>
                              <p:par>
                                <p:cTn id="214" presetID="56" presetClass="path" presetSubtype="0" accel="50000" decel="50000" fill="hold" nodeType="withEffect">
                                  <p:stCondLst>
                                    <p:cond delay="0"/>
                                  </p:stCondLst>
                                  <p:childTnLst>
                                    <p:animMotion origin="layout" path="M 2.08333E-7 4.07407E-6 L -0.21458 -0.14375 " pathEditMode="relative" rAng="0" ptsTypes="AA">
                                      <p:cBhvr>
                                        <p:cTn id="215" dur="1500" fill="hold"/>
                                        <p:tgtEl>
                                          <p:spTgt spid="116"/>
                                        </p:tgtEl>
                                        <p:attrNameLst>
                                          <p:attrName>ppt_x</p:attrName>
                                          <p:attrName>ppt_y</p:attrName>
                                        </p:attrNameLst>
                                      </p:cBhvr>
                                      <p:rCtr x="-10729" y="-7199"/>
                                    </p:animMotion>
                                  </p:childTnLst>
                                </p:cTn>
                              </p:par>
                              <p:par>
                                <p:cTn id="216" presetID="56" presetClass="path" presetSubtype="0" accel="50000" decel="50000" fill="hold" nodeType="withEffect">
                                  <p:stCondLst>
                                    <p:cond delay="0"/>
                                  </p:stCondLst>
                                  <p:childTnLst>
                                    <p:animMotion origin="layout" path="M 2.70833E-6 -1.85185E-6 L -0.36797 -0.19259 " pathEditMode="relative" rAng="0" ptsTypes="AA">
                                      <p:cBhvr>
                                        <p:cTn id="217" dur="1500" fill="hold"/>
                                        <p:tgtEl>
                                          <p:spTgt spid="124"/>
                                        </p:tgtEl>
                                        <p:attrNameLst>
                                          <p:attrName>ppt_x</p:attrName>
                                          <p:attrName>ppt_y</p:attrName>
                                        </p:attrNameLst>
                                      </p:cBhvr>
                                      <p:rCtr x="-18398" y="-9630"/>
                                    </p:animMotion>
                                  </p:childTnLst>
                                </p:cTn>
                              </p:par>
                              <p:par>
                                <p:cTn id="218" presetID="56" presetClass="path" presetSubtype="0" accel="50000" decel="50000" fill="hold" nodeType="withEffect">
                                  <p:stCondLst>
                                    <p:cond delay="0"/>
                                  </p:stCondLst>
                                  <p:childTnLst>
                                    <p:animMotion origin="layout" path="M -2.29167E-6 2.22222E-6 L -0.38828 -0.37408 " pathEditMode="relative" rAng="0" ptsTypes="AA">
                                      <p:cBhvr>
                                        <p:cTn id="219" dur="1500" fill="hold"/>
                                        <p:tgtEl>
                                          <p:spTgt spid="120"/>
                                        </p:tgtEl>
                                        <p:attrNameLst>
                                          <p:attrName>ppt_x</p:attrName>
                                          <p:attrName>ppt_y</p:attrName>
                                        </p:attrNameLst>
                                      </p:cBhvr>
                                      <p:rCtr x="-19414" y="-18704"/>
                                    </p:animMotion>
                                  </p:childTnLst>
                                </p:cTn>
                              </p:par>
                              <p:par>
                                <p:cTn id="220" presetID="56" presetClass="path" presetSubtype="0" accel="50000" decel="50000" fill="hold" nodeType="withEffect">
                                  <p:stCondLst>
                                    <p:cond delay="0"/>
                                  </p:stCondLst>
                                  <p:childTnLst>
                                    <p:animMotion origin="layout" path="M -4.16667E-6 1.85185E-6 L -0.58151 -0.1838 " pathEditMode="relative" rAng="0" ptsTypes="AA">
                                      <p:cBhvr>
                                        <p:cTn id="221" dur="1500" fill="hold"/>
                                        <p:tgtEl>
                                          <p:spTgt spid="128"/>
                                        </p:tgtEl>
                                        <p:attrNameLst>
                                          <p:attrName>ppt_x</p:attrName>
                                          <p:attrName>ppt_y</p:attrName>
                                        </p:attrNameLst>
                                      </p:cBhvr>
                                      <p:rCtr x="-29076" y="-9190"/>
                                    </p:animMotion>
                                  </p:childTnLst>
                                </p:cTn>
                              </p:par>
                              <p:par>
                                <p:cTn id="222" presetID="56" presetClass="path" presetSubtype="0" accel="50000" decel="50000" fill="hold" nodeType="withEffect">
                                  <p:stCondLst>
                                    <p:cond delay="0"/>
                                  </p:stCondLst>
                                  <p:childTnLst>
                                    <p:animMotion origin="layout" path="M 2.29167E-6 -1.48148E-6 L -0.55339 0.00139 " pathEditMode="relative" rAng="0" ptsTypes="AA">
                                      <p:cBhvr>
                                        <p:cTn id="223" dur="1500" fill="hold"/>
                                        <p:tgtEl>
                                          <p:spTgt spid="136"/>
                                        </p:tgtEl>
                                        <p:attrNameLst>
                                          <p:attrName>ppt_x</p:attrName>
                                          <p:attrName>ppt_y</p:attrName>
                                        </p:attrNameLst>
                                      </p:cBhvr>
                                      <p:rCtr x="-27669" y="69"/>
                                    </p:animMotion>
                                  </p:childTnLst>
                                </p:cTn>
                              </p:par>
                              <p:par>
                                <p:cTn id="224" presetID="6" presetClass="emph" presetSubtype="0" repeatCount="6000" autoRev="1" fill="hold" nodeType="withEffect">
                                  <p:stCondLst>
                                    <p:cond delay="0"/>
                                  </p:stCondLst>
                                  <p:childTnLst>
                                    <p:animScale>
                                      <p:cBhvr>
                                        <p:cTn id="225" dur="750" fill="hold"/>
                                        <p:tgtEl>
                                          <p:spTgt spid="42"/>
                                        </p:tgtEl>
                                      </p:cBhvr>
                                      <p:by x="110000" y="110000"/>
                                    </p:animScale>
                                  </p:childTnLst>
                                </p:cTn>
                              </p:par>
                              <p:par>
                                <p:cTn id="226" presetID="6" presetClass="emph" presetSubtype="0" repeatCount="6000" autoRev="1" fill="hold" nodeType="withEffect">
                                  <p:stCondLst>
                                    <p:cond delay="0"/>
                                  </p:stCondLst>
                                  <p:childTnLst>
                                    <p:animScale>
                                      <p:cBhvr>
                                        <p:cTn id="227" dur="750" fill="hold"/>
                                        <p:tgtEl>
                                          <p:spTgt spid="47"/>
                                        </p:tgtEl>
                                      </p:cBhvr>
                                      <p:by x="110000" y="110000"/>
                                    </p:animScale>
                                  </p:childTnLst>
                                </p:cTn>
                              </p:par>
                              <p:par>
                                <p:cTn id="228" presetID="6" presetClass="emph" presetSubtype="0" repeatCount="6000" autoRev="1" fill="hold" nodeType="withEffect">
                                  <p:stCondLst>
                                    <p:cond delay="0"/>
                                  </p:stCondLst>
                                  <p:childTnLst>
                                    <p:animScale>
                                      <p:cBhvr>
                                        <p:cTn id="229" dur="750" fill="hold"/>
                                        <p:tgtEl>
                                          <p:spTgt spid="52"/>
                                        </p:tgtEl>
                                      </p:cBhvr>
                                      <p:by x="110000" y="110000"/>
                                    </p:animScale>
                                  </p:childTnLst>
                                </p:cTn>
                              </p:par>
                              <p:par>
                                <p:cTn id="230" presetID="6" presetClass="emph" presetSubtype="0" repeatCount="6000" autoRev="1" fill="hold" nodeType="withEffect">
                                  <p:stCondLst>
                                    <p:cond delay="0"/>
                                  </p:stCondLst>
                                  <p:childTnLst>
                                    <p:animScale>
                                      <p:cBhvr>
                                        <p:cTn id="231" dur="750" fill="hold"/>
                                        <p:tgtEl>
                                          <p:spTgt spid="57"/>
                                        </p:tgtEl>
                                      </p:cBhvr>
                                      <p:by x="110000" y="110000"/>
                                    </p:animScale>
                                  </p:childTnLst>
                                </p:cTn>
                              </p:par>
                              <p:par>
                                <p:cTn id="232" presetID="6" presetClass="emph" presetSubtype="0" repeatCount="6000" autoRev="1" fill="hold" nodeType="withEffect">
                                  <p:stCondLst>
                                    <p:cond delay="0"/>
                                  </p:stCondLst>
                                  <p:childTnLst>
                                    <p:animScale>
                                      <p:cBhvr>
                                        <p:cTn id="233" dur="750" fill="hold"/>
                                        <p:tgtEl>
                                          <p:spTgt spid="62"/>
                                        </p:tgtEl>
                                      </p:cBhvr>
                                      <p:by x="110000" y="110000"/>
                                    </p:animScale>
                                  </p:childTnLst>
                                </p:cTn>
                              </p:par>
                              <p:par>
                                <p:cTn id="234" presetID="6" presetClass="emph" presetSubtype="0" repeatCount="6000" autoRev="1" fill="hold" nodeType="withEffect">
                                  <p:stCondLst>
                                    <p:cond delay="0"/>
                                  </p:stCondLst>
                                  <p:childTnLst>
                                    <p:animScale>
                                      <p:cBhvr>
                                        <p:cTn id="235" dur="750" fill="hold"/>
                                        <p:tgtEl>
                                          <p:spTgt spid="67"/>
                                        </p:tgtEl>
                                      </p:cBhvr>
                                      <p:by x="110000" y="110000"/>
                                    </p:animScale>
                                  </p:childTnLst>
                                </p:cTn>
                              </p:par>
                              <p:par>
                                <p:cTn id="236" presetID="6" presetClass="emph" presetSubtype="0" repeatCount="6000" autoRev="1" fill="hold" nodeType="withEffect">
                                  <p:stCondLst>
                                    <p:cond delay="0"/>
                                  </p:stCondLst>
                                  <p:childTnLst>
                                    <p:animScale>
                                      <p:cBhvr>
                                        <p:cTn id="237" dur="750" fill="hold"/>
                                        <p:tgtEl>
                                          <p:spTgt spid="72"/>
                                        </p:tgtEl>
                                      </p:cBhvr>
                                      <p:by x="110000" y="110000"/>
                                    </p:animScale>
                                  </p:childTnLst>
                                </p:cTn>
                              </p:par>
                              <p:par>
                                <p:cTn id="238" presetID="26" presetClass="emph" presetSubtype="0" repeatCount="6000" fill="hold" nodeType="withEffect">
                                  <p:stCondLst>
                                    <p:cond delay="0"/>
                                  </p:stCondLst>
                                  <p:childTnLst>
                                    <p:animEffect transition="out" filter="fade">
                                      <p:cBhvr>
                                        <p:cTn id="239" dur="1500" tmFilter="0, 0; .2, .5; .8, .5; 1, 0"/>
                                        <p:tgtEl>
                                          <p:spTgt spid="42"/>
                                        </p:tgtEl>
                                      </p:cBhvr>
                                    </p:animEffect>
                                    <p:animScale>
                                      <p:cBhvr>
                                        <p:cTn id="240" dur="750" autoRev="1" fill="hold"/>
                                        <p:tgtEl>
                                          <p:spTgt spid="42"/>
                                        </p:tgtEl>
                                      </p:cBhvr>
                                      <p:by x="105000" y="105000"/>
                                    </p:animScale>
                                  </p:childTnLst>
                                </p:cTn>
                              </p:par>
                              <p:par>
                                <p:cTn id="241" presetID="26" presetClass="emph" presetSubtype="0" repeatCount="6000" fill="hold" nodeType="withEffect">
                                  <p:stCondLst>
                                    <p:cond delay="0"/>
                                  </p:stCondLst>
                                  <p:childTnLst>
                                    <p:animEffect transition="out" filter="fade">
                                      <p:cBhvr>
                                        <p:cTn id="242" dur="1500" tmFilter="0, 0; .2, .5; .8, .5; 1, 0"/>
                                        <p:tgtEl>
                                          <p:spTgt spid="47"/>
                                        </p:tgtEl>
                                      </p:cBhvr>
                                    </p:animEffect>
                                    <p:animScale>
                                      <p:cBhvr>
                                        <p:cTn id="243" dur="750" autoRev="1" fill="hold"/>
                                        <p:tgtEl>
                                          <p:spTgt spid="47"/>
                                        </p:tgtEl>
                                      </p:cBhvr>
                                      <p:by x="105000" y="105000"/>
                                    </p:animScale>
                                  </p:childTnLst>
                                </p:cTn>
                              </p:par>
                              <p:par>
                                <p:cTn id="244" presetID="26" presetClass="emph" presetSubtype="0" repeatCount="6000" fill="hold" nodeType="withEffect">
                                  <p:stCondLst>
                                    <p:cond delay="0"/>
                                  </p:stCondLst>
                                  <p:childTnLst>
                                    <p:animEffect transition="out" filter="fade">
                                      <p:cBhvr>
                                        <p:cTn id="245" dur="1500" tmFilter="0, 0; .2, .5; .8, .5; 1, 0"/>
                                        <p:tgtEl>
                                          <p:spTgt spid="52"/>
                                        </p:tgtEl>
                                      </p:cBhvr>
                                    </p:animEffect>
                                    <p:animScale>
                                      <p:cBhvr>
                                        <p:cTn id="246" dur="750" autoRev="1" fill="hold"/>
                                        <p:tgtEl>
                                          <p:spTgt spid="52"/>
                                        </p:tgtEl>
                                      </p:cBhvr>
                                      <p:by x="105000" y="105000"/>
                                    </p:animScale>
                                  </p:childTnLst>
                                </p:cTn>
                              </p:par>
                              <p:par>
                                <p:cTn id="247" presetID="26" presetClass="emph" presetSubtype="0" repeatCount="6000" fill="hold" nodeType="withEffect">
                                  <p:stCondLst>
                                    <p:cond delay="0"/>
                                  </p:stCondLst>
                                  <p:childTnLst>
                                    <p:animEffect transition="out" filter="fade">
                                      <p:cBhvr>
                                        <p:cTn id="248" dur="1500" tmFilter="0, 0; .2, .5; .8, .5; 1, 0"/>
                                        <p:tgtEl>
                                          <p:spTgt spid="57"/>
                                        </p:tgtEl>
                                      </p:cBhvr>
                                    </p:animEffect>
                                    <p:animScale>
                                      <p:cBhvr>
                                        <p:cTn id="249" dur="750" autoRev="1" fill="hold"/>
                                        <p:tgtEl>
                                          <p:spTgt spid="57"/>
                                        </p:tgtEl>
                                      </p:cBhvr>
                                      <p:by x="105000" y="105000"/>
                                    </p:animScale>
                                  </p:childTnLst>
                                </p:cTn>
                              </p:par>
                              <p:par>
                                <p:cTn id="250" presetID="26" presetClass="emph" presetSubtype="0" repeatCount="6000" fill="hold" nodeType="withEffect">
                                  <p:stCondLst>
                                    <p:cond delay="0"/>
                                  </p:stCondLst>
                                  <p:childTnLst>
                                    <p:animEffect transition="out" filter="fade">
                                      <p:cBhvr>
                                        <p:cTn id="251" dur="1500" tmFilter="0, 0; .2, .5; .8, .5; 1, 0"/>
                                        <p:tgtEl>
                                          <p:spTgt spid="62"/>
                                        </p:tgtEl>
                                      </p:cBhvr>
                                    </p:animEffect>
                                    <p:animScale>
                                      <p:cBhvr>
                                        <p:cTn id="252" dur="750" autoRev="1" fill="hold"/>
                                        <p:tgtEl>
                                          <p:spTgt spid="62"/>
                                        </p:tgtEl>
                                      </p:cBhvr>
                                      <p:by x="105000" y="105000"/>
                                    </p:animScale>
                                  </p:childTnLst>
                                </p:cTn>
                              </p:par>
                              <p:par>
                                <p:cTn id="253" presetID="26" presetClass="emph" presetSubtype="0" repeatCount="6000" fill="hold" nodeType="withEffect">
                                  <p:stCondLst>
                                    <p:cond delay="0"/>
                                  </p:stCondLst>
                                  <p:childTnLst>
                                    <p:animEffect transition="out" filter="fade">
                                      <p:cBhvr>
                                        <p:cTn id="254" dur="1500" tmFilter="0, 0; .2, .5; .8, .5; 1, 0"/>
                                        <p:tgtEl>
                                          <p:spTgt spid="67"/>
                                        </p:tgtEl>
                                      </p:cBhvr>
                                    </p:animEffect>
                                    <p:animScale>
                                      <p:cBhvr>
                                        <p:cTn id="255" dur="750" autoRev="1" fill="hold"/>
                                        <p:tgtEl>
                                          <p:spTgt spid="67"/>
                                        </p:tgtEl>
                                      </p:cBhvr>
                                      <p:by x="105000" y="105000"/>
                                    </p:animScale>
                                  </p:childTnLst>
                                </p:cTn>
                              </p:par>
                              <p:par>
                                <p:cTn id="256" presetID="26" presetClass="emph" presetSubtype="0" repeatCount="6000" fill="hold" nodeType="withEffect">
                                  <p:stCondLst>
                                    <p:cond delay="0"/>
                                  </p:stCondLst>
                                  <p:childTnLst>
                                    <p:animEffect transition="out" filter="fade">
                                      <p:cBhvr>
                                        <p:cTn id="257" dur="1500" tmFilter="0, 0; .2, .5; .8, .5; 1, 0"/>
                                        <p:tgtEl>
                                          <p:spTgt spid="72"/>
                                        </p:tgtEl>
                                      </p:cBhvr>
                                    </p:animEffect>
                                    <p:animScale>
                                      <p:cBhvr>
                                        <p:cTn id="258" dur="750" autoRev="1" fill="hold"/>
                                        <p:tgtEl>
                                          <p:spTgt spid="72"/>
                                        </p:tgtEl>
                                      </p:cBhvr>
                                      <p:by x="105000" y="105000"/>
                                    </p:animScale>
                                  </p:childTnLst>
                                </p:cTn>
                              </p:par>
                            </p:childTnLst>
                          </p:cTn>
                        </p:par>
                      </p:childTnLst>
                    </p:cTn>
                  </p:par>
                  <p:par>
                    <p:cTn id="259" fill="hold">
                      <p:stCondLst>
                        <p:cond delay="indefinite"/>
                      </p:stCondLst>
                      <p:childTnLst>
                        <p:par>
                          <p:cTn id="260" fill="hold">
                            <p:stCondLst>
                              <p:cond delay="0"/>
                            </p:stCondLst>
                            <p:childTnLst>
                              <p:par>
                                <p:cTn id="261" presetID="10" presetClass="exit" presetSubtype="0" fill="hold" nodeType="clickEffect">
                                  <p:stCondLst>
                                    <p:cond delay="0"/>
                                  </p:stCondLst>
                                  <p:childTnLst>
                                    <p:animEffect transition="out" filter="fade">
                                      <p:cBhvr>
                                        <p:cTn id="262" dur="500"/>
                                        <p:tgtEl>
                                          <p:spTgt spid="52"/>
                                        </p:tgtEl>
                                      </p:cBhvr>
                                    </p:animEffect>
                                    <p:set>
                                      <p:cBhvr>
                                        <p:cTn id="263" dur="1" fill="hold">
                                          <p:stCondLst>
                                            <p:cond delay="499"/>
                                          </p:stCondLst>
                                        </p:cTn>
                                        <p:tgtEl>
                                          <p:spTgt spid="52"/>
                                        </p:tgtEl>
                                        <p:attrNameLst>
                                          <p:attrName>style.visibility</p:attrName>
                                        </p:attrNameLst>
                                      </p:cBhvr>
                                      <p:to>
                                        <p:strVal val="hidden"/>
                                      </p:to>
                                    </p:set>
                                  </p:childTnLst>
                                </p:cTn>
                              </p:par>
                              <p:par>
                                <p:cTn id="264" presetID="10" presetClass="entr" presetSubtype="0" fill="hold" nodeType="withEffect">
                                  <p:stCondLst>
                                    <p:cond delay="0"/>
                                  </p:stCondLst>
                                  <p:childTnLst>
                                    <p:set>
                                      <p:cBhvr>
                                        <p:cTn id="265" dur="1" fill="hold">
                                          <p:stCondLst>
                                            <p:cond delay="0"/>
                                          </p:stCondLst>
                                        </p:cTn>
                                        <p:tgtEl>
                                          <p:spTgt spid="4"/>
                                        </p:tgtEl>
                                        <p:attrNameLst>
                                          <p:attrName>style.visibility</p:attrName>
                                        </p:attrNameLst>
                                      </p:cBhvr>
                                      <p:to>
                                        <p:strVal val="visible"/>
                                      </p:to>
                                    </p:set>
                                    <p:animEffect transition="in" filter="fade">
                                      <p:cBhvr>
                                        <p:cTn id="266" dur="500"/>
                                        <p:tgtEl>
                                          <p:spTgt spid="4"/>
                                        </p:tgtEl>
                                      </p:cBhvr>
                                    </p:animEffect>
                                  </p:childTnLst>
                                </p:cTn>
                              </p:par>
                              <p:par>
                                <p:cTn id="267" presetID="6" presetClass="emph" presetSubtype="0" repeatCount="4000" autoRev="1" fill="hold" nodeType="withEffect">
                                  <p:stCondLst>
                                    <p:cond delay="0"/>
                                  </p:stCondLst>
                                  <p:childTnLst>
                                    <p:animScale>
                                      <p:cBhvr>
                                        <p:cTn id="268" dur="750" fill="hold"/>
                                        <p:tgtEl>
                                          <p:spTgt spid="4"/>
                                        </p:tgtEl>
                                      </p:cBhvr>
                                      <p:by x="110000" y="110000"/>
                                    </p:animScale>
                                  </p:childTnLst>
                                </p:cTn>
                              </p:par>
                              <p:par>
                                <p:cTn id="269" presetID="26" presetClass="emph" presetSubtype="0" repeatCount="4000" fill="hold" nodeType="withEffect">
                                  <p:stCondLst>
                                    <p:cond delay="0"/>
                                  </p:stCondLst>
                                  <p:childTnLst>
                                    <p:animEffect transition="out" filter="fade">
                                      <p:cBhvr>
                                        <p:cTn id="270" dur="1500" tmFilter="0, 0; .2, .5; .8, .5; 1, 0"/>
                                        <p:tgtEl>
                                          <p:spTgt spid="4"/>
                                        </p:tgtEl>
                                      </p:cBhvr>
                                    </p:animEffect>
                                    <p:animScale>
                                      <p:cBhvr>
                                        <p:cTn id="271" dur="750" autoRev="1" fill="hold"/>
                                        <p:tgtEl>
                                          <p:spTgt spid="4"/>
                                        </p:tgtEl>
                                      </p:cBhvr>
                                      <p:by x="105000" y="105000"/>
                                    </p:animScale>
                                  </p:childTnLst>
                                </p:cTn>
                              </p:par>
                              <p:par>
                                <p:cTn id="272" presetID="42" presetClass="entr" presetSubtype="0" fill="hold" nodeType="withEffect">
                                  <p:stCondLst>
                                    <p:cond delay="0"/>
                                  </p:stCondLst>
                                  <p:childTnLst>
                                    <p:set>
                                      <p:cBhvr>
                                        <p:cTn id="273" dur="1" fill="hold">
                                          <p:stCondLst>
                                            <p:cond delay="0"/>
                                          </p:stCondLst>
                                        </p:cTn>
                                        <p:tgtEl>
                                          <p:spTgt spid="30"/>
                                        </p:tgtEl>
                                        <p:attrNameLst>
                                          <p:attrName>style.visibility</p:attrName>
                                        </p:attrNameLst>
                                      </p:cBhvr>
                                      <p:to>
                                        <p:strVal val="visible"/>
                                      </p:to>
                                    </p:set>
                                    <p:animEffect transition="in" filter="fade">
                                      <p:cBhvr>
                                        <p:cTn id="274" dur="500"/>
                                        <p:tgtEl>
                                          <p:spTgt spid="30"/>
                                        </p:tgtEl>
                                      </p:cBhvr>
                                    </p:animEffect>
                                    <p:anim calcmode="lin" valueType="num">
                                      <p:cBhvr>
                                        <p:cTn id="275" dur="500" fill="hold"/>
                                        <p:tgtEl>
                                          <p:spTgt spid="30"/>
                                        </p:tgtEl>
                                        <p:attrNameLst>
                                          <p:attrName>ppt_x</p:attrName>
                                        </p:attrNameLst>
                                      </p:cBhvr>
                                      <p:tavLst>
                                        <p:tav tm="0">
                                          <p:val>
                                            <p:strVal val="#ppt_x"/>
                                          </p:val>
                                        </p:tav>
                                        <p:tav tm="100000">
                                          <p:val>
                                            <p:strVal val="#ppt_x"/>
                                          </p:val>
                                        </p:tav>
                                      </p:tavLst>
                                    </p:anim>
                                    <p:anim calcmode="lin" valueType="num">
                                      <p:cBhvr>
                                        <p:cTn id="276" dur="5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0" grpId="2" animBg="1"/>
      <p:bldP spid="140" grpId="3"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val 39">
            <a:extLst>
              <a:ext uri="{FF2B5EF4-FFF2-40B4-BE49-F238E27FC236}">
                <a16:creationId xmlns:a16="http://schemas.microsoft.com/office/drawing/2014/main" id="{456DB2C9-9088-74AD-C4B0-C34944A52269}"/>
              </a:ext>
            </a:extLst>
          </p:cNvPr>
          <p:cNvSpPr/>
          <p:nvPr/>
        </p:nvSpPr>
        <p:spPr>
          <a:xfrm>
            <a:off x="3143263" y="3505840"/>
            <a:ext cx="2323560" cy="2323560"/>
          </a:xfrm>
          <a:prstGeom prst="ellipse">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pic>
        <p:nvPicPr>
          <p:cNvPr id="80" name="Pattern crop">
            <a:extLst>
              <a:ext uri="{FF2B5EF4-FFF2-40B4-BE49-F238E27FC236}">
                <a16:creationId xmlns:a16="http://schemas.microsoft.com/office/drawing/2014/main" id="{745F6F46-2B72-6B12-0897-6A52873F8E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18391" y="2582961"/>
            <a:ext cx="2511049" cy="3212103"/>
          </a:xfrm>
          <a:prstGeom prst="rect">
            <a:avLst/>
          </a:prstGeom>
        </p:spPr>
      </p:pic>
      <p:grpSp>
        <p:nvGrpSpPr>
          <p:cNvPr id="36" name="Group 35">
            <a:extLst>
              <a:ext uri="{FF2B5EF4-FFF2-40B4-BE49-F238E27FC236}">
                <a16:creationId xmlns:a16="http://schemas.microsoft.com/office/drawing/2014/main" id="{DAD8905B-FB14-6194-3844-39FA0FD95E16}"/>
              </a:ext>
            </a:extLst>
          </p:cNvPr>
          <p:cNvGrpSpPr/>
          <p:nvPr/>
        </p:nvGrpSpPr>
        <p:grpSpPr>
          <a:xfrm flipH="1">
            <a:off x="2795361" y="3157939"/>
            <a:ext cx="3019364" cy="3019362"/>
            <a:chOff x="6048759" y="642710"/>
            <a:chExt cx="4924610" cy="4924610"/>
          </a:xfrm>
        </p:grpSpPr>
        <p:sp>
          <p:nvSpPr>
            <p:cNvPr id="38" name="Arc 37">
              <a:extLst>
                <a:ext uri="{FF2B5EF4-FFF2-40B4-BE49-F238E27FC236}">
                  <a16:creationId xmlns:a16="http://schemas.microsoft.com/office/drawing/2014/main" id="{68A27E67-0F32-825C-C16A-89D76440A2F2}"/>
                </a:ext>
              </a:extLst>
            </p:cNvPr>
            <p:cNvSpPr>
              <a:spLocks noChangeAspect="1"/>
            </p:cNvSpPr>
            <p:nvPr/>
          </p:nvSpPr>
          <p:spPr>
            <a:xfrm>
              <a:off x="6048759" y="642710"/>
              <a:ext cx="4924610" cy="4924610"/>
            </a:xfrm>
            <a:prstGeom prst="arc">
              <a:avLst>
                <a:gd name="adj1" fmla="val 3662353"/>
                <a:gd name="adj2" fmla="val 7421622"/>
              </a:avLst>
            </a:prstGeom>
            <a:noFill/>
            <a:ln w="38100" cap="rnd" cmpd="sng" algn="ctr">
              <a:solidFill>
                <a:schemeClr val="accent1"/>
              </a:solidFill>
              <a:prstDash val="solid"/>
              <a:miter lim="800000"/>
              <a:headEnd type="arrow" w="lg" len="med"/>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39" name="Arc 38">
              <a:extLst>
                <a:ext uri="{FF2B5EF4-FFF2-40B4-BE49-F238E27FC236}">
                  <a16:creationId xmlns:a16="http://schemas.microsoft.com/office/drawing/2014/main" id="{0D9748E3-476A-6B3D-9753-507D4EDBFAD4}"/>
                </a:ext>
              </a:extLst>
            </p:cNvPr>
            <p:cNvSpPr>
              <a:spLocks noChangeAspect="1"/>
            </p:cNvSpPr>
            <p:nvPr/>
          </p:nvSpPr>
          <p:spPr>
            <a:xfrm>
              <a:off x="6048759" y="642710"/>
              <a:ext cx="4924610" cy="4924610"/>
            </a:xfrm>
            <a:prstGeom prst="arc">
              <a:avLst>
                <a:gd name="adj1" fmla="val 8525561"/>
                <a:gd name="adj2" fmla="val 16298091"/>
              </a:avLst>
            </a:prstGeom>
            <a:noFill/>
            <a:ln w="38100" cap="rnd" cmpd="sng" algn="ctr">
              <a:solidFill>
                <a:schemeClr val="accent1"/>
              </a:solidFill>
              <a:prstDash val="solid"/>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53" name="Arc 52">
              <a:extLst>
                <a:ext uri="{FF2B5EF4-FFF2-40B4-BE49-F238E27FC236}">
                  <a16:creationId xmlns:a16="http://schemas.microsoft.com/office/drawing/2014/main" id="{FCE75910-FE74-01AD-82F2-96916D303FEE}"/>
                </a:ext>
              </a:extLst>
            </p:cNvPr>
            <p:cNvSpPr>
              <a:spLocks noChangeAspect="1"/>
            </p:cNvSpPr>
            <p:nvPr/>
          </p:nvSpPr>
          <p:spPr>
            <a:xfrm>
              <a:off x="6048759" y="642710"/>
              <a:ext cx="4924610" cy="4924610"/>
            </a:xfrm>
            <a:prstGeom prst="arc">
              <a:avLst>
                <a:gd name="adj1" fmla="val 17595004"/>
                <a:gd name="adj2" fmla="val 2369476"/>
              </a:avLst>
            </a:prstGeom>
            <a:noFill/>
            <a:ln w="38100" cap="rnd" cmpd="sng" algn="ctr">
              <a:solidFill>
                <a:schemeClr val="accent1"/>
              </a:solidFill>
              <a:prstDash val="solid"/>
              <a:miter lim="800000"/>
              <a:headEnd type="none"/>
              <a:tailEnd type="none" w="lg" len="me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grpSp>
      <p:sp>
        <p:nvSpPr>
          <p:cNvPr id="43" name="Rectangle 42">
            <a:extLst>
              <a:ext uri="{FF2B5EF4-FFF2-40B4-BE49-F238E27FC236}">
                <a16:creationId xmlns:a16="http://schemas.microsoft.com/office/drawing/2014/main" id="{82FC74EC-9288-4B20-6F06-0310DFB88C5D}"/>
              </a:ext>
            </a:extLst>
          </p:cNvPr>
          <p:cNvSpPr/>
          <p:nvPr/>
        </p:nvSpPr>
        <p:spPr>
          <a:xfrm>
            <a:off x="7419703" y="0"/>
            <a:ext cx="4772297" cy="686937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41" name="Oval 40">
            <a:extLst>
              <a:ext uri="{FF2B5EF4-FFF2-40B4-BE49-F238E27FC236}">
                <a16:creationId xmlns:a16="http://schemas.microsoft.com/office/drawing/2014/main" id="{1C7612A5-B499-DB78-001C-2396828335B3}"/>
              </a:ext>
            </a:extLst>
          </p:cNvPr>
          <p:cNvSpPr/>
          <p:nvPr/>
        </p:nvSpPr>
        <p:spPr>
          <a:xfrm>
            <a:off x="1083476" y="3505840"/>
            <a:ext cx="2323560" cy="232356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75" name="Cloud fill">
            <a:extLst>
              <a:ext uri="{FF2B5EF4-FFF2-40B4-BE49-F238E27FC236}">
                <a16:creationId xmlns:a16="http://schemas.microsoft.com/office/drawing/2014/main" id="{36A34260-2868-0B25-95D3-7A59785EE2DC}"/>
              </a:ext>
            </a:extLst>
          </p:cNvPr>
          <p:cNvSpPr>
            <a:spLocks noChangeAspect="1"/>
          </p:cNvSpPr>
          <p:nvPr/>
        </p:nvSpPr>
        <p:spPr>
          <a:xfrm>
            <a:off x="1572491" y="4609540"/>
            <a:ext cx="1177637" cy="624693"/>
          </a:xfrm>
          <a:custGeom>
            <a:avLst/>
            <a:gdLst>
              <a:gd name="connsiteX0" fmla="*/ 729999 w 850394"/>
              <a:gd name="connsiteY0" fmla="*/ 213360 h 451104"/>
              <a:gd name="connsiteX1" fmla="*/ 729999 w 850394"/>
              <a:gd name="connsiteY1" fmla="*/ 213360 h 451104"/>
              <a:gd name="connsiteX2" fmla="*/ 598934 w 850394"/>
              <a:gd name="connsiteY2" fmla="*/ 88392 h 451104"/>
              <a:gd name="connsiteX3" fmla="*/ 592838 w 850394"/>
              <a:gd name="connsiteY3" fmla="*/ 88392 h 451104"/>
              <a:gd name="connsiteX4" fmla="*/ 588266 w 850394"/>
              <a:gd name="connsiteY4" fmla="*/ 88392 h 451104"/>
              <a:gd name="connsiteX5" fmla="*/ 588266 w 850394"/>
              <a:gd name="connsiteY5" fmla="*/ 88392 h 451104"/>
              <a:gd name="connsiteX6" fmla="*/ 588266 w 850394"/>
              <a:gd name="connsiteY6" fmla="*/ 88392 h 451104"/>
              <a:gd name="connsiteX7" fmla="*/ 545594 w 850394"/>
              <a:gd name="connsiteY7" fmla="*/ 94488 h 451104"/>
              <a:gd name="connsiteX8" fmla="*/ 362713 w 850394"/>
              <a:gd name="connsiteY8" fmla="*/ 0 h 451104"/>
              <a:gd name="connsiteX9" fmla="*/ 362713 w 850394"/>
              <a:gd name="connsiteY9" fmla="*/ 0 h 451104"/>
              <a:gd name="connsiteX10" fmla="*/ 362713 w 850394"/>
              <a:gd name="connsiteY10" fmla="*/ 0 h 451104"/>
              <a:gd name="connsiteX11" fmla="*/ 353569 w 850394"/>
              <a:gd name="connsiteY11" fmla="*/ 0 h 451104"/>
              <a:gd name="connsiteX12" fmla="*/ 342901 w 850394"/>
              <a:gd name="connsiteY12" fmla="*/ 0 h 451104"/>
              <a:gd name="connsiteX13" fmla="*/ 326137 w 850394"/>
              <a:gd name="connsiteY13" fmla="*/ 1524 h 451104"/>
              <a:gd name="connsiteX14" fmla="*/ 324613 w 850394"/>
              <a:gd name="connsiteY14" fmla="*/ 1524 h 451104"/>
              <a:gd name="connsiteX15" fmla="*/ 138685 w 850394"/>
              <a:gd name="connsiteY15" fmla="*/ 213360 h 451104"/>
              <a:gd name="connsiteX16" fmla="*/ 118872 w 850394"/>
              <a:gd name="connsiteY16" fmla="*/ 213360 h 451104"/>
              <a:gd name="connsiteX17" fmla="*/ 0 w 850394"/>
              <a:gd name="connsiteY17" fmla="*/ 332232 h 451104"/>
              <a:gd name="connsiteX18" fmla="*/ 118872 w 850394"/>
              <a:gd name="connsiteY18" fmla="*/ 451104 h 451104"/>
              <a:gd name="connsiteX19" fmla="*/ 147829 w 850394"/>
              <a:gd name="connsiteY19" fmla="*/ 451104 h 451104"/>
              <a:gd name="connsiteX20" fmla="*/ 147829 w 850394"/>
              <a:gd name="connsiteY20" fmla="*/ 451104 h 451104"/>
              <a:gd name="connsiteX21" fmla="*/ 731523 w 850394"/>
              <a:gd name="connsiteY21" fmla="*/ 451104 h 451104"/>
              <a:gd name="connsiteX22" fmla="*/ 850395 w 850394"/>
              <a:gd name="connsiteY22" fmla="*/ 332232 h 451104"/>
              <a:gd name="connsiteX23" fmla="*/ 729999 w 850394"/>
              <a:gd name="connsiteY23" fmla="*/ 213360 h 45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0394" h="451104">
                <a:moveTo>
                  <a:pt x="729999" y="213360"/>
                </a:moveTo>
                <a:lnTo>
                  <a:pt x="729999" y="213360"/>
                </a:lnTo>
                <a:cubicBezTo>
                  <a:pt x="722379" y="146304"/>
                  <a:pt x="667514" y="92964"/>
                  <a:pt x="598934" y="88392"/>
                </a:cubicBezTo>
                <a:cubicBezTo>
                  <a:pt x="597410" y="88392"/>
                  <a:pt x="595886" y="88392"/>
                  <a:pt x="592838" y="88392"/>
                </a:cubicBezTo>
                <a:cubicBezTo>
                  <a:pt x="591314" y="88392"/>
                  <a:pt x="589790" y="88392"/>
                  <a:pt x="588266" y="88392"/>
                </a:cubicBezTo>
                <a:cubicBezTo>
                  <a:pt x="588266" y="88392"/>
                  <a:pt x="588266" y="88392"/>
                  <a:pt x="588266" y="88392"/>
                </a:cubicBezTo>
                <a:cubicBezTo>
                  <a:pt x="588266" y="88392"/>
                  <a:pt x="588266" y="88392"/>
                  <a:pt x="588266" y="88392"/>
                </a:cubicBezTo>
                <a:cubicBezTo>
                  <a:pt x="573026" y="88392"/>
                  <a:pt x="559310" y="91440"/>
                  <a:pt x="545594" y="94488"/>
                </a:cubicBezTo>
                <a:cubicBezTo>
                  <a:pt x="504446" y="36576"/>
                  <a:pt x="438914" y="0"/>
                  <a:pt x="362713" y="0"/>
                </a:cubicBezTo>
                <a:cubicBezTo>
                  <a:pt x="362713" y="0"/>
                  <a:pt x="362713" y="0"/>
                  <a:pt x="362713" y="0"/>
                </a:cubicBezTo>
                <a:cubicBezTo>
                  <a:pt x="362713" y="0"/>
                  <a:pt x="362713" y="0"/>
                  <a:pt x="362713" y="0"/>
                </a:cubicBezTo>
                <a:cubicBezTo>
                  <a:pt x="359665" y="0"/>
                  <a:pt x="356617" y="0"/>
                  <a:pt x="353569" y="0"/>
                </a:cubicBezTo>
                <a:cubicBezTo>
                  <a:pt x="350521" y="0"/>
                  <a:pt x="345949" y="0"/>
                  <a:pt x="342901" y="0"/>
                </a:cubicBezTo>
                <a:cubicBezTo>
                  <a:pt x="336805" y="0"/>
                  <a:pt x="330709" y="1524"/>
                  <a:pt x="326137" y="1524"/>
                </a:cubicBezTo>
                <a:cubicBezTo>
                  <a:pt x="326137" y="1524"/>
                  <a:pt x="324613" y="1524"/>
                  <a:pt x="324613" y="1524"/>
                </a:cubicBezTo>
                <a:cubicBezTo>
                  <a:pt x="220981" y="19812"/>
                  <a:pt x="141733" y="106680"/>
                  <a:pt x="138685" y="213360"/>
                </a:cubicBezTo>
                <a:lnTo>
                  <a:pt x="118872" y="213360"/>
                </a:lnTo>
                <a:cubicBezTo>
                  <a:pt x="53340" y="213360"/>
                  <a:pt x="0" y="266700"/>
                  <a:pt x="0" y="332232"/>
                </a:cubicBezTo>
                <a:cubicBezTo>
                  <a:pt x="0" y="397764"/>
                  <a:pt x="53340" y="451104"/>
                  <a:pt x="118872" y="451104"/>
                </a:cubicBezTo>
                <a:lnTo>
                  <a:pt x="147829" y="451104"/>
                </a:lnTo>
                <a:lnTo>
                  <a:pt x="147829" y="451104"/>
                </a:lnTo>
                <a:lnTo>
                  <a:pt x="731523" y="451104"/>
                </a:lnTo>
                <a:cubicBezTo>
                  <a:pt x="797055" y="451104"/>
                  <a:pt x="850395" y="397764"/>
                  <a:pt x="850395" y="332232"/>
                </a:cubicBezTo>
                <a:cubicBezTo>
                  <a:pt x="847347" y="266700"/>
                  <a:pt x="795531" y="213360"/>
                  <a:pt x="729999" y="213360"/>
                </a:cubicBezTo>
                <a:close/>
              </a:path>
            </a:pathLst>
          </a:custGeom>
          <a:solidFill>
            <a:schemeClr val="accent1"/>
          </a:solidFill>
          <a:ln w="19050" cap="flat">
            <a:noFill/>
            <a:prstDash val="solid"/>
            <a:miter/>
          </a:ln>
        </p:spPr>
        <p:txBody>
          <a:bodyPr wrap="none" lIns="0" tIns="45720" rIns="0" bIns="0"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F4F4F"/>
              </a:solidFill>
              <a:effectLst/>
              <a:uLnTx/>
              <a:uFillTx/>
              <a:latin typeface="Lato"/>
              <a:ea typeface="+mn-ea"/>
              <a:cs typeface="+mn-cs"/>
            </a:endParaRPr>
          </a:p>
        </p:txBody>
      </p:sp>
      <p:sp>
        <p:nvSpPr>
          <p:cNvPr id="2" name="Title 1">
            <a:extLst>
              <a:ext uri="{FF2B5EF4-FFF2-40B4-BE49-F238E27FC236}">
                <a16:creationId xmlns:a16="http://schemas.microsoft.com/office/drawing/2014/main" id="{F3FB6497-8BC9-A743-97E1-2E706B2B64FE}"/>
              </a:ext>
            </a:extLst>
          </p:cNvPr>
          <p:cNvSpPr>
            <a:spLocks noGrp="1"/>
          </p:cNvSpPr>
          <p:nvPr>
            <p:ph type="title"/>
          </p:nvPr>
        </p:nvSpPr>
        <p:spPr/>
        <p:txBody>
          <a:bodyPr/>
          <a:lstStyle/>
          <a:p>
            <a:r>
              <a:rPr lang="en-US"/>
              <a:t>Marvis Minis — Only AI Native Digital Experience Twin</a:t>
            </a:r>
          </a:p>
        </p:txBody>
      </p:sp>
      <p:sp>
        <p:nvSpPr>
          <p:cNvPr id="6" name="TextBox 5">
            <a:extLst>
              <a:ext uri="{FF2B5EF4-FFF2-40B4-BE49-F238E27FC236}">
                <a16:creationId xmlns:a16="http://schemas.microsoft.com/office/drawing/2014/main" id="{9EE6309E-456F-DADE-314F-75722C0223F4}"/>
              </a:ext>
            </a:extLst>
          </p:cNvPr>
          <p:cNvSpPr txBox="1"/>
          <p:nvPr/>
        </p:nvSpPr>
        <p:spPr>
          <a:xfrm>
            <a:off x="628438" y="1561407"/>
            <a:ext cx="5589399" cy="123880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US" sz="3200" b="1" i="0" u="none" strike="noStrike" kern="1200" cap="none" spc="0" normalizeH="0" baseline="0" noProof="0">
                <a:ln>
                  <a:noFill/>
                </a:ln>
                <a:solidFill>
                  <a:srgbClr val="A2BF30"/>
                </a:solidFill>
                <a:effectLst/>
                <a:uLnTx/>
                <a:uFillTx/>
                <a:latin typeface="Lato"/>
                <a:ea typeface="Lato"/>
                <a:cs typeface="Lato"/>
              </a:rPr>
              <a:t>How is it unique?</a:t>
            </a:r>
          </a:p>
          <a:p>
            <a:pPr marL="0" marR="0" lvl="0" indent="0" algn="l" defTabSz="914377"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Lato" panose="020F0502020204030203" pitchFamily="34" charset="0"/>
                <a:ea typeface="+mn-ea"/>
                <a:cs typeface="+mn-cs"/>
              </a:rPr>
              <a:t>Fully integrated with Mist AI engine: </a:t>
            </a:r>
            <a:r>
              <a:rPr kumimoji="0" lang="en-US" sz="1800" b="0" i="0" u="none" strike="noStrike" kern="1200" cap="none" spc="0" normalizeH="0" baseline="0" noProof="0">
                <a:ln>
                  <a:noFill/>
                </a:ln>
                <a:solidFill>
                  <a:srgbClr val="FFFFFF"/>
                </a:solidFill>
                <a:effectLst/>
                <a:uLnTx/>
                <a:uFillTx/>
                <a:latin typeface="Lato" panose="020F0502020204030203" pitchFamily="34" charset="0"/>
                <a:ea typeface="+mn-ea"/>
                <a:cs typeface="+mn-cs"/>
              </a:rPr>
              <a:t>p</a:t>
            </a:r>
            <a:r>
              <a:rPr kumimoji="0" lang="en-US" sz="1800" b="0" i="0" u="none" strike="noStrike" kern="1200" cap="none" spc="0" normalizeH="0" baseline="0" noProof="0">
                <a:ln>
                  <a:noFill/>
                </a:ln>
                <a:solidFill>
                  <a:srgbClr val="FFFFFF"/>
                </a:solidFill>
                <a:effectLst/>
                <a:uLnTx/>
                <a:uFillTx/>
                <a:latin typeface="Lato"/>
                <a:ea typeface="Lato"/>
                <a:cs typeface="Lato"/>
              </a:rPr>
              <a:t>rovides a new data feed into Marvis, enriching all existing AI models. </a:t>
            </a:r>
            <a:endParaRPr kumimoji="0" lang="en-US" sz="1800" b="0" i="0" u="none" strike="noStrike" kern="120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8" name="Freeform: Shape 10">
            <a:extLst>
              <a:ext uri="{FF2B5EF4-FFF2-40B4-BE49-F238E27FC236}">
                <a16:creationId xmlns:a16="http://schemas.microsoft.com/office/drawing/2014/main" id="{E2860C61-F33D-41D8-F8A5-B8210DB2845E}"/>
              </a:ext>
            </a:extLst>
          </p:cNvPr>
          <p:cNvSpPr/>
          <p:nvPr/>
        </p:nvSpPr>
        <p:spPr>
          <a:xfrm flipH="1">
            <a:off x="4080788" y="4916106"/>
            <a:ext cx="784016" cy="153201"/>
          </a:xfrm>
          <a:custGeom>
            <a:avLst/>
            <a:gdLst>
              <a:gd name="connsiteX0" fmla="*/ 942536 w 942536"/>
              <a:gd name="connsiteY0" fmla="*/ 1083213 h 1083213"/>
              <a:gd name="connsiteX1" fmla="*/ 0 w 942536"/>
              <a:gd name="connsiteY1" fmla="*/ 1083213 h 1083213"/>
              <a:gd name="connsiteX2" fmla="*/ 0 w 942536"/>
              <a:gd name="connsiteY2" fmla="*/ 0 h 1083213"/>
            </a:gdLst>
            <a:ahLst/>
            <a:cxnLst>
              <a:cxn ang="0">
                <a:pos x="connsiteX0" y="connsiteY0"/>
              </a:cxn>
              <a:cxn ang="0">
                <a:pos x="connsiteX1" y="connsiteY1"/>
              </a:cxn>
              <a:cxn ang="0">
                <a:pos x="connsiteX2" y="connsiteY2"/>
              </a:cxn>
            </a:cxnLst>
            <a:rect l="l" t="t" r="r" b="b"/>
            <a:pathLst>
              <a:path w="942536" h="1083213">
                <a:moveTo>
                  <a:pt x="942536" y="1083213"/>
                </a:moveTo>
                <a:lnTo>
                  <a:pt x="0" y="1083213"/>
                </a:lnTo>
                <a:lnTo>
                  <a:pt x="0" y="0"/>
                </a:lnTo>
              </a:path>
            </a:pathLst>
          </a:custGeom>
          <a:noFill/>
          <a:ln w="19050" cap="flat" cmpd="sng" algn="ctr">
            <a:solidFill>
              <a:schemeClr val="accent1"/>
            </a:solidFill>
            <a:prstDash val="sysDash"/>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19" name="Freeform: Shape 10">
            <a:extLst>
              <a:ext uri="{FF2B5EF4-FFF2-40B4-BE49-F238E27FC236}">
                <a16:creationId xmlns:a16="http://schemas.microsoft.com/office/drawing/2014/main" id="{0D1E4358-A5CC-24C9-FAE1-980983A4C128}"/>
              </a:ext>
            </a:extLst>
          </p:cNvPr>
          <p:cNvSpPr/>
          <p:nvPr/>
        </p:nvSpPr>
        <p:spPr>
          <a:xfrm rot="16200000" flipH="1" flipV="1">
            <a:off x="3938356" y="3844180"/>
            <a:ext cx="421264" cy="474059"/>
          </a:xfrm>
          <a:custGeom>
            <a:avLst/>
            <a:gdLst>
              <a:gd name="connsiteX0" fmla="*/ 942536 w 942536"/>
              <a:gd name="connsiteY0" fmla="*/ 1083213 h 1083213"/>
              <a:gd name="connsiteX1" fmla="*/ 0 w 942536"/>
              <a:gd name="connsiteY1" fmla="*/ 1083213 h 1083213"/>
              <a:gd name="connsiteX2" fmla="*/ 0 w 942536"/>
              <a:gd name="connsiteY2" fmla="*/ 0 h 1083213"/>
            </a:gdLst>
            <a:ahLst/>
            <a:cxnLst>
              <a:cxn ang="0">
                <a:pos x="connsiteX0" y="connsiteY0"/>
              </a:cxn>
              <a:cxn ang="0">
                <a:pos x="connsiteX1" y="connsiteY1"/>
              </a:cxn>
              <a:cxn ang="0">
                <a:pos x="connsiteX2" y="connsiteY2"/>
              </a:cxn>
            </a:cxnLst>
            <a:rect l="l" t="t" r="r" b="b"/>
            <a:pathLst>
              <a:path w="942536" h="1083213">
                <a:moveTo>
                  <a:pt x="942536" y="1083213"/>
                </a:moveTo>
                <a:lnTo>
                  <a:pt x="0" y="1083213"/>
                </a:lnTo>
                <a:lnTo>
                  <a:pt x="0" y="0"/>
                </a:lnTo>
              </a:path>
            </a:pathLst>
          </a:custGeom>
          <a:noFill/>
          <a:ln w="19050" cap="flat" cmpd="sng" algn="ctr">
            <a:solidFill>
              <a:schemeClr val="accent1"/>
            </a:solidFill>
            <a:prstDash val="sysDash"/>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20" name="Freeform: Shape 10">
            <a:extLst>
              <a:ext uri="{FF2B5EF4-FFF2-40B4-BE49-F238E27FC236}">
                <a16:creationId xmlns:a16="http://schemas.microsoft.com/office/drawing/2014/main" id="{1E2B0941-6FFD-BCF6-A5EF-4B2CF45EFD73}"/>
              </a:ext>
            </a:extLst>
          </p:cNvPr>
          <p:cNvSpPr/>
          <p:nvPr/>
        </p:nvSpPr>
        <p:spPr>
          <a:xfrm rot="16200000" flipH="1" flipV="1">
            <a:off x="4310549" y="4356774"/>
            <a:ext cx="855171" cy="569894"/>
          </a:xfrm>
          <a:custGeom>
            <a:avLst/>
            <a:gdLst>
              <a:gd name="connsiteX0" fmla="*/ 942536 w 942536"/>
              <a:gd name="connsiteY0" fmla="*/ 1083213 h 1083213"/>
              <a:gd name="connsiteX1" fmla="*/ 0 w 942536"/>
              <a:gd name="connsiteY1" fmla="*/ 1083213 h 1083213"/>
              <a:gd name="connsiteX2" fmla="*/ 0 w 942536"/>
              <a:gd name="connsiteY2" fmla="*/ 0 h 1083213"/>
            </a:gdLst>
            <a:ahLst/>
            <a:cxnLst>
              <a:cxn ang="0">
                <a:pos x="connsiteX0" y="connsiteY0"/>
              </a:cxn>
              <a:cxn ang="0">
                <a:pos x="connsiteX1" y="connsiteY1"/>
              </a:cxn>
              <a:cxn ang="0">
                <a:pos x="connsiteX2" y="connsiteY2"/>
              </a:cxn>
            </a:cxnLst>
            <a:rect l="l" t="t" r="r" b="b"/>
            <a:pathLst>
              <a:path w="942536" h="1083213">
                <a:moveTo>
                  <a:pt x="942536" y="1083213"/>
                </a:moveTo>
                <a:lnTo>
                  <a:pt x="0" y="1083213"/>
                </a:lnTo>
                <a:lnTo>
                  <a:pt x="0" y="0"/>
                </a:lnTo>
              </a:path>
            </a:pathLst>
          </a:custGeom>
          <a:noFill/>
          <a:ln w="19050" cap="flat" cmpd="sng" algn="ctr">
            <a:solidFill>
              <a:schemeClr val="accent1"/>
            </a:solidFill>
            <a:prstDash val="sysDash"/>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grpSp>
        <p:nvGrpSpPr>
          <p:cNvPr id="32" name="Group 31">
            <a:extLst>
              <a:ext uri="{FF2B5EF4-FFF2-40B4-BE49-F238E27FC236}">
                <a16:creationId xmlns:a16="http://schemas.microsoft.com/office/drawing/2014/main" id="{26A42AE0-3C53-6626-A749-700C279C1145}"/>
              </a:ext>
            </a:extLst>
          </p:cNvPr>
          <p:cNvGrpSpPr/>
          <p:nvPr/>
        </p:nvGrpSpPr>
        <p:grpSpPr>
          <a:xfrm>
            <a:off x="713829" y="3157939"/>
            <a:ext cx="3019364" cy="3019362"/>
            <a:chOff x="6048759" y="642710"/>
            <a:chExt cx="4924610" cy="4924610"/>
          </a:xfrm>
        </p:grpSpPr>
        <p:sp>
          <p:nvSpPr>
            <p:cNvPr id="33" name="Arc 32">
              <a:extLst>
                <a:ext uri="{FF2B5EF4-FFF2-40B4-BE49-F238E27FC236}">
                  <a16:creationId xmlns:a16="http://schemas.microsoft.com/office/drawing/2014/main" id="{35A9C9E5-7397-FCB6-73AC-C95E9F6A30A3}"/>
                </a:ext>
              </a:extLst>
            </p:cNvPr>
            <p:cNvSpPr>
              <a:spLocks noChangeAspect="1"/>
            </p:cNvSpPr>
            <p:nvPr/>
          </p:nvSpPr>
          <p:spPr>
            <a:xfrm>
              <a:off x="6048759" y="642710"/>
              <a:ext cx="4924610" cy="4924610"/>
            </a:xfrm>
            <a:prstGeom prst="arc">
              <a:avLst>
                <a:gd name="adj1" fmla="val 6775540"/>
                <a:gd name="adj2" fmla="val 8410708"/>
              </a:avLst>
            </a:prstGeom>
            <a:noFill/>
            <a:ln w="38100" cap="rnd" cmpd="sng" algn="ctr">
              <a:solidFill>
                <a:schemeClr val="accent3"/>
              </a:solidFill>
              <a:prstDash val="solid"/>
              <a:miter lim="800000"/>
              <a:headEnd type="none"/>
              <a:tailEnd type="none" w="lg" len="me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34" name="Arc 33">
              <a:extLst>
                <a:ext uri="{FF2B5EF4-FFF2-40B4-BE49-F238E27FC236}">
                  <a16:creationId xmlns:a16="http://schemas.microsoft.com/office/drawing/2014/main" id="{B6B7E4D5-0459-8105-D477-F81B0FA79972}"/>
                </a:ext>
              </a:extLst>
            </p:cNvPr>
            <p:cNvSpPr>
              <a:spLocks noChangeAspect="1"/>
            </p:cNvSpPr>
            <p:nvPr/>
          </p:nvSpPr>
          <p:spPr>
            <a:xfrm>
              <a:off x="6048759" y="642710"/>
              <a:ext cx="4924610" cy="4924610"/>
            </a:xfrm>
            <a:prstGeom prst="arc">
              <a:avLst>
                <a:gd name="adj1" fmla="val 10822782"/>
                <a:gd name="adj2" fmla="val 16568414"/>
              </a:avLst>
            </a:prstGeom>
            <a:noFill/>
            <a:ln w="38100" cap="rnd" cmpd="sng" algn="ctr">
              <a:solidFill>
                <a:schemeClr val="accent3"/>
              </a:solidFill>
              <a:prstDash val="solid"/>
              <a:miter lim="800000"/>
              <a:headEnd type="none"/>
              <a:tailEnd type="arrow" w="lg" len="me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sp>
          <p:nvSpPr>
            <p:cNvPr id="35" name="Arc 34">
              <a:extLst>
                <a:ext uri="{FF2B5EF4-FFF2-40B4-BE49-F238E27FC236}">
                  <a16:creationId xmlns:a16="http://schemas.microsoft.com/office/drawing/2014/main" id="{D023DE6C-6DBB-BA33-EC6C-2C5C41D0ECFD}"/>
                </a:ext>
              </a:extLst>
            </p:cNvPr>
            <p:cNvSpPr>
              <a:spLocks noChangeAspect="1"/>
            </p:cNvSpPr>
            <p:nvPr/>
          </p:nvSpPr>
          <p:spPr>
            <a:xfrm>
              <a:off x="6048759" y="642710"/>
              <a:ext cx="4924610" cy="4924610"/>
            </a:xfrm>
            <a:prstGeom prst="arc">
              <a:avLst>
                <a:gd name="adj1" fmla="val 2664507"/>
                <a:gd name="adj2" fmla="val 5855922"/>
              </a:avLst>
            </a:prstGeom>
            <a:noFill/>
            <a:ln w="38100" cap="rnd" cmpd="sng" algn="ctr">
              <a:solidFill>
                <a:schemeClr val="accent3"/>
              </a:solidFill>
              <a:prstDash val="solid"/>
              <a:miter lim="800000"/>
              <a:headEnd type="none"/>
              <a:tailEnd type="non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a:ea typeface="+mn-ea"/>
                <a:cs typeface="+mn-cs"/>
              </a:endParaRPr>
            </a:p>
          </p:txBody>
        </p:sp>
      </p:grpSp>
      <p:sp>
        <p:nvSpPr>
          <p:cNvPr id="47" name="TextBox 46" hidden="1">
            <a:extLst>
              <a:ext uri="{FF2B5EF4-FFF2-40B4-BE49-F238E27FC236}">
                <a16:creationId xmlns:a16="http://schemas.microsoft.com/office/drawing/2014/main" id="{60E7831C-6855-4023-A707-2C6DB34D23D6}"/>
              </a:ext>
            </a:extLst>
          </p:cNvPr>
          <p:cNvSpPr txBox="1"/>
          <p:nvPr/>
        </p:nvSpPr>
        <p:spPr>
          <a:xfrm>
            <a:off x="12325873" y="1280160"/>
            <a:ext cx="3474720" cy="4023360"/>
          </a:xfrm>
          <a:prstGeom prst="rect">
            <a:avLst/>
          </a:prstGeom>
          <a:noFill/>
        </p:spPr>
        <p:txBody>
          <a:bodyPr wrap="square" lIns="0" tIns="0" rIns="0" bIns="0" numCol="1" anchor="t" anchorCtr="0">
            <a:noAutofit/>
          </a:bodyPr>
          <a:lstStyle/>
          <a:p>
            <a:pPr marL="320040" marR="0" lvl="0" indent="-320040" algn="l" defTabSz="914377" rtl="0" eaLnBrk="1" fontAlgn="auto" latinLnBrk="0" hangingPunct="1">
              <a:lnSpc>
                <a:spcPct val="100000"/>
              </a:lnSpc>
              <a:spcBef>
                <a:spcPts val="0"/>
              </a:spcBef>
              <a:spcAft>
                <a:spcPts val="1200"/>
              </a:spcAft>
              <a:buClr>
                <a:srgbClr val="00CBA1"/>
              </a:buClr>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a:ln>
                  <a:noFill/>
                </a:ln>
                <a:solidFill>
                  <a:srgbClr val="000000"/>
                </a:solidFill>
                <a:effectLst/>
                <a:uLnTx/>
                <a:uFillTx/>
                <a:latin typeface="Lato"/>
                <a:ea typeface="Lato"/>
                <a:cs typeface="Lato"/>
              </a:rPr>
              <a:t>Constant contextual learning: no need for manual configuration/adjustment</a:t>
            </a:r>
          </a:p>
          <a:p>
            <a:pPr marL="320040" marR="0" lvl="0" indent="-320040" algn="l" defTabSz="914377" rtl="0" eaLnBrk="1" fontAlgn="auto" latinLnBrk="0" hangingPunct="1">
              <a:lnSpc>
                <a:spcPct val="100000"/>
              </a:lnSpc>
              <a:spcBef>
                <a:spcPts val="0"/>
              </a:spcBef>
              <a:spcAft>
                <a:spcPts val="1200"/>
              </a:spcAft>
              <a:buClr>
                <a:srgbClr val="00CBA1"/>
              </a:buClr>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a:ln>
                  <a:noFill/>
                </a:ln>
                <a:solidFill>
                  <a:srgbClr val="000000"/>
                </a:solidFill>
                <a:effectLst/>
                <a:uLnTx/>
                <a:uFillTx/>
                <a:latin typeface="Lato"/>
                <a:ea typeface="Lato"/>
                <a:cs typeface="Lato"/>
              </a:rPr>
              <a:t>Always on; and can be initiated on-demand</a:t>
            </a:r>
          </a:p>
          <a:p>
            <a:pPr marL="320040" marR="0" lvl="0" indent="-320040" algn="l" defTabSz="914377" rtl="0" eaLnBrk="1" fontAlgn="auto" latinLnBrk="0" hangingPunct="1">
              <a:lnSpc>
                <a:spcPct val="100000"/>
              </a:lnSpc>
              <a:spcBef>
                <a:spcPts val="0"/>
              </a:spcBef>
              <a:spcAft>
                <a:spcPts val="1200"/>
              </a:spcAft>
              <a:buClr>
                <a:srgbClr val="00CBA1"/>
              </a:buClr>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a:ln>
                  <a:noFill/>
                </a:ln>
                <a:solidFill>
                  <a:srgbClr val="000000"/>
                </a:solidFill>
                <a:effectLst/>
                <a:uLnTx/>
                <a:uFillTx/>
                <a:latin typeface="Lato"/>
                <a:ea typeface="Lato"/>
                <a:cs typeface="Lato"/>
              </a:rPr>
              <a:t>No additional hardware or software (part of Marvis VNA on existing network)</a:t>
            </a:r>
          </a:p>
          <a:p>
            <a:pPr marL="320040" marR="0" lvl="0" indent="-320040" algn="l" defTabSz="914377" rtl="0" eaLnBrk="1" fontAlgn="auto" latinLnBrk="0" hangingPunct="1">
              <a:lnSpc>
                <a:spcPct val="100000"/>
              </a:lnSpc>
              <a:spcBef>
                <a:spcPts val="0"/>
              </a:spcBef>
              <a:spcAft>
                <a:spcPts val="1200"/>
              </a:spcAft>
              <a:buClr>
                <a:srgbClr val="00CBA1"/>
              </a:buClr>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a:ln>
                  <a:noFill/>
                </a:ln>
                <a:solidFill>
                  <a:srgbClr val="000000"/>
                </a:solidFill>
                <a:effectLst/>
                <a:uLnTx/>
                <a:uFillTx/>
                <a:latin typeface="Lato"/>
                <a:ea typeface="Lato"/>
                <a:cs typeface="Lato"/>
              </a:rPr>
              <a:t>Dynamic PCAP for failures of Digital Experience Twin user experience</a:t>
            </a:r>
          </a:p>
          <a:p>
            <a:pPr marL="320040" marR="0" lvl="0" indent="-320040" algn="l" defTabSz="914377" rtl="0" eaLnBrk="1" fontAlgn="auto" latinLnBrk="0" hangingPunct="1">
              <a:lnSpc>
                <a:spcPct val="100000"/>
              </a:lnSpc>
              <a:spcBef>
                <a:spcPts val="0"/>
              </a:spcBef>
              <a:spcAft>
                <a:spcPts val="1200"/>
              </a:spcAft>
              <a:buClr>
                <a:srgbClr val="00CBA1"/>
              </a:buClr>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a:ln>
                  <a:noFill/>
                </a:ln>
                <a:solidFill>
                  <a:srgbClr val="000000"/>
                </a:solidFill>
                <a:effectLst/>
                <a:uLnTx/>
                <a:uFillTx/>
                <a:latin typeface="Lato"/>
                <a:ea typeface="Lato"/>
                <a:cs typeface="Lato"/>
              </a:rPr>
              <a:t>Adds/moves/changes validated in seconds vs. days</a:t>
            </a:r>
          </a:p>
        </p:txBody>
      </p:sp>
      <p:grpSp>
        <p:nvGrpSpPr>
          <p:cNvPr id="54" name="Group 53">
            <a:extLst>
              <a:ext uri="{FF2B5EF4-FFF2-40B4-BE49-F238E27FC236}">
                <a16:creationId xmlns:a16="http://schemas.microsoft.com/office/drawing/2014/main" id="{CD599570-11D6-A55F-0387-49C6B84D1275}"/>
              </a:ext>
            </a:extLst>
          </p:cNvPr>
          <p:cNvGrpSpPr/>
          <p:nvPr/>
        </p:nvGrpSpPr>
        <p:grpSpPr>
          <a:xfrm>
            <a:off x="4193701" y="3681574"/>
            <a:ext cx="379197" cy="364885"/>
            <a:chOff x="7086600" y="2090836"/>
            <a:chExt cx="379197" cy="364885"/>
          </a:xfrm>
        </p:grpSpPr>
        <p:sp>
          <p:nvSpPr>
            <p:cNvPr id="55" name="Freeform: Shape 54">
              <a:extLst>
                <a:ext uri="{FF2B5EF4-FFF2-40B4-BE49-F238E27FC236}">
                  <a16:creationId xmlns:a16="http://schemas.microsoft.com/office/drawing/2014/main" id="{48990F5D-752B-34DF-44F9-29F13CF42C11}"/>
                </a:ext>
              </a:extLst>
            </p:cNvPr>
            <p:cNvSpPr/>
            <p:nvPr/>
          </p:nvSpPr>
          <p:spPr>
            <a:xfrm>
              <a:off x="7086600" y="2090836"/>
              <a:ext cx="379197" cy="364885"/>
            </a:xfrm>
            <a:custGeom>
              <a:avLst/>
              <a:gdLst>
                <a:gd name="connsiteX0" fmla="*/ 320835 w 379197"/>
                <a:gd name="connsiteY0" fmla="*/ 0 h 364885"/>
                <a:gd name="connsiteX1" fmla="*/ 379197 w 379197"/>
                <a:gd name="connsiteY1" fmla="*/ 58363 h 364885"/>
                <a:gd name="connsiteX2" fmla="*/ 379197 w 379197"/>
                <a:gd name="connsiteY2" fmla="*/ 306523 h 364885"/>
                <a:gd name="connsiteX3" fmla="*/ 320835 w 379197"/>
                <a:gd name="connsiteY3" fmla="*/ 364885 h 364885"/>
                <a:gd name="connsiteX4" fmla="*/ 58362 w 379197"/>
                <a:gd name="connsiteY4" fmla="*/ 364885 h 364885"/>
                <a:gd name="connsiteX5" fmla="*/ 0 w 379197"/>
                <a:gd name="connsiteY5" fmla="*/ 306523 h 364885"/>
                <a:gd name="connsiteX6" fmla="*/ 0 w 379197"/>
                <a:gd name="connsiteY6" fmla="*/ 58363 h 364885"/>
                <a:gd name="connsiteX7" fmla="*/ 58362 w 379197"/>
                <a:gd name="connsiteY7" fmla="*/ 0 h 36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7" h="364885">
                  <a:moveTo>
                    <a:pt x="320835" y="0"/>
                  </a:moveTo>
                  <a:cubicBezTo>
                    <a:pt x="353067" y="0"/>
                    <a:pt x="379197" y="26130"/>
                    <a:pt x="379197" y="58363"/>
                  </a:cubicBezTo>
                  <a:lnTo>
                    <a:pt x="379197" y="306523"/>
                  </a:lnTo>
                  <a:cubicBezTo>
                    <a:pt x="379197" y="338756"/>
                    <a:pt x="353067" y="364885"/>
                    <a:pt x="320835" y="364885"/>
                  </a:cubicBezTo>
                  <a:lnTo>
                    <a:pt x="58362" y="364885"/>
                  </a:lnTo>
                  <a:cubicBezTo>
                    <a:pt x="26130" y="364885"/>
                    <a:pt x="0" y="338756"/>
                    <a:pt x="0" y="306523"/>
                  </a:cubicBezTo>
                  <a:lnTo>
                    <a:pt x="0" y="58363"/>
                  </a:lnTo>
                  <a:cubicBezTo>
                    <a:pt x="0" y="26130"/>
                    <a:pt x="26130" y="0"/>
                    <a:pt x="58362" y="0"/>
                  </a:cubicBezTo>
                  <a:close/>
                </a:path>
              </a:pathLst>
            </a:custGeom>
            <a:solidFill>
              <a:schemeClr val="accent1"/>
            </a:solidFill>
            <a:ln w="19050" cap="flat">
              <a:solidFill>
                <a:schemeClr val="accent3"/>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6" name="Freeform: Shape 55">
              <a:extLst>
                <a:ext uri="{FF2B5EF4-FFF2-40B4-BE49-F238E27FC236}">
                  <a16:creationId xmlns:a16="http://schemas.microsoft.com/office/drawing/2014/main" id="{8077E1F4-3550-BAAF-D7FA-78BD8C4CAF34}"/>
                </a:ext>
              </a:extLst>
            </p:cNvPr>
            <p:cNvSpPr/>
            <p:nvPr/>
          </p:nvSpPr>
          <p:spPr>
            <a:xfrm>
              <a:off x="7125163" y="2176710"/>
              <a:ext cx="302069" cy="137319"/>
            </a:xfrm>
            <a:custGeom>
              <a:avLst/>
              <a:gdLst>
                <a:gd name="connsiteX0" fmla="*/ 256906 w 302069"/>
                <a:gd name="connsiteY0" fmla="*/ 0 h 137319"/>
                <a:gd name="connsiteX1" fmla="*/ 302070 w 302069"/>
                <a:gd name="connsiteY1" fmla="*/ 45163 h 137319"/>
                <a:gd name="connsiteX2" fmla="*/ 302070 w 302069"/>
                <a:gd name="connsiteY2" fmla="*/ 92156 h 137319"/>
                <a:gd name="connsiteX3" fmla="*/ 256906 w 302069"/>
                <a:gd name="connsiteY3" fmla="*/ 137319 h 137319"/>
                <a:gd name="connsiteX4" fmla="*/ 45163 w 302069"/>
                <a:gd name="connsiteY4" fmla="*/ 137319 h 137319"/>
                <a:gd name="connsiteX5" fmla="*/ 0 w 302069"/>
                <a:gd name="connsiteY5" fmla="*/ 92156 h 137319"/>
                <a:gd name="connsiteX6" fmla="*/ 0 w 302069"/>
                <a:gd name="connsiteY6" fmla="*/ 45163 h 137319"/>
                <a:gd name="connsiteX7" fmla="*/ 45163 w 302069"/>
                <a:gd name="connsiteY7" fmla="*/ 0 h 13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069" h="137319">
                  <a:moveTo>
                    <a:pt x="256906" y="0"/>
                  </a:moveTo>
                  <a:cubicBezTo>
                    <a:pt x="281849" y="0"/>
                    <a:pt x="302070" y="20220"/>
                    <a:pt x="302070" y="45163"/>
                  </a:cubicBezTo>
                  <a:lnTo>
                    <a:pt x="302070" y="92156"/>
                  </a:lnTo>
                  <a:cubicBezTo>
                    <a:pt x="302070" y="117099"/>
                    <a:pt x="281849" y="137319"/>
                    <a:pt x="256906" y="137319"/>
                  </a:cubicBezTo>
                  <a:lnTo>
                    <a:pt x="45163" y="137319"/>
                  </a:lnTo>
                  <a:cubicBezTo>
                    <a:pt x="20220" y="137319"/>
                    <a:pt x="0" y="117099"/>
                    <a:pt x="0" y="92156"/>
                  </a:cubicBezTo>
                  <a:lnTo>
                    <a:pt x="0" y="45163"/>
                  </a:lnTo>
                  <a:cubicBezTo>
                    <a:pt x="0" y="20220"/>
                    <a:pt x="20220" y="0"/>
                    <a:pt x="45163" y="0"/>
                  </a:cubicBezTo>
                  <a:close/>
                </a:path>
              </a:pathLst>
            </a:custGeom>
            <a:solidFill>
              <a:schemeClr val="accent3"/>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nvGrpSpPr>
            <p:cNvPr id="57" name="Graphic 41">
              <a:extLst>
                <a:ext uri="{FF2B5EF4-FFF2-40B4-BE49-F238E27FC236}">
                  <a16:creationId xmlns:a16="http://schemas.microsoft.com/office/drawing/2014/main" id="{F04D33C8-388D-76B5-185F-8D988DBD2D82}"/>
                </a:ext>
              </a:extLst>
            </p:cNvPr>
            <p:cNvGrpSpPr/>
            <p:nvPr/>
          </p:nvGrpSpPr>
          <p:grpSpPr>
            <a:xfrm>
              <a:off x="7192511" y="2210900"/>
              <a:ext cx="167454" cy="68937"/>
              <a:chOff x="7192511" y="2210900"/>
              <a:chExt cx="167454" cy="68937"/>
            </a:xfrm>
            <a:solidFill>
              <a:srgbClr val="2D6A00"/>
            </a:solidFill>
          </p:grpSpPr>
          <p:sp>
            <p:nvSpPr>
              <p:cNvPr id="58" name="Freeform: Shape 57">
                <a:extLst>
                  <a:ext uri="{FF2B5EF4-FFF2-40B4-BE49-F238E27FC236}">
                    <a16:creationId xmlns:a16="http://schemas.microsoft.com/office/drawing/2014/main" id="{67A0281C-F776-541F-9D11-B86DEBA8F044}"/>
                  </a:ext>
                </a:extLst>
              </p:cNvPr>
              <p:cNvSpPr/>
              <p:nvPr/>
            </p:nvSpPr>
            <p:spPr>
              <a:xfrm>
                <a:off x="7308282" y="2210900"/>
                <a:ext cx="51683" cy="68937"/>
              </a:xfrm>
              <a:custGeom>
                <a:avLst/>
                <a:gdLst>
                  <a:gd name="connsiteX0" fmla="*/ 25842 w 51683"/>
                  <a:gd name="connsiteY0" fmla="*/ 0 h 68937"/>
                  <a:gd name="connsiteX1" fmla="*/ 0 w 51683"/>
                  <a:gd name="connsiteY1" fmla="*/ 25842 h 68937"/>
                  <a:gd name="connsiteX2" fmla="*/ 0 w 51683"/>
                  <a:gd name="connsiteY2" fmla="*/ 43096 h 68937"/>
                  <a:gd name="connsiteX3" fmla="*/ 25842 w 51683"/>
                  <a:gd name="connsiteY3" fmla="*/ 68938 h 68937"/>
                  <a:gd name="connsiteX4" fmla="*/ 51683 w 51683"/>
                  <a:gd name="connsiteY4" fmla="*/ 43096 h 68937"/>
                  <a:gd name="connsiteX5" fmla="*/ 51683 w 51683"/>
                  <a:gd name="connsiteY5" fmla="*/ 25842 h 68937"/>
                  <a:gd name="connsiteX6" fmla="*/ 25842 w 51683"/>
                  <a:gd name="connsiteY6" fmla="*/ 0 h 6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83" h="68937">
                    <a:moveTo>
                      <a:pt x="25842" y="0"/>
                    </a:moveTo>
                    <a:cubicBezTo>
                      <a:pt x="11609" y="0"/>
                      <a:pt x="0" y="11609"/>
                      <a:pt x="0" y="25842"/>
                    </a:cubicBezTo>
                    <a:lnTo>
                      <a:pt x="0" y="43096"/>
                    </a:lnTo>
                    <a:cubicBezTo>
                      <a:pt x="0" y="57329"/>
                      <a:pt x="11609" y="68938"/>
                      <a:pt x="25842" y="68938"/>
                    </a:cubicBezTo>
                    <a:cubicBezTo>
                      <a:pt x="40075" y="68938"/>
                      <a:pt x="51683" y="57329"/>
                      <a:pt x="51683" y="43096"/>
                    </a:cubicBezTo>
                    <a:lnTo>
                      <a:pt x="51683" y="25842"/>
                    </a:lnTo>
                    <a:cubicBezTo>
                      <a:pt x="51683" y="11609"/>
                      <a:pt x="40075" y="0"/>
                      <a:pt x="25842" y="0"/>
                    </a:cubicBezTo>
                    <a:close/>
                  </a:path>
                </a:pathLst>
              </a:custGeom>
              <a:solidFill>
                <a:srgbClr val="FFFFFE"/>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9" name="Freeform: Shape 58">
                <a:extLst>
                  <a:ext uri="{FF2B5EF4-FFF2-40B4-BE49-F238E27FC236}">
                    <a16:creationId xmlns:a16="http://schemas.microsoft.com/office/drawing/2014/main" id="{6A0A22B1-3623-D355-F565-C765F8A5DDD8}"/>
                  </a:ext>
                </a:extLst>
              </p:cNvPr>
              <p:cNvSpPr/>
              <p:nvPr/>
            </p:nvSpPr>
            <p:spPr>
              <a:xfrm>
                <a:off x="7192511" y="2210900"/>
                <a:ext cx="51683" cy="68937"/>
              </a:xfrm>
              <a:custGeom>
                <a:avLst/>
                <a:gdLst>
                  <a:gd name="connsiteX0" fmla="*/ 25842 w 51683"/>
                  <a:gd name="connsiteY0" fmla="*/ 0 h 68937"/>
                  <a:gd name="connsiteX1" fmla="*/ 0 w 51683"/>
                  <a:gd name="connsiteY1" fmla="*/ 25842 h 68937"/>
                  <a:gd name="connsiteX2" fmla="*/ 0 w 51683"/>
                  <a:gd name="connsiteY2" fmla="*/ 43096 h 68937"/>
                  <a:gd name="connsiteX3" fmla="*/ 25842 w 51683"/>
                  <a:gd name="connsiteY3" fmla="*/ 68938 h 68937"/>
                  <a:gd name="connsiteX4" fmla="*/ 51683 w 51683"/>
                  <a:gd name="connsiteY4" fmla="*/ 43096 h 68937"/>
                  <a:gd name="connsiteX5" fmla="*/ 51683 w 51683"/>
                  <a:gd name="connsiteY5" fmla="*/ 25842 h 68937"/>
                  <a:gd name="connsiteX6" fmla="*/ 25842 w 51683"/>
                  <a:gd name="connsiteY6" fmla="*/ 0 h 6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83" h="68937">
                    <a:moveTo>
                      <a:pt x="25842" y="0"/>
                    </a:moveTo>
                    <a:cubicBezTo>
                      <a:pt x="11609" y="0"/>
                      <a:pt x="0" y="11609"/>
                      <a:pt x="0" y="25842"/>
                    </a:cubicBezTo>
                    <a:lnTo>
                      <a:pt x="0" y="43096"/>
                    </a:lnTo>
                    <a:cubicBezTo>
                      <a:pt x="0" y="57329"/>
                      <a:pt x="11609" y="68938"/>
                      <a:pt x="25842" y="68938"/>
                    </a:cubicBezTo>
                    <a:cubicBezTo>
                      <a:pt x="40075" y="68938"/>
                      <a:pt x="51683" y="57329"/>
                      <a:pt x="51683" y="43096"/>
                    </a:cubicBezTo>
                    <a:lnTo>
                      <a:pt x="51683" y="25842"/>
                    </a:lnTo>
                    <a:cubicBezTo>
                      <a:pt x="51683" y="11609"/>
                      <a:pt x="40075" y="0"/>
                      <a:pt x="25842" y="0"/>
                    </a:cubicBezTo>
                    <a:close/>
                  </a:path>
                </a:pathLst>
              </a:custGeom>
              <a:solidFill>
                <a:srgbClr val="FFFFFE"/>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grpSp>
        <p:nvGrpSpPr>
          <p:cNvPr id="60" name="Group 59">
            <a:extLst>
              <a:ext uri="{FF2B5EF4-FFF2-40B4-BE49-F238E27FC236}">
                <a16:creationId xmlns:a16="http://schemas.microsoft.com/office/drawing/2014/main" id="{1495FB6F-10DF-B306-C79C-C26F9642D0DE}"/>
              </a:ext>
            </a:extLst>
          </p:cNvPr>
          <p:cNvGrpSpPr/>
          <p:nvPr/>
        </p:nvGrpSpPr>
        <p:grpSpPr>
          <a:xfrm>
            <a:off x="4838052" y="3960585"/>
            <a:ext cx="379197" cy="364885"/>
            <a:chOff x="7086600" y="2090836"/>
            <a:chExt cx="379197" cy="364885"/>
          </a:xfrm>
        </p:grpSpPr>
        <p:sp>
          <p:nvSpPr>
            <p:cNvPr id="61" name="Freeform: Shape 60">
              <a:extLst>
                <a:ext uri="{FF2B5EF4-FFF2-40B4-BE49-F238E27FC236}">
                  <a16:creationId xmlns:a16="http://schemas.microsoft.com/office/drawing/2014/main" id="{582FC12D-1BCB-BDE0-F52C-B644CE719295}"/>
                </a:ext>
              </a:extLst>
            </p:cNvPr>
            <p:cNvSpPr/>
            <p:nvPr/>
          </p:nvSpPr>
          <p:spPr>
            <a:xfrm>
              <a:off x="7086600" y="2090836"/>
              <a:ext cx="379197" cy="364885"/>
            </a:xfrm>
            <a:custGeom>
              <a:avLst/>
              <a:gdLst>
                <a:gd name="connsiteX0" fmla="*/ 320835 w 379197"/>
                <a:gd name="connsiteY0" fmla="*/ 0 h 364885"/>
                <a:gd name="connsiteX1" fmla="*/ 379197 w 379197"/>
                <a:gd name="connsiteY1" fmla="*/ 58363 h 364885"/>
                <a:gd name="connsiteX2" fmla="*/ 379197 w 379197"/>
                <a:gd name="connsiteY2" fmla="*/ 306523 h 364885"/>
                <a:gd name="connsiteX3" fmla="*/ 320835 w 379197"/>
                <a:gd name="connsiteY3" fmla="*/ 364885 h 364885"/>
                <a:gd name="connsiteX4" fmla="*/ 58362 w 379197"/>
                <a:gd name="connsiteY4" fmla="*/ 364885 h 364885"/>
                <a:gd name="connsiteX5" fmla="*/ 0 w 379197"/>
                <a:gd name="connsiteY5" fmla="*/ 306523 h 364885"/>
                <a:gd name="connsiteX6" fmla="*/ 0 w 379197"/>
                <a:gd name="connsiteY6" fmla="*/ 58363 h 364885"/>
                <a:gd name="connsiteX7" fmla="*/ 58362 w 379197"/>
                <a:gd name="connsiteY7" fmla="*/ 0 h 36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7" h="364885">
                  <a:moveTo>
                    <a:pt x="320835" y="0"/>
                  </a:moveTo>
                  <a:cubicBezTo>
                    <a:pt x="353067" y="0"/>
                    <a:pt x="379197" y="26130"/>
                    <a:pt x="379197" y="58363"/>
                  </a:cubicBezTo>
                  <a:lnTo>
                    <a:pt x="379197" y="306523"/>
                  </a:lnTo>
                  <a:cubicBezTo>
                    <a:pt x="379197" y="338756"/>
                    <a:pt x="353067" y="364885"/>
                    <a:pt x="320835" y="364885"/>
                  </a:cubicBezTo>
                  <a:lnTo>
                    <a:pt x="58362" y="364885"/>
                  </a:lnTo>
                  <a:cubicBezTo>
                    <a:pt x="26130" y="364885"/>
                    <a:pt x="0" y="338756"/>
                    <a:pt x="0" y="306523"/>
                  </a:cubicBezTo>
                  <a:lnTo>
                    <a:pt x="0" y="58363"/>
                  </a:lnTo>
                  <a:cubicBezTo>
                    <a:pt x="0" y="26130"/>
                    <a:pt x="26130" y="0"/>
                    <a:pt x="58362" y="0"/>
                  </a:cubicBezTo>
                  <a:close/>
                </a:path>
              </a:pathLst>
            </a:custGeom>
            <a:solidFill>
              <a:schemeClr val="accent1"/>
            </a:solidFill>
            <a:ln w="19050" cap="flat">
              <a:solidFill>
                <a:schemeClr val="accent3"/>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62" name="Freeform: Shape 61">
              <a:extLst>
                <a:ext uri="{FF2B5EF4-FFF2-40B4-BE49-F238E27FC236}">
                  <a16:creationId xmlns:a16="http://schemas.microsoft.com/office/drawing/2014/main" id="{97E37605-8F5A-978F-8849-24AFCFBE3177}"/>
                </a:ext>
              </a:extLst>
            </p:cNvPr>
            <p:cNvSpPr/>
            <p:nvPr/>
          </p:nvSpPr>
          <p:spPr>
            <a:xfrm>
              <a:off x="7125163" y="2176710"/>
              <a:ext cx="302069" cy="137319"/>
            </a:xfrm>
            <a:custGeom>
              <a:avLst/>
              <a:gdLst>
                <a:gd name="connsiteX0" fmla="*/ 256906 w 302069"/>
                <a:gd name="connsiteY0" fmla="*/ 0 h 137319"/>
                <a:gd name="connsiteX1" fmla="*/ 302070 w 302069"/>
                <a:gd name="connsiteY1" fmla="*/ 45163 h 137319"/>
                <a:gd name="connsiteX2" fmla="*/ 302070 w 302069"/>
                <a:gd name="connsiteY2" fmla="*/ 92156 h 137319"/>
                <a:gd name="connsiteX3" fmla="*/ 256906 w 302069"/>
                <a:gd name="connsiteY3" fmla="*/ 137319 h 137319"/>
                <a:gd name="connsiteX4" fmla="*/ 45163 w 302069"/>
                <a:gd name="connsiteY4" fmla="*/ 137319 h 137319"/>
                <a:gd name="connsiteX5" fmla="*/ 0 w 302069"/>
                <a:gd name="connsiteY5" fmla="*/ 92156 h 137319"/>
                <a:gd name="connsiteX6" fmla="*/ 0 w 302069"/>
                <a:gd name="connsiteY6" fmla="*/ 45163 h 137319"/>
                <a:gd name="connsiteX7" fmla="*/ 45163 w 302069"/>
                <a:gd name="connsiteY7" fmla="*/ 0 h 13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069" h="137319">
                  <a:moveTo>
                    <a:pt x="256906" y="0"/>
                  </a:moveTo>
                  <a:cubicBezTo>
                    <a:pt x="281849" y="0"/>
                    <a:pt x="302070" y="20220"/>
                    <a:pt x="302070" y="45163"/>
                  </a:cubicBezTo>
                  <a:lnTo>
                    <a:pt x="302070" y="92156"/>
                  </a:lnTo>
                  <a:cubicBezTo>
                    <a:pt x="302070" y="117099"/>
                    <a:pt x="281849" y="137319"/>
                    <a:pt x="256906" y="137319"/>
                  </a:cubicBezTo>
                  <a:lnTo>
                    <a:pt x="45163" y="137319"/>
                  </a:lnTo>
                  <a:cubicBezTo>
                    <a:pt x="20220" y="137319"/>
                    <a:pt x="0" y="117099"/>
                    <a:pt x="0" y="92156"/>
                  </a:cubicBezTo>
                  <a:lnTo>
                    <a:pt x="0" y="45163"/>
                  </a:lnTo>
                  <a:cubicBezTo>
                    <a:pt x="0" y="20220"/>
                    <a:pt x="20220" y="0"/>
                    <a:pt x="45163" y="0"/>
                  </a:cubicBezTo>
                  <a:close/>
                </a:path>
              </a:pathLst>
            </a:custGeom>
            <a:solidFill>
              <a:schemeClr val="accent3"/>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nvGrpSpPr>
            <p:cNvPr id="63" name="Graphic 41">
              <a:extLst>
                <a:ext uri="{FF2B5EF4-FFF2-40B4-BE49-F238E27FC236}">
                  <a16:creationId xmlns:a16="http://schemas.microsoft.com/office/drawing/2014/main" id="{8C4635DC-B10E-C5D1-BDD8-510F10AF7BC4}"/>
                </a:ext>
              </a:extLst>
            </p:cNvPr>
            <p:cNvGrpSpPr/>
            <p:nvPr/>
          </p:nvGrpSpPr>
          <p:grpSpPr>
            <a:xfrm>
              <a:off x="7192511" y="2210900"/>
              <a:ext cx="167454" cy="68937"/>
              <a:chOff x="7192511" y="2210900"/>
              <a:chExt cx="167454" cy="68937"/>
            </a:xfrm>
            <a:solidFill>
              <a:srgbClr val="2D6A00"/>
            </a:solidFill>
          </p:grpSpPr>
          <p:sp>
            <p:nvSpPr>
              <p:cNvPr id="64" name="Freeform: Shape 63">
                <a:extLst>
                  <a:ext uri="{FF2B5EF4-FFF2-40B4-BE49-F238E27FC236}">
                    <a16:creationId xmlns:a16="http://schemas.microsoft.com/office/drawing/2014/main" id="{A03D858C-F25F-C63A-047D-C9473374451A}"/>
                  </a:ext>
                </a:extLst>
              </p:cNvPr>
              <p:cNvSpPr/>
              <p:nvPr/>
            </p:nvSpPr>
            <p:spPr>
              <a:xfrm>
                <a:off x="7308282" y="2210900"/>
                <a:ext cx="51683" cy="68937"/>
              </a:xfrm>
              <a:custGeom>
                <a:avLst/>
                <a:gdLst>
                  <a:gd name="connsiteX0" fmla="*/ 25842 w 51683"/>
                  <a:gd name="connsiteY0" fmla="*/ 0 h 68937"/>
                  <a:gd name="connsiteX1" fmla="*/ 0 w 51683"/>
                  <a:gd name="connsiteY1" fmla="*/ 25842 h 68937"/>
                  <a:gd name="connsiteX2" fmla="*/ 0 w 51683"/>
                  <a:gd name="connsiteY2" fmla="*/ 43096 h 68937"/>
                  <a:gd name="connsiteX3" fmla="*/ 25842 w 51683"/>
                  <a:gd name="connsiteY3" fmla="*/ 68938 h 68937"/>
                  <a:gd name="connsiteX4" fmla="*/ 51683 w 51683"/>
                  <a:gd name="connsiteY4" fmla="*/ 43096 h 68937"/>
                  <a:gd name="connsiteX5" fmla="*/ 51683 w 51683"/>
                  <a:gd name="connsiteY5" fmla="*/ 25842 h 68937"/>
                  <a:gd name="connsiteX6" fmla="*/ 25842 w 51683"/>
                  <a:gd name="connsiteY6" fmla="*/ 0 h 6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83" h="68937">
                    <a:moveTo>
                      <a:pt x="25842" y="0"/>
                    </a:moveTo>
                    <a:cubicBezTo>
                      <a:pt x="11609" y="0"/>
                      <a:pt x="0" y="11609"/>
                      <a:pt x="0" y="25842"/>
                    </a:cubicBezTo>
                    <a:lnTo>
                      <a:pt x="0" y="43096"/>
                    </a:lnTo>
                    <a:cubicBezTo>
                      <a:pt x="0" y="57329"/>
                      <a:pt x="11609" y="68938"/>
                      <a:pt x="25842" y="68938"/>
                    </a:cubicBezTo>
                    <a:cubicBezTo>
                      <a:pt x="40075" y="68938"/>
                      <a:pt x="51683" y="57329"/>
                      <a:pt x="51683" y="43096"/>
                    </a:cubicBezTo>
                    <a:lnTo>
                      <a:pt x="51683" y="25842"/>
                    </a:lnTo>
                    <a:cubicBezTo>
                      <a:pt x="51683" y="11609"/>
                      <a:pt x="40075" y="0"/>
                      <a:pt x="25842" y="0"/>
                    </a:cubicBezTo>
                    <a:close/>
                  </a:path>
                </a:pathLst>
              </a:custGeom>
              <a:solidFill>
                <a:srgbClr val="FFFFFE"/>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65" name="Freeform: Shape 64">
                <a:extLst>
                  <a:ext uri="{FF2B5EF4-FFF2-40B4-BE49-F238E27FC236}">
                    <a16:creationId xmlns:a16="http://schemas.microsoft.com/office/drawing/2014/main" id="{0056907A-2CA2-5FCB-B13C-C492228D6551}"/>
                  </a:ext>
                </a:extLst>
              </p:cNvPr>
              <p:cNvSpPr/>
              <p:nvPr/>
            </p:nvSpPr>
            <p:spPr>
              <a:xfrm>
                <a:off x="7192511" y="2210900"/>
                <a:ext cx="51683" cy="68937"/>
              </a:xfrm>
              <a:custGeom>
                <a:avLst/>
                <a:gdLst>
                  <a:gd name="connsiteX0" fmla="*/ 25842 w 51683"/>
                  <a:gd name="connsiteY0" fmla="*/ 0 h 68937"/>
                  <a:gd name="connsiteX1" fmla="*/ 0 w 51683"/>
                  <a:gd name="connsiteY1" fmla="*/ 25842 h 68937"/>
                  <a:gd name="connsiteX2" fmla="*/ 0 w 51683"/>
                  <a:gd name="connsiteY2" fmla="*/ 43096 h 68937"/>
                  <a:gd name="connsiteX3" fmla="*/ 25842 w 51683"/>
                  <a:gd name="connsiteY3" fmla="*/ 68938 h 68937"/>
                  <a:gd name="connsiteX4" fmla="*/ 51683 w 51683"/>
                  <a:gd name="connsiteY4" fmla="*/ 43096 h 68937"/>
                  <a:gd name="connsiteX5" fmla="*/ 51683 w 51683"/>
                  <a:gd name="connsiteY5" fmla="*/ 25842 h 68937"/>
                  <a:gd name="connsiteX6" fmla="*/ 25842 w 51683"/>
                  <a:gd name="connsiteY6" fmla="*/ 0 h 6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83" h="68937">
                    <a:moveTo>
                      <a:pt x="25842" y="0"/>
                    </a:moveTo>
                    <a:cubicBezTo>
                      <a:pt x="11609" y="0"/>
                      <a:pt x="0" y="11609"/>
                      <a:pt x="0" y="25842"/>
                    </a:cubicBezTo>
                    <a:lnTo>
                      <a:pt x="0" y="43096"/>
                    </a:lnTo>
                    <a:cubicBezTo>
                      <a:pt x="0" y="57329"/>
                      <a:pt x="11609" y="68938"/>
                      <a:pt x="25842" y="68938"/>
                    </a:cubicBezTo>
                    <a:cubicBezTo>
                      <a:pt x="40075" y="68938"/>
                      <a:pt x="51683" y="57329"/>
                      <a:pt x="51683" y="43096"/>
                    </a:cubicBezTo>
                    <a:lnTo>
                      <a:pt x="51683" y="25842"/>
                    </a:lnTo>
                    <a:cubicBezTo>
                      <a:pt x="51683" y="11609"/>
                      <a:pt x="40075" y="0"/>
                      <a:pt x="25842" y="0"/>
                    </a:cubicBezTo>
                    <a:close/>
                  </a:path>
                </a:pathLst>
              </a:custGeom>
              <a:solidFill>
                <a:srgbClr val="FFFFFE"/>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grpSp>
        <p:nvGrpSpPr>
          <p:cNvPr id="66" name="Group 65">
            <a:extLst>
              <a:ext uri="{FF2B5EF4-FFF2-40B4-BE49-F238E27FC236}">
                <a16:creationId xmlns:a16="http://schemas.microsoft.com/office/drawing/2014/main" id="{B691377E-D43B-BB6A-31FD-1A9C556FF566}"/>
              </a:ext>
            </a:extLst>
          </p:cNvPr>
          <p:cNvGrpSpPr/>
          <p:nvPr/>
        </p:nvGrpSpPr>
        <p:grpSpPr>
          <a:xfrm>
            <a:off x="4682450" y="4520864"/>
            <a:ext cx="379197" cy="364885"/>
            <a:chOff x="7086600" y="2090836"/>
            <a:chExt cx="379197" cy="364885"/>
          </a:xfrm>
        </p:grpSpPr>
        <p:sp>
          <p:nvSpPr>
            <p:cNvPr id="67" name="Freeform: Shape 66">
              <a:extLst>
                <a:ext uri="{FF2B5EF4-FFF2-40B4-BE49-F238E27FC236}">
                  <a16:creationId xmlns:a16="http://schemas.microsoft.com/office/drawing/2014/main" id="{8E307423-CB5B-0906-4467-0FC54BAF8884}"/>
                </a:ext>
              </a:extLst>
            </p:cNvPr>
            <p:cNvSpPr/>
            <p:nvPr/>
          </p:nvSpPr>
          <p:spPr>
            <a:xfrm>
              <a:off x="7086600" y="2090836"/>
              <a:ext cx="379197" cy="364885"/>
            </a:xfrm>
            <a:custGeom>
              <a:avLst/>
              <a:gdLst>
                <a:gd name="connsiteX0" fmla="*/ 320835 w 379197"/>
                <a:gd name="connsiteY0" fmla="*/ 0 h 364885"/>
                <a:gd name="connsiteX1" fmla="*/ 379197 w 379197"/>
                <a:gd name="connsiteY1" fmla="*/ 58363 h 364885"/>
                <a:gd name="connsiteX2" fmla="*/ 379197 w 379197"/>
                <a:gd name="connsiteY2" fmla="*/ 306523 h 364885"/>
                <a:gd name="connsiteX3" fmla="*/ 320835 w 379197"/>
                <a:gd name="connsiteY3" fmla="*/ 364885 h 364885"/>
                <a:gd name="connsiteX4" fmla="*/ 58362 w 379197"/>
                <a:gd name="connsiteY4" fmla="*/ 364885 h 364885"/>
                <a:gd name="connsiteX5" fmla="*/ 0 w 379197"/>
                <a:gd name="connsiteY5" fmla="*/ 306523 h 364885"/>
                <a:gd name="connsiteX6" fmla="*/ 0 w 379197"/>
                <a:gd name="connsiteY6" fmla="*/ 58363 h 364885"/>
                <a:gd name="connsiteX7" fmla="*/ 58362 w 379197"/>
                <a:gd name="connsiteY7" fmla="*/ 0 h 36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7" h="364885">
                  <a:moveTo>
                    <a:pt x="320835" y="0"/>
                  </a:moveTo>
                  <a:cubicBezTo>
                    <a:pt x="353067" y="0"/>
                    <a:pt x="379197" y="26130"/>
                    <a:pt x="379197" y="58363"/>
                  </a:cubicBezTo>
                  <a:lnTo>
                    <a:pt x="379197" y="306523"/>
                  </a:lnTo>
                  <a:cubicBezTo>
                    <a:pt x="379197" y="338756"/>
                    <a:pt x="353067" y="364885"/>
                    <a:pt x="320835" y="364885"/>
                  </a:cubicBezTo>
                  <a:lnTo>
                    <a:pt x="58362" y="364885"/>
                  </a:lnTo>
                  <a:cubicBezTo>
                    <a:pt x="26130" y="364885"/>
                    <a:pt x="0" y="338756"/>
                    <a:pt x="0" y="306523"/>
                  </a:cubicBezTo>
                  <a:lnTo>
                    <a:pt x="0" y="58363"/>
                  </a:lnTo>
                  <a:cubicBezTo>
                    <a:pt x="0" y="26130"/>
                    <a:pt x="26130" y="0"/>
                    <a:pt x="58362" y="0"/>
                  </a:cubicBezTo>
                  <a:close/>
                </a:path>
              </a:pathLst>
            </a:custGeom>
            <a:solidFill>
              <a:schemeClr val="accent1"/>
            </a:solidFill>
            <a:ln w="19050" cap="flat">
              <a:solidFill>
                <a:schemeClr val="accent3"/>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68" name="Freeform: Shape 67">
              <a:extLst>
                <a:ext uri="{FF2B5EF4-FFF2-40B4-BE49-F238E27FC236}">
                  <a16:creationId xmlns:a16="http://schemas.microsoft.com/office/drawing/2014/main" id="{9371260B-031B-E6B2-1A6A-3EE81B430F1B}"/>
                </a:ext>
              </a:extLst>
            </p:cNvPr>
            <p:cNvSpPr/>
            <p:nvPr/>
          </p:nvSpPr>
          <p:spPr>
            <a:xfrm>
              <a:off x="7125163" y="2176710"/>
              <a:ext cx="302069" cy="137319"/>
            </a:xfrm>
            <a:custGeom>
              <a:avLst/>
              <a:gdLst>
                <a:gd name="connsiteX0" fmla="*/ 256906 w 302069"/>
                <a:gd name="connsiteY0" fmla="*/ 0 h 137319"/>
                <a:gd name="connsiteX1" fmla="*/ 302070 w 302069"/>
                <a:gd name="connsiteY1" fmla="*/ 45163 h 137319"/>
                <a:gd name="connsiteX2" fmla="*/ 302070 w 302069"/>
                <a:gd name="connsiteY2" fmla="*/ 92156 h 137319"/>
                <a:gd name="connsiteX3" fmla="*/ 256906 w 302069"/>
                <a:gd name="connsiteY3" fmla="*/ 137319 h 137319"/>
                <a:gd name="connsiteX4" fmla="*/ 45163 w 302069"/>
                <a:gd name="connsiteY4" fmla="*/ 137319 h 137319"/>
                <a:gd name="connsiteX5" fmla="*/ 0 w 302069"/>
                <a:gd name="connsiteY5" fmla="*/ 92156 h 137319"/>
                <a:gd name="connsiteX6" fmla="*/ 0 w 302069"/>
                <a:gd name="connsiteY6" fmla="*/ 45163 h 137319"/>
                <a:gd name="connsiteX7" fmla="*/ 45163 w 302069"/>
                <a:gd name="connsiteY7" fmla="*/ 0 h 13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069" h="137319">
                  <a:moveTo>
                    <a:pt x="256906" y="0"/>
                  </a:moveTo>
                  <a:cubicBezTo>
                    <a:pt x="281849" y="0"/>
                    <a:pt x="302070" y="20220"/>
                    <a:pt x="302070" y="45163"/>
                  </a:cubicBezTo>
                  <a:lnTo>
                    <a:pt x="302070" y="92156"/>
                  </a:lnTo>
                  <a:cubicBezTo>
                    <a:pt x="302070" y="117099"/>
                    <a:pt x="281849" y="137319"/>
                    <a:pt x="256906" y="137319"/>
                  </a:cubicBezTo>
                  <a:lnTo>
                    <a:pt x="45163" y="137319"/>
                  </a:lnTo>
                  <a:cubicBezTo>
                    <a:pt x="20220" y="137319"/>
                    <a:pt x="0" y="117099"/>
                    <a:pt x="0" y="92156"/>
                  </a:cubicBezTo>
                  <a:lnTo>
                    <a:pt x="0" y="45163"/>
                  </a:lnTo>
                  <a:cubicBezTo>
                    <a:pt x="0" y="20220"/>
                    <a:pt x="20220" y="0"/>
                    <a:pt x="45163" y="0"/>
                  </a:cubicBezTo>
                  <a:close/>
                </a:path>
              </a:pathLst>
            </a:custGeom>
            <a:solidFill>
              <a:schemeClr val="accent3"/>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nvGrpSpPr>
            <p:cNvPr id="69" name="Graphic 41">
              <a:extLst>
                <a:ext uri="{FF2B5EF4-FFF2-40B4-BE49-F238E27FC236}">
                  <a16:creationId xmlns:a16="http://schemas.microsoft.com/office/drawing/2014/main" id="{E80A072E-F1B4-56C0-EAA2-CA1FA19AECA5}"/>
                </a:ext>
              </a:extLst>
            </p:cNvPr>
            <p:cNvGrpSpPr/>
            <p:nvPr/>
          </p:nvGrpSpPr>
          <p:grpSpPr>
            <a:xfrm>
              <a:off x="7192511" y="2210900"/>
              <a:ext cx="167454" cy="68937"/>
              <a:chOff x="7192511" y="2210900"/>
              <a:chExt cx="167454" cy="68937"/>
            </a:xfrm>
            <a:solidFill>
              <a:srgbClr val="2D6A00"/>
            </a:solidFill>
          </p:grpSpPr>
          <p:sp>
            <p:nvSpPr>
              <p:cNvPr id="70" name="Freeform: Shape 69">
                <a:extLst>
                  <a:ext uri="{FF2B5EF4-FFF2-40B4-BE49-F238E27FC236}">
                    <a16:creationId xmlns:a16="http://schemas.microsoft.com/office/drawing/2014/main" id="{19889061-B1E4-560D-D338-75026BDB8D5E}"/>
                  </a:ext>
                </a:extLst>
              </p:cNvPr>
              <p:cNvSpPr/>
              <p:nvPr/>
            </p:nvSpPr>
            <p:spPr>
              <a:xfrm>
                <a:off x="7308282" y="2210900"/>
                <a:ext cx="51683" cy="68937"/>
              </a:xfrm>
              <a:custGeom>
                <a:avLst/>
                <a:gdLst>
                  <a:gd name="connsiteX0" fmla="*/ 25842 w 51683"/>
                  <a:gd name="connsiteY0" fmla="*/ 0 h 68937"/>
                  <a:gd name="connsiteX1" fmla="*/ 0 w 51683"/>
                  <a:gd name="connsiteY1" fmla="*/ 25842 h 68937"/>
                  <a:gd name="connsiteX2" fmla="*/ 0 w 51683"/>
                  <a:gd name="connsiteY2" fmla="*/ 43096 h 68937"/>
                  <a:gd name="connsiteX3" fmla="*/ 25842 w 51683"/>
                  <a:gd name="connsiteY3" fmla="*/ 68938 h 68937"/>
                  <a:gd name="connsiteX4" fmla="*/ 51683 w 51683"/>
                  <a:gd name="connsiteY4" fmla="*/ 43096 h 68937"/>
                  <a:gd name="connsiteX5" fmla="*/ 51683 w 51683"/>
                  <a:gd name="connsiteY5" fmla="*/ 25842 h 68937"/>
                  <a:gd name="connsiteX6" fmla="*/ 25842 w 51683"/>
                  <a:gd name="connsiteY6" fmla="*/ 0 h 6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83" h="68937">
                    <a:moveTo>
                      <a:pt x="25842" y="0"/>
                    </a:moveTo>
                    <a:cubicBezTo>
                      <a:pt x="11609" y="0"/>
                      <a:pt x="0" y="11609"/>
                      <a:pt x="0" y="25842"/>
                    </a:cubicBezTo>
                    <a:lnTo>
                      <a:pt x="0" y="43096"/>
                    </a:lnTo>
                    <a:cubicBezTo>
                      <a:pt x="0" y="57329"/>
                      <a:pt x="11609" y="68938"/>
                      <a:pt x="25842" y="68938"/>
                    </a:cubicBezTo>
                    <a:cubicBezTo>
                      <a:pt x="40075" y="68938"/>
                      <a:pt x="51683" y="57329"/>
                      <a:pt x="51683" y="43096"/>
                    </a:cubicBezTo>
                    <a:lnTo>
                      <a:pt x="51683" y="25842"/>
                    </a:lnTo>
                    <a:cubicBezTo>
                      <a:pt x="51683" y="11609"/>
                      <a:pt x="40075" y="0"/>
                      <a:pt x="25842" y="0"/>
                    </a:cubicBezTo>
                    <a:close/>
                  </a:path>
                </a:pathLst>
              </a:custGeom>
              <a:solidFill>
                <a:srgbClr val="FFFFFE"/>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71" name="Freeform: Shape 70">
                <a:extLst>
                  <a:ext uri="{FF2B5EF4-FFF2-40B4-BE49-F238E27FC236}">
                    <a16:creationId xmlns:a16="http://schemas.microsoft.com/office/drawing/2014/main" id="{1D8BFC0F-2C21-4F6B-22A7-6D367E41F326}"/>
                  </a:ext>
                </a:extLst>
              </p:cNvPr>
              <p:cNvSpPr/>
              <p:nvPr/>
            </p:nvSpPr>
            <p:spPr>
              <a:xfrm>
                <a:off x="7192511" y="2210900"/>
                <a:ext cx="51683" cy="68937"/>
              </a:xfrm>
              <a:custGeom>
                <a:avLst/>
                <a:gdLst>
                  <a:gd name="connsiteX0" fmla="*/ 25842 w 51683"/>
                  <a:gd name="connsiteY0" fmla="*/ 0 h 68937"/>
                  <a:gd name="connsiteX1" fmla="*/ 0 w 51683"/>
                  <a:gd name="connsiteY1" fmla="*/ 25842 h 68937"/>
                  <a:gd name="connsiteX2" fmla="*/ 0 w 51683"/>
                  <a:gd name="connsiteY2" fmla="*/ 43096 h 68937"/>
                  <a:gd name="connsiteX3" fmla="*/ 25842 w 51683"/>
                  <a:gd name="connsiteY3" fmla="*/ 68938 h 68937"/>
                  <a:gd name="connsiteX4" fmla="*/ 51683 w 51683"/>
                  <a:gd name="connsiteY4" fmla="*/ 43096 h 68937"/>
                  <a:gd name="connsiteX5" fmla="*/ 51683 w 51683"/>
                  <a:gd name="connsiteY5" fmla="*/ 25842 h 68937"/>
                  <a:gd name="connsiteX6" fmla="*/ 25842 w 51683"/>
                  <a:gd name="connsiteY6" fmla="*/ 0 h 6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83" h="68937">
                    <a:moveTo>
                      <a:pt x="25842" y="0"/>
                    </a:moveTo>
                    <a:cubicBezTo>
                      <a:pt x="11609" y="0"/>
                      <a:pt x="0" y="11609"/>
                      <a:pt x="0" y="25842"/>
                    </a:cubicBezTo>
                    <a:lnTo>
                      <a:pt x="0" y="43096"/>
                    </a:lnTo>
                    <a:cubicBezTo>
                      <a:pt x="0" y="57329"/>
                      <a:pt x="11609" y="68938"/>
                      <a:pt x="25842" y="68938"/>
                    </a:cubicBezTo>
                    <a:cubicBezTo>
                      <a:pt x="40075" y="68938"/>
                      <a:pt x="51683" y="57329"/>
                      <a:pt x="51683" y="43096"/>
                    </a:cubicBezTo>
                    <a:lnTo>
                      <a:pt x="51683" y="25842"/>
                    </a:lnTo>
                    <a:cubicBezTo>
                      <a:pt x="51683" y="11609"/>
                      <a:pt x="40075" y="0"/>
                      <a:pt x="25842" y="0"/>
                    </a:cubicBezTo>
                    <a:close/>
                  </a:path>
                </a:pathLst>
              </a:custGeom>
              <a:solidFill>
                <a:srgbClr val="FFFFFE"/>
              </a:solidFill>
              <a:ln w="7938"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grpSp>
      <p:grpSp>
        <p:nvGrpSpPr>
          <p:cNvPr id="72" name="Group 71">
            <a:extLst>
              <a:ext uri="{FF2B5EF4-FFF2-40B4-BE49-F238E27FC236}">
                <a16:creationId xmlns:a16="http://schemas.microsoft.com/office/drawing/2014/main" id="{3D8A8CF9-257F-C0D2-6E3B-29EF6751356B}"/>
              </a:ext>
            </a:extLst>
          </p:cNvPr>
          <p:cNvGrpSpPr/>
          <p:nvPr/>
        </p:nvGrpSpPr>
        <p:grpSpPr>
          <a:xfrm>
            <a:off x="1168545" y="3916728"/>
            <a:ext cx="1463820" cy="776503"/>
            <a:chOff x="4729162" y="2702789"/>
            <a:chExt cx="2733678" cy="1450116"/>
          </a:xfrm>
        </p:grpSpPr>
        <p:sp>
          <p:nvSpPr>
            <p:cNvPr id="48" name="Cloud fill">
              <a:extLst>
                <a:ext uri="{FF2B5EF4-FFF2-40B4-BE49-F238E27FC236}">
                  <a16:creationId xmlns:a16="http://schemas.microsoft.com/office/drawing/2014/main" id="{21948870-06EA-26B7-D6AD-C70B471FFA6B}"/>
                </a:ext>
              </a:extLst>
            </p:cNvPr>
            <p:cNvSpPr>
              <a:spLocks noChangeAspect="1"/>
            </p:cNvSpPr>
            <p:nvPr/>
          </p:nvSpPr>
          <p:spPr>
            <a:xfrm>
              <a:off x="4729162" y="2702789"/>
              <a:ext cx="2733678" cy="1450116"/>
            </a:xfrm>
            <a:custGeom>
              <a:avLst/>
              <a:gdLst>
                <a:gd name="connsiteX0" fmla="*/ 729999 w 850394"/>
                <a:gd name="connsiteY0" fmla="*/ 213360 h 451104"/>
                <a:gd name="connsiteX1" fmla="*/ 729999 w 850394"/>
                <a:gd name="connsiteY1" fmla="*/ 213360 h 451104"/>
                <a:gd name="connsiteX2" fmla="*/ 598934 w 850394"/>
                <a:gd name="connsiteY2" fmla="*/ 88392 h 451104"/>
                <a:gd name="connsiteX3" fmla="*/ 592838 w 850394"/>
                <a:gd name="connsiteY3" fmla="*/ 88392 h 451104"/>
                <a:gd name="connsiteX4" fmla="*/ 588266 w 850394"/>
                <a:gd name="connsiteY4" fmla="*/ 88392 h 451104"/>
                <a:gd name="connsiteX5" fmla="*/ 588266 w 850394"/>
                <a:gd name="connsiteY5" fmla="*/ 88392 h 451104"/>
                <a:gd name="connsiteX6" fmla="*/ 588266 w 850394"/>
                <a:gd name="connsiteY6" fmla="*/ 88392 h 451104"/>
                <a:gd name="connsiteX7" fmla="*/ 545594 w 850394"/>
                <a:gd name="connsiteY7" fmla="*/ 94488 h 451104"/>
                <a:gd name="connsiteX8" fmla="*/ 362713 w 850394"/>
                <a:gd name="connsiteY8" fmla="*/ 0 h 451104"/>
                <a:gd name="connsiteX9" fmla="*/ 362713 w 850394"/>
                <a:gd name="connsiteY9" fmla="*/ 0 h 451104"/>
                <a:gd name="connsiteX10" fmla="*/ 362713 w 850394"/>
                <a:gd name="connsiteY10" fmla="*/ 0 h 451104"/>
                <a:gd name="connsiteX11" fmla="*/ 353569 w 850394"/>
                <a:gd name="connsiteY11" fmla="*/ 0 h 451104"/>
                <a:gd name="connsiteX12" fmla="*/ 342901 w 850394"/>
                <a:gd name="connsiteY12" fmla="*/ 0 h 451104"/>
                <a:gd name="connsiteX13" fmla="*/ 326137 w 850394"/>
                <a:gd name="connsiteY13" fmla="*/ 1524 h 451104"/>
                <a:gd name="connsiteX14" fmla="*/ 324613 w 850394"/>
                <a:gd name="connsiteY14" fmla="*/ 1524 h 451104"/>
                <a:gd name="connsiteX15" fmla="*/ 138685 w 850394"/>
                <a:gd name="connsiteY15" fmla="*/ 213360 h 451104"/>
                <a:gd name="connsiteX16" fmla="*/ 118872 w 850394"/>
                <a:gd name="connsiteY16" fmla="*/ 213360 h 451104"/>
                <a:gd name="connsiteX17" fmla="*/ 0 w 850394"/>
                <a:gd name="connsiteY17" fmla="*/ 332232 h 451104"/>
                <a:gd name="connsiteX18" fmla="*/ 118872 w 850394"/>
                <a:gd name="connsiteY18" fmla="*/ 451104 h 451104"/>
                <a:gd name="connsiteX19" fmla="*/ 147829 w 850394"/>
                <a:gd name="connsiteY19" fmla="*/ 451104 h 451104"/>
                <a:gd name="connsiteX20" fmla="*/ 147829 w 850394"/>
                <a:gd name="connsiteY20" fmla="*/ 451104 h 451104"/>
                <a:gd name="connsiteX21" fmla="*/ 731523 w 850394"/>
                <a:gd name="connsiteY21" fmla="*/ 451104 h 451104"/>
                <a:gd name="connsiteX22" fmla="*/ 850395 w 850394"/>
                <a:gd name="connsiteY22" fmla="*/ 332232 h 451104"/>
                <a:gd name="connsiteX23" fmla="*/ 729999 w 850394"/>
                <a:gd name="connsiteY23" fmla="*/ 213360 h 45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0394" h="451104">
                  <a:moveTo>
                    <a:pt x="729999" y="213360"/>
                  </a:moveTo>
                  <a:lnTo>
                    <a:pt x="729999" y="213360"/>
                  </a:lnTo>
                  <a:cubicBezTo>
                    <a:pt x="722379" y="146304"/>
                    <a:pt x="667514" y="92964"/>
                    <a:pt x="598934" y="88392"/>
                  </a:cubicBezTo>
                  <a:cubicBezTo>
                    <a:pt x="597410" y="88392"/>
                    <a:pt x="595886" y="88392"/>
                    <a:pt x="592838" y="88392"/>
                  </a:cubicBezTo>
                  <a:cubicBezTo>
                    <a:pt x="591314" y="88392"/>
                    <a:pt x="589790" y="88392"/>
                    <a:pt x="588266" y="88392"/>
                  </a:cubicBezTo>
                  <a:cubicBezTo>
                    <a:pt x="588266" y="88392"/>
                    <a:pt x="588266" y="88392"/>
                    <a:pt x="588266" y="88392"/>
                  </a:cubicBezTo>
                  <a:cubicBezTo>
                    <a:pt x="588266" y="88392"/>
                    <a:pt x="588266" y="88392"/>
                    <a:pt x="588266" y="88392"/>
                  </a:cubicBezTo>
                  <a:cubicBezTo>
                    <a:pt x="573026" y="88392"/>
                    <a:pt x="559310" y="91440"/>
                    <a:pt x="545594" y="94488"/>
                  </a:cubicBezTo>
                  <a:cubicBezTo>
                    <a:pt x="504446" y="36576"/>
                    <a:pt x="438914" y="0"/>
                    <a:pt x="362713" y="0"/>
                  </a:cubicBezTo>
                  <a:cubicBezTo>
                    <a:pt x="362713" y="0"/>
                    <a:pt x="362713" y="0"/>
                    <a:pt x="362713" y="0"/>
                  </a:cubicBezTo>
                  <a:cubicBezTo>
                    <a:pt x="362713" y="0"/>
                    <a:pt x="362713" y="0"/>
                    <a:pt x="362713" y="0"/>
                  </a:cubicBezTo>
                  <a:cubicBezTo>
                    <a:pt x="359665" y="0"/>
                    <a:pt x="356617" y="0"/>
                    <a:pt x="353569" y="0"/>
                  </a:cubicBezTo>
                  <a:cubicBezTo>
                    <a:pt x="350521" y="0"/>
                    <a:pt x="345949" y="0"/>
                    <a:pt x="342901" y="0"/>
                  </a:cubicBezTo>
                  <a:cubicBezTo>
                    <a:pt x="336805" y="0"/>
                    <a:pt x="330709" y="1524"/>
                    <a:pt x="326137" y="1524"/>
                  </a:cubicBezTo>
                  <a:cubicBezTo>
                    <a:pt x="326137" y="1524"/>
                    <a:pt x="324613" y="1524"/>
                    <a:pt x="324613" y="1524"/>
                  </a:cubicBezTo>
                  <a:cubicBezTo>
                    <a:pt x="220981" y="19812"/>
                    <a:pt x="141733" y="106680"/>
                    <a:pt x="138685" y="213360"/>
                  </a:cubicBezTo>
                  <a:lnTo>
                    <a:pt x="118872" y="213360"/>
                  </a:lnTo>
                  <a:cubicBezTo>
                    <a:pt x="53340" y="213360"/>
                    <a:pt x="0" y="266700"/>
                    <a:pt x="0" y="332232"/>
                  </a:cubicBezTo>
                  <a:cubicBezTo>
                    <a:pt x="0" y="397764"/>
                    <a:pt x="53340" y="451104"/>
                    <a:pt x="118872" y="451104"/>
                  </a:cubicBezTo>
                  <a:lnTo>
                    <a:pt x="147829" y="451104"/>
                  </a:lnTo>
                  <a:lnTo>
                    <a:pt x="147829" y="451104"/>
                  </a:lnTo>
                  <a:lnTo>
                    <a:pt x="731523" y="451104"/>
                  </a:lnTo>
                  <a:cubicBezTo>
                    <a:pt x="797055" y="451104"/>
                    <a:pt x="850395" y="397764"/>
                    <a:pt x="850395" y="332232"/>
                  </a:cubicBezTo>
                  <a:cubicBezTo>
                    <a:pt x="847347" y="266700"/>
                    <a:pt x="795531" y="213360"/>
                    <a:pt x="729999" y="213360"/>
                  </a:cubicBezTo>
                  <a:close/>
                </a:path>
              </a:pathLst>
            </a:custGeom>
            <a:solidFill>
              <a:srgbClr val="FFFFFF"/>
            </a:solidFill>
            <a:ln w="19050" cap="flat">
              <a:noFill/>
              <a:prstDash val="solid"/>
              <a:miter/>
            </a:ln>
          </p:spPr>
          <p:txBody>
            <a:bodyPr wrap="none" lIns="0" tIns="45720" rIns="0" bIns="0"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F4F4F"/>
                </a:solidFill>
                <a:effectLst/>
                <a:uLnTx/>
                <a:uFillTx/>
                <a:latin typeface="Lato"/>
                <a:ea typeface="+mn-ea"/>
                <a:cs typeface="+mn-cs"/>
              </a:endParaRPr>
            </a:p>
          </p:txBody>
        </p:sp>
        <p:pic>
          <p:nvPicPr>
            <p:cNvPr id="50" name="Graphic 49">
              <a:extLst>
                <a:ext uri="{FF2B5EF4-FFF2-40B4-BE49-F238E27FC236}">
                  <a16:creationId xmlns:a16="http://schemas.microsoft.com/office/drawing/2014/main" id="{58D79982-1348-8A76-B7FB-197C362AA4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95454" y="3321751"/>
              <a:ext cx="1796213" cy="592158"/>
            </a:xfrm>
            <a:prstGeom prst="rect">
              <a:avLst/>
            </a:prstGeom>
          </p:spPr>
        </p:pic>
      </p:grpSp>
      <p:grpSp>
        <p:nvGrpSpPr>
          <p:cNvPr id="24" name="Group 23">
            <a:extLst>
              <a:ext uri="{FF2B5EF4-FFF2-40B4-BE49-F238E27FC236}">
                <a16:creationId xmlns:a16="http://schemas.microsoft.com/office/drawing/2014/main" id="{A256EBF0-D974-3E6F-A7EA-FF7B1E9914DC}"/>
              </a:ext>
            </a:extLst>
          </p:cNvPr>
          <p:cNvGrpSpPr>
            <a:grpSpLocks noChangeAspect="1"/>
          </p:cNvGrpSpPr>
          <p:nvPr/>
        </p:nvGrpSpPr>
        <p:grpSpPr>
          <a:xfrm>
            <a:off x="2544842" y="4028406"/>
            <a:ext cx="1521997" cy="1464430"/>
            <a:chOff x="6742650" y="3092995"/>
            <a:chExt cx="448246" cy="431292"/>
          </a:xfrm>
        </p:grpSpPr>
        <p:sp>
          <p:nvSpPr>
            <p:cNvPr id="25" name="Freeform: Shape 24">
              <a:extLst>
                <a:ext uri="{FF2B5EF4-FFF2-40B4-BE49-F238E27FC236}">
                  <a16:creationId xmlns:a16="http://schemas.microsoft.com/office/drawing/2014/main" id="{26F282AF-9F42-DBFE-9FAB-1BA58ECF009F}"/>
                </a:ext>
              </a:extLst>
            </p:cNvPr>
            <p:cNvSpPr/>
            <p:nvPr/>
          </p:nvSpPr>
          <p:spPr>
            <a:xfrm>
              <a:off x="6742650" y="3092995"/>
              <a:ext cx="448246" cy="431292"/>
            </a:xfrm>
            <a:custGeom>
              <a:avLst/>
              <a:gdLst>
                <a:gd name="connsiteX0" fmla="*/ 379286 w 448246"/>
                <a:gd name="connsiteY0" fmla="*/ 0 h 431292"/>
                <a:gd name="connsiteX1" fmla="*/ 448247 w 448246"/>
                <a:gd name="connsiteY1" fmla="*/ 68961 h 431292"/>
                <a:gd name="connsiteX2" fmla="*/ 448247 w 448246"/>
                <a:gd name="connsiteY2" fmla="*/ 362331 h 431292"/>
                <a:gd name="connsiteX3" fmla="*/ 379286 w 448246"/>
                <a:gd name="connsiteY3" fmla="*/ 431292 h 431292"/>
                <a:gd name="connsiteX4" fmla="*/ 68961 w 448246"/>
                <a:gd name="connsiteY4" fmla="*/ 431292 h 431292"/>
                <a:gd name="connsiteX5" fmla="*/ 0 w 448246"/>
                <a:gd name="connsiteY5" fmla="*/ 362331 h 431292"/>
                <a:gd name="connsiteX6" fmla="*/ 0 w 448246"/>
                <a:gd name="connsiteY6" fmla="*/ 68961 h 431292"/>
                <a:gd name="connsiteX7" fmla="*/ 68961 w 448246"/>
                <a:gd name="connsiteY7" fmla="*/ 0 h 43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246" h="431292">
                  <a:moveTo>
                    <a:pt x="379286" y="0"/>
                  </a:moveTo>
                  <a:cubicBezTo>
                    <a:pt x="417372" y="0"/>
                    <a:pt x="448247" y="30875"/>
                    <a:pt x="448247" y="68961"/>
                  </a:cubicBezTo>
                  <a:lnTo>
                    <a:pt x="448247" y="362331"/>
                  </a:lnTo>
                  <a:cubicBezTo>
                    <a:pt x="448247" y="400417"/>
                    <a:pt x="417372" y="431292"/>
                    <a:pt x="379286" y="431292"/>
                  </a:cubicBezTo>
                  <a:lnTo>
                    <a:pt x="68961" y="431292"/>
                  </a:lnTo>
                  <a:cubicBezTo>
                    <a:pt x="30875" y="431292"/>
                    <a:pt x="0" y="400417"/>
                    <a:pt x="0" y="362331"/>
                  </a:cubicBezTo>
                  <a:lnTo>
                    <a:pt x="0" y="68961"/>
                  </a:lnTo>
                  <a:cubicBezTo>
                    <a:pt x="0" y="30875"/>
                    <a:pt x="30875" y="0"/>
                    <a:pt x="68961" y="0"/>
                  </a:cubicBezTo>
                  <a:close/>
                </a:path>
              </a:pathLst>
            </a:custGeom>
            <a:solidFill>
              <a:schemeClr val="accent1"/>
            </a:solidFill>
            <a:ln w="31750" cap="flat">
              <a:solidFill>
                <a:schemeClr val="accent3"/>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6" name="Freeform: Shape 25">
              <a:extLst>
                <a:ext uri="{FF2B5EF4-FFF2-40B4-BE49-F238E27FC236}">
                  <a16:creationId xmlns:a16="http://schemas.microsoft.com/office/drawing/2014/main" id="{67080D85-1F88-1F95-003F-522A640FB41E}"/>
                </a:ext>
              </a:extLst>
            </p:cNvPr>
            <p:cNvSpPr/>
            <p:nvPr/>
          </p:nvSpPr>
          <p:spPr>
            <a:xfrm>
              <a:off x="6788274" y="3194436"/>
              <a:ext cx="357092" cy="162306"/>
            </a:xfrm>
            <a:custGeom>
              <a:avLst/>
              <a:gdLst>
                <a:gd name="connsiteX0" fmla="*/ 303752 w 357092"/>
                <a:gd name="connsiteY0" fmla="*/ 0 h 162306"/>
                <a:gd name="connsiteX1" fmla="*/ 357092 w 357092"/>
                <a:gd name="connsiteY1" fmla="*/ 53340 h 162306"/>
                <a:gd name="connsiteX2" fmla="*/ 357092 w 357092"/>
                <a:gd name="connsiteY2" fmla="*/ 108966 h 162306"/>
                <a:gd name="connsiteX3" fmla="*/ 303752 w 357092"/>
                <a:gd name="connsiteY3" fmla="*/ 162306 h 162306"/>
                <a:gd name="connsiteX4" fmla="*/ 53340 w 357092"/>
                <a:gd name="connsiteY4" fmla="*/ 162306 h 162306"/>
                <a:gd name="connsiteX5" fmla="*/ 0 w 357092"/>
                <a:gd name="connsiteY5" fmla="*/ 108966 h 162306"/>
                <a:gd name="connsiteX6" fmla="*/ 0 w 357092"/>
                <a:gd name="connsiteY6" fmla="*/ 53340 h 162306"/>
                <a:gd name="connsiteX7" fmla="*/ 53340 w 357092"/>
                <a:gd name="connsiteY7" fmla="*/ 0 h 16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92" h="162306">
                  <a:moveTo>
                    <a:pt x="303752" y="0"/>
                  </a:moveTo>
                  <a:cubicBezTo>
                    <a:pt x="333211" y="0"/>
                    <a:pt x="357092" y="23881"/>
                    <a:pt x="357092" y="53340"/>
                  </a:cubicBezTo>
                  <a:lnTo>
                    <a:pt x="357092" y="108966"/>
                  </a:lnTo>
                  <a:cubicBezTo>
                    <a:pt x="357092" y="138425"/>
                    <a:pt x="333211" y="162306"/>
                    <a:pt x="303752" y="162306"/>
                  </a:cubicBezTo>
                  <a:lnTo>
                    <a:pt x="53340" y="162306"/>
                  </a:lnTo>
                  <a:cubicBezTo>
                    <a:pt x="23881" y="162306"/>
                    <a:pt x="0" y="138425"/>
                    <a:pt x="0" y="108966"/>
                  </a:cubicBezTo>
                  <a:lnTo>
                    <a:pt x="0" y="53340"/>
                  </a:lnTo>
                  <a:cubicBezTo>
                    <a:pt x="0" y="23881"/>
                    <a:pt x="23881" y="0"/>
                    <a:pt x="53340" y="0"/>
                  </a:cubicBezTo>
                  <a:close/>
                </a:path>
              </a:pathLst>
            </a:custGeom>
            <a:solidFill>
              <a:schemeClr val="accent3"/>
            </a:solidFill>
            <a:ln w="19050" cap="flat">
              <a:no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7" name="Freeform: Shape 26">
              <a:extLst>
                <a:ext uri="{FF2B5EF4-FFF2-40B4-BE49-F238E27FC236}">
                  <a16:creationId xmlns:a16="http://schemas.microsoft.com/office/drawing/2014/main" id="{B5F17CDA-FD5B-3C7A-F8C7-5FE761013C42}"/>
                </a:ext>
              </a:extLst>
            </p:cNvPr>
            <p:cNvSpPr/>
            <p:nvPr/>
          </p:nvSpPr>
          <p:spPr>
            <a:xfrm>
              <a:off x="6867713" y="3234917"/>
              <a:ext cx="198024" cy="81533"/>
            </a:xfrm>
            <a:custGeom>
              <a:avLst/>
              <a:gdLst>
                <a:gd name="connsiteX0" fmla="*/ 30575 w 198024"/>
                <a:gd name="connsiteY0" fmla="*/ 0 h 81533"/>
                <a:gd name="connsiteX1" fmla="*/ 30575 w 198024"/>
                <a:gd name="connsiteY1" fmla="*/ 0 h 81533"/>
                <a:gd name="connsiteX2" fmla="*/ 61150 w 198024"/>
                <a:gd name="connsiteY2" fmla="*/ 30575 h 81533"/>
                <a:gd name="connsiteX3" fmla="*/ 61150 w 198024"/>
                <a:gd name="connsiteY3" fmla="*/ 50959 h 81533"/>
                <a:gd name="connsiteX4" fmla="*/ 30575 w 198024"/>
                <a:gd name="connsiteY4" fmla="*/ 81534 h 81533"/>
                <a:gd name="connsiteX5" fmla="*/ 30575 w 198024"/>
                <a:gd name="connsiteY5" fmla="*/ 81534 h 81533"/>
                <a:gd name="connsiteX6" fmla="*/ 0 w 198024"/>
                <a:gd name="connsiteY6" fmla="*/ 50959 h 81533"/>
                <a:gd name="connsiteX7" fmla="*/ 0 w 198024"/>
                <a:gd name="connsiteY7" fmla="*/ 30575 h 81533"/>
                <a:gd name="connsiteX8" fmla="*/ 30575 w 198024"/>
                <a:gd name="connsiteY8" fmla="*/ 0 h 81533"/>
                <a:gd name="connsiteX9" fmla="*/ 30575 w 198024"/>
                <a:gd name="connsiteY9" fmla="*/ 0 h 81533"/>
                <a:gd name="connsiteX10" fmla="*/ 167449 w 198024"/>
                <a:gd name="connsiteY10" fmla="*/ 0 h 81533"/>
                <a:gd name="connsiteX11" fmla="*/ 167449 w 198024"/>
                <a:gd name="connsiteY11" fmla="*/ 0 h 81533"/>
                <a:gd name="connsiteX12" fmla="*/ 198025 w 198024"/>
                <a:gd name="connsiteY12" fmla="*/ 30575 h 81533"/>
                <a:gd name="connsiteX13" fmla="*/ 198025 w 198024"/>
                <a:gd name="connsiteY13" fmla="*/ 50959 h 81533"/>
                <a:gd name="connsiteX14" fmla="*/ 167449 w 198024"/>
                <a:gd name="connsiteY14" fmla="*/ 81534 h 81533"/>
                <a:gd name="connsiteX15" fmla="*/ 167449 w 198024"/>
                <a:gd name="connsiteY15" fmla="*/ 81534 h 81533"/>
                <a:gd name="connsiteX16" fmla="*/ 136874 w 198024"/>
                <a:gd name="connsiteY16" fmla="*/ 50959 h 81533"/>
                <a:gd name="connsiteX17" fmla="*/ 136874 w 198024"/>
                <a:gd name="connsiteY17" fmla="*/ 30575 h 81533"/>
                <a:gd name="connsiteX18" fmla="*/ 167449 w 198024"/>
                <a:gd name="connsiteY18" fmla="*/ 0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8024" h="81533">
                  <a:moveTo>
                    <a:pt x="30575" y="0"/>
                  </a:moveTo>
                  <a:lnTo>
                    <a:pt x="30575" y="0"/>
                  </a:lnTo>
                  <a:cubicBezTo>
                    <a:pt x="47435" y="0"/>
                    <a:pt x="61150" y="13716"/>
                    <a:pt x="61150" y="30575"/>
                  </a:cubicBezTo>
                  <a:lnTo>
                    <a:pt x="61150" y="50959"/>
                  </a:lnTo>
                  <a:cubicBezTo>
                    <a:pt x="61150" y="67818"/>
                    <a:pt x="47435" y="81534"/>
                    <a:pt x="30575" y="81534"/>
                  </a:cubicBezTo>
                  <a:lnTo>
                    <a:pt x="30575" y="81534"/>
                  </a:lnTo>
                  <a:cubicBezTo>
                    <a:pt x="13716" y="81534"/>
                    <a:pt x="0" y="67818"/>
                    <a:pt x="0" y="50959"/>
                  </a:cubicBezTo>
                  <a:lnTo>
                    <a:pt x="0" y="30575"/>
                  </a:lnTo>
                  <a:cubicBezTo>
                    <a:pt x="0" y="13716"/>
                    <a:pt x="13716" y="0"/>
                    <a:pt x="30575" y="0"/>
                  </a:cubicBezTo>
                  <a:lnTo>
                    <a:pt x="30575" y="0"/>
                  </a:lnTo>
                  <a:close/>
                  <a:moveTo>
                    <a:pt x="167449" y="0"/>
                  </a:moveTo>
                  <a:lnTo>
                    <a:pt x="167449" y="0"/>
                  </a:lnTo>
                  <a:cubicBezTo>
                    <a:pt x="184309" y="0"/>
                    <a:pt x="198025" y="13716"/>
                    <a:pt x="198025" y="30575"/>
                  </a:cubicBezTo>
                  <a:lnTo>
                    <a:pt x="198025" y="50959"/>
                  </a:lnTo>
                  <a:cubicBezTo>
                    <a:pt x="198025" y="67818"/>
                    <a:pt x="184309" y="81534"/>
                    <a:pt x="167449" y="81534"/>
                  </a:cubicBezTo>
                  <a:lnTo>
                    <a:pt x="167449" y="81534"/>
                  </a:lnTo>
                  <a:cubicBezTo>
                    <a:pt x="150590" y="81534"/>
                    <a:pt x="136874" y="67818"/>
                    <a:pt x="136874" y="50959"/>
                  </a:cubicBezTo>
                  <a:lnTo>
                    <a:pt x="136874" y="30575"/>
                  </a:lnTo>
                  <a:cubicBezTo>
                    <a:pt x="136874" y="13716"/>
                    <a:pt x="150590" y="0"/>
                    <a:pt x="167449" y="0"/>
                  </a:cubicBezTo>
                  <a:close/>
                </a:path>
              </a:pathLst>
            </a:custGeom>
            <a:solidFill>
              <a:srgbClr val="FFFFFE"/>
            </a:solidFill>
            <a:ln w="19050" cap="flat">
              <a:no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sp>
        <p:nvSpPr>
          <p:cNvPr id="16" name="TextBox 15">
            <a:extLst>
              <a:ext uri="{FF2B5EF4-FFF2-40B4-BE49-F238E27FC236}">
                <a16:creationId xmlns:a16="http://schemas.microsoft.com/office/drawing/2014/main" id="{B2344C9F-47B1-3D62-8C3C-F6C8FE6C4A8D}"/>
              </a:ext>
            </a:extLst>
          </p:cNvPr>
          <p:cNvSpPr txBox="1"/>
          <p:nvPr/>
        </p:nvSpPr>
        <p:spPr>
          <a:xfrm>
            <a:off x="7916091" y="1114697"/>
            <a:ext cx="3675017" cy="4924425"/>
          </a:xfrm>
          <a:prstGeom prst="rect">
            <a:avLst/>
          </a:prstGeom>
          <a:noFill/>
        </p:spPr>
        <p:txBody>
          <a:bodyPr wrap="square" lIns="0" tIns="0" rIns="0" bIns="0" numCol="1" anchor="t" anchorCtr="0">
            <a:spAutoFit/>
          </a:bodyPr>
          <a:lstStyle/>
          <a:p>
            <a:pPr marL="320040" marR="0" lvl="0" indent="-320040" algn="l" defTabSz="914377" rtl="0" eaLnBrk="1" fontAlgn="auto" latinLnBrk="0" hangingPunct="1">
              <a:lnSpc>
                <a:spcPct val="100000"/>
              </a:lnSpc>
              <a:spcBef>
                <a:spcPts val="0"/>
              </a:spcBef>
              <a:spcAft>
                <a:spcPts val="1800"/>
              </a:spcAft>
              <a:buClr>
                <a:srgbClr val="00CBA1"/>
              </a:buClr>
              <a:buSzPct val="110000"/>
              <a:buFontTx/>
              <a:buBlip>
                <a:blip r:embed="rId9">
                  <a:extLst>
                    <a:ext uri="{96DAC541-7B7A-43D3-8B79-37D633B846F1}">
                      <asvg:svgBlip xmlns:asvg="http://schemas.microsoft.com/office/drawing/2016/SVG/main" r:embed="rId10"/>
                    </a:ext>
                  </a:extLst>
                </a:blip>
              </a:buBlip>
              <a:tabLst/>
              <a:defRPr/>
            </a:pPr>
            <a:r>
              <a:rPr kumimoji="0" lang="en-US" sz="2000" b="0" i="0" u="none" strike="noStrike" kern="1200" cap="none" spc="0" normalizeH="0" baseline="0" noProof="0">
                <a:ln>
                  <a:noFill/>
                </a:ln>
                <a:solidFill>
                  <a:srgbClr val="FFFFFF"/>
                </a:solidFill>
                <a:effectLst/>
                <a:uLnTx/>
                <a:uFillTx/>
                <a:latin typeface="Lato"/>
                <a:ea typeface="Lato"/>
                <a:cs typeface="Lato"/>
              </a:rPr>
              <a:t>Constant contextual learning: no need for manual configuration/adjustment.</a:t>
            </a:r>
          </a:p>
          <a:p>
            <a:pPr marL="320040" marR="0" lvl="0" indent="-320040" algn="l" defTabSz="914377" rtl="0" eaLnBrk="1" fontAlgn="auto" latinLnBrk="0" hangingPunct="1">
              <a:lnSpc>
                <a:spcPct val="100000"/>
              </a:lnSpc>
              <a:spcBef>
                <a:spcPts val="0"/>
              </a:spcBef>
              <a:spcAft>
                <a:spcPts val="1800"/>
              </a:spcAft>
              <a:buClr>
                <a:srgbClr val="00CBA1"/>
              </a:buClr>
              <a:buSzPct val="110000"/>
              <a:buFontTx/>
              <a:buBlip>
                <a:blip r:embed="rId9">
                  <a:extLst>
                    <a:ext uri="{96DAC541-7B7A-43D3-8B79-37D633B846F1}">
                      <asvg:svgBlip xmlns:asvg="http://schemas.microsoft.com/office/drawing/2016/SVG/main" r:embed="rId10"/>
                    </a:ext>
                  </a:extLst>
                </a:blip>
              </a:buBlip>
              <a:tabLst/>
              <a:defRPr/>
            </a:pPr>
            <a:r>
              <a:rPr kumimoji="0" lang="en-US" sz="2000" b="0" i="0" u="none" strike="noStrike" kern="1200" cap="none" spc="0" normalizeH="0" baseline="0" noProof="0">
                <a:ln>
                  <a:noFill/>
                </a:ln>
                <a:solidFill>
                  <a:srgbClr val="FFFFFF"/>
                </a:solidFill>
                <a:effectLst/>
                <a:uLnTx/>
                <a:uFillTx/>
                <a:latin typeface="Lato"/>
                <a:ea typeface="Lato"/>
                <a:cs typeface="Lato"/>
              </a:rPr>
              <a:t>Always on and can be initiated on-demand.</a:t>
            </a:r>
          </a:p>
          <a:p>
            <a:pPr marL="320040" marR="0" lvl="0" indent="-320040" algn="l" defTabSz="914377" rtl="0" eaLnBrk="1" fontAlgn="auto" latinLnBrk="0" hangingPunct="1">
              <a:lnSpc>
                <a:spcPct val="100000"/>
              </a:lnSpc>
              <a:spcBef>
                <a:spcPts val="0"/>
              </a:spcBef>
              <a:spcAft>
                <a:spcPts val="1800"/>
              </a:spcAft>
              <a:buClr>
                <a:srgbClr val="00CBA1"/>
              </a:buClr>
              <a:buSzPct val="110000"/>
              <a:buFontTx/>
              <a:buBlip>
                <a:blip r:embed="rId9">
                  <a:extLst>
                    <a:ext uri="{96DAC541-7B7A-43D3-8B79-37D633B846F1}">
                      <asvg:svgBlip xmlns:asvg="http://schemas.microsoft.com/office/drawing/2016/SVG/main" r:embed="rId10"/>
                    </a:ext>
                  </a:extLst>
                </a:blip>
              </a:buBlip>
              <a:tabLst/>
              <a:defRPr/>
            </a:pPr>
            <a:r>
              <a:rPr kumimoji="0" lang="en-US" sz="2000" b="0" i="0" u="none" strike="noStrike" kern="1200" cap="none" spc="0" normalizeH="0" baseline="0" noProof="0">
                <a:ln>
                  <a:noFill/>
                </a:ln>
                <a:solidFill>
                  <a:srgbClr val="FFFFFF"/>
                </a:solidFill>
                <a:effectLst/>
                <a:uLnTx/>
                <a:uFillTx/>
                <a:latin typeface="Lato"/>
                <a:ea typeface="Lato"/>
                <a:cs typeface="Lato"/>
              </a:rPr>
              <a:t>No additional hardware or software (part of Marvis VNA on existing network).</a:t>
            </a:r>
          </a:p>
          <a:p>
            <a:pPr marL="320040" marR="0" lvl="0" indent="-320040" algn="l" defTabSz="914377" rtl="0" eaLnBrk="1" fontAlgn="auto" latinLnBrk="0" hangingPunct="1">
              <a:lnSpc>
                <a:spcPct val="100000"/>
              </a:lnSpc>
              <a:spcBef>
                <a:spcPts val="0"/>
              </a:spcBef>
              <a:spcAft>
                <a:spcPts val="1800"/>
              </a:spcAft>
              <a:buClr>
                <a:srgbClr val="00CBA1"/>
              </a:buClr>
              <a:buSzPct val="110000"/>
              <a:buFontTx/>
              <a:buBlip>
                <a:blip r:embed="rId9">
                  <a:extLst>
                    <a:ext uri="{96DAC541-7B7A-43D3-8B79-37D633B846F1}">
                      <asvg:svgBlip xmlns:asvg="http://schemas.microsoft.com/office/drawing/2016/SVG/main" r:embed="rId10"/>
                    </a:ext>
                  </a:extLst>
                </a:blip>
              </a:buBlip>
              <a:tabLst/>
              <a:defRPr/>
            </a:pPr>
            <a:r>
              <a:rPr kumimoji="0" lang="en-US" sz="2000" b="0" i="0" u="none" strike="noStrike" kern="1200" cap="none" spc="0" normalizeH="0" baseline="0" noProof="0">
                <a:ln>
                  <a:noFill/>
                </a:ln>
                <a:solidFill>
                  <a:srgbClr val="FFFFFF"/>
                </a:solidFill>
                <a:effectLst/>
                <a:uLnTx/>
                <a:uFillTx/>
                <a:latin typeface="Lato"/>
                <a:ea typeface="Lato"/>
                <a:cs typeface="Lato"/>
              </a:rPr>
              <a:t>Dynamic PCAP for failures of Digital Experience Twin user experience.</a:t>
            </a:r>
          </a:p>
          <a:p>
            <a:pPr marL="320040" marR="0" lvl="0" indent="-320040" algn="l" defTabSz="914377" rtl="0" eaLnBrk="1" fontAlgn="auto" latinLnBrk="0" hangingPunct="1">
              <a:lnSpc>
                <a:spcPct val="100000"/>
              </a:lnSpc>
              <a:spcBef>
                <a:spcPts val="0"/>
              </a:spcBef>
              <a:spcAft>
                <a:spcPts val="1800"/>
              </a:spcAft>
              <a:buClr>
                <a:srgbClr val="00CBA1"/>
              </a:buClr>
              <a:buSzPct val="110000"/>
              <a:buFontTx/>
              <a:buBlip>
                <a:blip r:embed="rId9">
                  <a:extLst>
                    <a:ext uri="{96DAC541-7B7A-43D3-8B79-37D633B846F1}">
                      <asvg:svgBlip xmlns:asvg="http://schemas.microsoft.com/office/drawing/2016/SVG/main" r:embed="rId10"/>
                    </a:ext>
                  </a:extLst>
                </a:blip>
              </a:buBlip>
              <a:tabLst/>
              <a:defRPr/>
            </a:pPr>
            <a:r>
              <a:rPr kumimoji="0" lang="en-US" sz="2000" b="0" i="0" u="none" strike="noStrike" kern="1200" cap="none" spc="0" normalizeH="0" baseline="0" noProof="0">
                <a:ln>
                  <a:noFill/>
                </a:ln>
                <a:solidFill>
                  <a:srgbClr val="FFFFFF"/>
                </a:solidFill>
                <a:effectLst/>
                <a:uLnTx/>
                <a:uFillTx/>
                <a:latin typeface="Lato"/>
                <a:ea typeface="Lato"/>
                <a:cs typeface="Lato"/>
              </a:rPr>
              <a:t>Adds/moves/changes validated in seconds vs. days.</a:t>
            </a:r>
          </a:p>
        </p:txBody>
      </p:sp>
      <p:pic>
        <p:nvPicPr>
          <p:cNvPr id="8" name="Graphic 7">
            <a:extLst>
              <a:ext uri="{FF2B5EF4-FFF2-40B4-BE49-F238E27FC236}">
                <a16:creationId xmlns:a16="http://schemas.microsoft.com/office/drawing/2014/main" id="{C353B5DB-310C-9C4F-71B4-B9BE9435F34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10372" y="6463201"/>
            <a:ext cx="991372" cy="300537"/>
          </a:xfrm>
          <a:prstGeom prst="rect">
            <a:avLst/>
          </a:prstGeom>
        </p:spPr>
      </p:pic>
    </p:spTree>
    <p:extLst>
      <p:ext uri="{BB962C8B-B14F-4D97-AF65-F5344CB8AC3E}">
        <p14:creationId xmlns:p14="http://schemas.microsoft.com/office/powerpoint/2010/main" val="194098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uniper AI Native  2024">
  <a:themeElements>
    <a:clrScheme name="Juniper 24 Green">
      <a:dk1>
        <a:srgbClr val="000000"/>
      </a:dk1>
      <a:lt1>
        <a:srgbClr val="FFFFFF"/>
      </a:lt1>
      <a:dk2>
        <a:srgbClr val="1B3901"/>
      </a:dk2>
      <a:lt2>
        <a:srgbClr val="C5D42A"/>
      </a:lt2>
      <a:accent1>
        <a:srgbClr val="80AA35"/>
      </a:accent1>
      <a:accent2>
        <a:srgbClr val="578A1B"/>
      </a:accent2>
      <a:accent3>
        <a:srgbClr val="2D6A00"/>
      </a:accent3>
      <a:accent4>
        <a:srgbClr val="A2BF30"/>
      </a:accent4>
      <a:accent5>
        <a:srgbClr val="245200"/>
      </a:accent5>
      <a:accent6>
        <a:srgbClr val="437D3B"/>
      </a:accent6>
      <a:hlink>
        <a:srgbClr val="437D3B"/>
      </a:hlink>
      <a:folHlink>
        <a:srgbClr val="437D3B"/>
      </a:folHlink>
    </a:clrScheme>
    <a:fontScheme name="Template 2024">
      <a:majorFont>
        <a:latin typeface="Lato Black"/>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wrap="square" tIns="0" rIns="0" bIns="0" rtlCol="0" anchor="t" anchorCtr="0">
        <a:spAutoFit/>
      </a:bodyPr>
      <a:lstStyle>
        <a:defPPr algn="ctr">
          <a:defRPr sz="1400" b="1" dirty="0" smtClean="0"/>
        </a:defPPr>
      </a:lstStyle>
    </a:txDef>
  </a:objectDefaults>
  <a:extraClrSchemeLst/>
  <a:extLst>
    <a:ext uri="{05A4C25C-085E-4340-85A3-A5531E510DB2}">
      <thm15:themeFamily xmlns:thm15="http://schemas.microsoft.com/office/thememl/2012/main" name="Presentation2" id="{91A45014-CE33-44A9-B914-5D903C5FE480}" vid="{860AA742-6FB5-478B-90A2-038A3A9416C5}"/>
    </a:ext>
  </a:extLst>
</a:theme>
</file>

<file path=ppt/theme/theme2.xml><?xml version="1.0" encoding="utf-8"?>
<a:theme xmlns:a="http://schemas.openxmlformats.org/drawingml/2006/main" name="AI in Action 2023">
  <a:themeElements>
    <a:clrScheme name="Juniper palette">
      <a:dk1>
        <a:srgbClr val="414141"/>
      </a:dk1>
      <a:lt1>
        <a:srgbClr val="FFFFFF"/>
      </a:lt1>
      <a:dk2>
        <a:srgbClr val="FFB71B"/>
      </a:dk2>
      <a:lt2>
        <a:srgbClr val="60269E"/>
      </a:lt2>
      <a:accent1>
        <a:srgbClr val="7CA630"/>
      </a:accent1>
      <a:accent2>
        <a:srgbClr val="0095A9"/>
      </a:accent2>
      <a:accent3>
        <a:srgbClr val="2B621D"/>
      </a:accent3>
      <a:accent4>
        <a:srgbClr val="E87200"/>
      </a:accent4>
      <a:accent5>
        <a:srgbClr val="009877"/>
      </a:accent5>
      <a:accent6>
        <a:srgbClr val="BDC82E"/>
      </a:accent6>
      <a:hlink>
        <a:srgbClr val="0085B3"/>
      </a:hlink>
      <a:folHlink>
        <a:srgbClr val="037DBA"/>
      </a:folHlink>
    </a:clrScheme>
    <a:fontScheme name="Juniper">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600"/>
          </a:spcBef>
          <a:defRPr sz="1200" dirty="0" smtClean="0"/>
        </a:defPPr>
      </a:lstStyle>
    </a:txDef>
  </a:objectDefaults>
  <a:extraClrSchemeLst/>
  <a:extLst>
    <a:ext uri="{05A4C25C-085E-4340-85A3-A5531E510DB2}">
      <thm15:themeFamily xmlns:thm15="http://schemas.microsoft.com/office/thememl/2012/main" name="Presentation3" id="{68647A18-7CC5-4788-901B-0506EFF3A31E}" vid="{A83707DB-9B9C-4199-B1D7-387C59FDB00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Juniper Mobility Field Day 2024">
  <a:themeElements>
    <a:clrScheme name="Juniper 2024">
      <a:dk1>
        <a:srgbClr val="212121"/>
      </a:dk1>
      <a:lt1>
        <a:srgbClr val="FFFFFF"/>
      </a:lt1>
      <a:dk2>
        <a:srgbClr val="E87200"/>
      </a:dk2>
      <a:lt2>
        <a:srgbClr val="6638B6"/>
      </a:lt2>
      <a:accent1>
        <a:srgbClr val="84B135"/>
      </a:accent1>
      <a:accent2>
        <a:srgbClr val="009877"/>
      </a:accent2>
      <a:accent3>
        <a:srgbClr val="2D6A00"/>
      </a:accent3>
      <a:accent4>
        <a:srgbClr val="0095A9"/>
      </a:accent4>
      <a:accent5>
        <a:srgbClr val="0982DB"/>
      </a:accent5>
      <a:accent6>
        <a:srgbClr val="CBDA2A"/>
      </a:accent6>
      <a:hlink>
        <a:srgbClr val="1B86E5"/>
      </a:hlink>
      <a:folHlink>
        <a:srgbClr val="1B86E5"/>
      </a:folHlink>
    </a:clrScheme>
    <a:fontScheme name="Template 2024">
      <a:majorFont>
        <a:latin typeface="Lato Black"/>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spcBef>
            <a:spcPts val="600"/>
          </a:spcBef>
          <a:defRPr sz="1200" dirty="0" smtClean="0"/>
        </a:defPPr>
      </a:lstStyle>
    </a:txDef>
  </a:objectDefaults>
  <a:extraClrSchemeLst/>
  <a:extLst>
    <a:ext uri="{05A4C25C-085E-4340-85A3-A5531E510DB2}">
      <thm15:themeFamily xmlns:thm15="http://schemas.microsoft.com/office/thememl/2012/main" name="Presentation3" id="{68647A18-7CC5-4788-901B-0506EFF3A31E}" vid="{A83707DB-9B9C-4199-B1D7-387C59FDB00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a3ce5a06-b323-45b4-8d97-2f59321c9a5a"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TaxCatchAll xmlns="cb645b5b-9a36-43da-96bf-ab72ec91ddff" xsi:nil="true"/>
    <lcf76f155ced4ddcb4097134ff3c332f xmlns="321fe9a7-7a62-48e1-a664-2334f6ad3c7c">
      <Terms xmlns="http://schemas.microsoft.com/office/infopath/2007/PartnerControls"/>
    </lcf76f155ced4ddcb4097134ff3c332f>
    <SharedWithUsers xmlns="9a4db957-55a2-410d-8812-106362a94831">
      <UserInfo>
        <DisplayName>Kenneth Dellovo</DisplayName>
        <AccountId>344</AccountId>
        <AccountType/>
      </UserInfo>
      <UserInfo>
        <DisplayName>Kristen Johal</DisplayName>
        <AccountId>980</AccountId>
        <AccountType/>
      </UserInfo>
      <UserInfo>
        <DisplayName>Jeff Aaron</DisplayName>
        <AccountId>41</AccountId>
        <AccountType/>
      </UserInfo>
      <UserInfo>
        <DisplayName>Keerthi Venkat</DisplayName>
        <AccountId>944</AccountId>
        <AccountType/>
      </UserInfo>
      <UserInfo>
        <DisplayName>Beth Dannemiller</DisplayName>
        <AccountId>1558</AccountId>
        <AccountType/>
      </UserInfo>
      <UserInfo>
        <DisplayName>Christian Gilby</DisplayName>
        <AccountId>9</AccountId>
        <AccountType/>
      </UserInfo>
      <UserInfo>
        <DisplayName>Meggie Ghidella</DisplayName>
        <AccountId>1968</AccountId>
        <AccountType/>
      </UserInfo>
      <UserInfo>
        <DisplayName>Rad Sethuraman</DisplayName>
        <AccountId>193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25BE35313F892B4FAE718A24F2D312FD" ma:contentTypeVersion="24" ma:contentTypeDescription="Create a new document." ma:contentTypeScope="" ma:versionID="40c8795752c8d6e7c9888208dbd2085b">
  <xsd:schema xmlns:xsd="http://www.w3.org/2001/XMLSchema" xmlns:xs="http://www.w3.org/2001/XMLSchema" xmlns:p="http://schemas.microsoft.com/office/2006/metadata/properties" xmlns:ns2="321fe9a7-7a62-48e1-a664-2334f6ad3c7c" xmlns:ns3="9a4db957-55a2-410d-8812-106362a94831" xmlns:ns4="cb645b5b-9a36-43da-96bf-ab72ec91ddff" targetNamespace="http://schemas.microsoft.com/office/2006/metadata/properties" ma:root="true" ma:fieldsID="b728952d8ada0998aa707df09c760be9" ns2:_="" ns3:_="" ns4:_="">
    <xsd:import namespace="321fe9a7-7a62-48e1-a664-2334f6ad3c7c"/>
    <xsd:import namespace="9a4db957-55a2-410d-8812-106362a94831"/>
    <xsd:import namespace="cb645b5b-9a36-43da-96bf-ab72ec91ddf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4:TaxCatchAll" minOccurs="0"/>
                <xsd:element ref="ns2:MediaServiceSearchPropertie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1fe9a7-7a62-48e1-a664-2334f6ad3c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3ce5a06-b323-45b4-8d97-2f59321c9a5a"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4db957-55a2-410d-8812-106362a9483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b645b5b-9a36-43da-96bf-ab72ec91ddf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3fe96b47-17e2-4064-8252-a6aea93a9197}" ma:internalName="TaxCatchAll" ma:showField="CatchAllData" ma:web="9a4db957-55a2-410d-8812-106362a948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79A6C6-DE2B-48EB-8F1F-163DCEB487EB}">
  <ds:schemaRefs>
    <ds:schemaRef ds:uri="Microsoft.SharePoint.Taxonomy.ContentTypeSync"/>
  </ds:schemaRefs>
</ds:datastoreItem>
</file>

<file path=customXml/itemProps2.xml><?xml version="1.0" encoding="utf-8"?>
<ds:datastoreItem xmlns:ds="http://schemas.openxmlformats.org/officeDocument/2006/customXml" ds:itemID="{92C34BCD-1F8D-4020-8B19-9FA191B83E62}">
  <ds:schemaRefs>
    <ds:schemaRef ds:uri="321fe9a7-7a62-48e1-a664-2334f6ad3c7c"/>
    <ds:schemaRef ds:uri="9a4db957-55a2-410d-8812-106362a94831"/>
    <ds:schemaRef ds:uri="cb645b5b-9a36-43da-96bf-ab72ec91dd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F0EE0D4-AE41-4CB7-8278-588F8E389EAC}">
  <ds:schemaRefs>
    <ds:schemaRef ds:uri="http://schemas.microsoft.com/sharepoint/v3/contenttype/forms"/>
  </ds:schemaRefs>
</ds:datastoreItem>
</file>

<file path=customXml/itemProps4.xml><?xml version="1.0" encoding="utf-8"?>
<ds:datastoreItem xmlns:ds="http://schemas.openxmlformats.org/officeDocument/2006/customXml" ds:itemID="{CEF16D42-BA0B-4287-8689-1794505E360E}">
  <ds:schemaRefs>
    <ds:schemaRef ds:uri="321fe9a7-7a62-48e1-a664-2334f6ad3c7c"/>
    <ds:schemaRef ds:uri="9a4db957-55a2-410d-8812-106362a94831"/>
    <ds:schemaRef ds:uri="cb645b5b-9a36-43da-96bf-ab72ec91dd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hort PPT Template 24</Template>
  <TotalTime>3740</TotalTime>
  <Words>2215</Words>
  <Application>Microsoft Office PowerPoint</Application>
  <PresentationFormat>Widescreen</PresentationFormat>
  <Paragraphs>283</Paragraphs>
  <Slides>20</Slides>
  <Notes>10</Notes>
  <HiddenSlides>0</HiddenSlides>
  <MMClips>1</MMClips>
  <ScaleCrop>false</ScaleCrop>
  <HeadingPairs>
    <vt:vector size="4" baseType="variant">
      <vt:variant>
        <vt:lpstr>Theme</vt:lpstr>
      </vt:variant>
      <vt:variant>
        <vt:i4>4</vt:i4>
      </vt:variant>
      <vt:variant>
        <vt:lpstr>Slide Titles</vt:lpstr>
      </vt:variant>
      <vt:variant>
        <vt:i4>20</vt:i4>
      </vt:variant>
    </vt:vector>
  </HeadingPairs>
  <TitlesOfParts>
    <vt:vector size="24" baseType="lpstr">
      <vt:lpstr>Juniper AI Native  2024</vt:lpstr>
      <vt:lpstr>AI in Action 2023</vt:lpstr>
      <vt:lpstr>Office Theme</vt:lpstr>
      <vt:lpstr>Juniper Mobility Field Day 2024</vt:lpstr>
      <vt:lpstr>AI-Native Networking Platform  Lo último para redes de Campus Universitarios</vt:lpstr>
      <vt:lpstr>PowerPoint Presentation</vt:lpstr>
      <vt:lpstr>PowerPoint Presentation</vt:lpstr>
      <vt:lpstr>PowerPoint Presentation</vt:lpstr>
      <vt:lpstr>Enable IT to be Proactive: “Up” is Not the Same as “Good” </vt:lpstr>
      <vt:lpstr>Marvis Virtual Network Assistant (VNA)</vt:lpstr>
      <vt:lpstr>PowerPoint Presentation</vt:lpstr>
      <vt:lpstr>PowerPoint Presentation</vt:lpstr>
      <vt:lpstr>Marvis Minis — Only AI Native Digital Experience Twin</vt:lpstr>
      <vt:lpstr>AI-Native Networking </vt:lpstr>
      <vt:lpstr>Introducing Juniper Mist Access Assurance</vt:lpstr>
      <vt:lpstr>Juniper Mist Access Assurance Framework</vt:lpstr>
      <vt:lpstr>eduroam Integration</vt:lpstr>
      <vt:lpstr>eduroam Integration</vt:lpstr>
      <vt:lpstr>eduroam User Onboarding – What are the options?</vt:lpstr>
      <vt:lpstr>Client Onboarding</vt:lpstr>
      <vt:lpstr>High Availability / High Reliability – Site Survivability </vt:lpstr>
      <vt:lpstr>High Availability / High Reliability – Site Survivability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cel Lennon</dc:creator>
  <cp:lastModifiedBy>Jose Fidel Tomas</cp:lastModifiedBy>
  <cp:revision>11</cp:revision>
  <dcterms:created xsi:type="dcterms:W3CDTF">2024-01-22T19:28:26Z</dcterms:created>
  <dcterms:modified xsi:type="dcterms:W3CDTF">2024-05-27T08:4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633b888-ae0d-4341-a75f-06e04137d755_Enabled">
    <vt:lpwstr>true</vt:lpwstr>
  </property>
  <property fmtid="{D5CDD505-2E9C-101B-9397-08002B2CF9AE}" pid="3" name="MSIP_Label_0633b888-ae0d-4341-a75f-06e04137d755_SetDate">
    <vt:lpwstr>2024-01-24T21:06:57Z</vt:lpwstr>
  </property>
  <property fmtid="{D5CDD505-2E9C-101B-9397-08002B2CF9AE}" pid="4" name="MSIP_Label_0633b888-ae0d-4341-a75f-06e04137d755_Method">
    <vt:lpwstr>Privileged</vt:lpwstr>
  </property>
  <property fmtid="{D5CDD505-2E9C-101B-9397-08002B2CF9AE}" pid="5" name="MSIP_Label_0633b888-ae0d-4341-a75f-06e04137d755_Name">
    <vt:lpwstr>0633b888-ae0d-4341-a75f-06e04137d755</vt:lpwstr>
  </property>
  <property fmtid="{D5CDD505-2E9C-101B-9397-08002B2CF9AE}" pid="6" name="MSIP_Label_0633b888-ae0d-4341-a75f-06e04137d755_SiteId">
    <vt:lpwstr>bea78b3c-4cdb-4130-854a-1d193232e5f4</vt:lpwstr>
  </property>
  <property fmtid="{D5CDD505-2E9C-101B-9397-08002B2CF9AE}" pid="7" name="MSIP_Label_0633b888-ae0d-4341-a75f-06e04137d755_ActionId">
    <vt:lpwstr>8050a424-f24e-46f4-9e6c-66f516ce3b5b</vt:lpwstr>
  </property>
  <property fmtid="{D5CDD505-2E9C-101B-9397-08002B2CF9AE}" pid="8" name="MSIP_Label_0633b888-ae0d-4341-a75f-06e04137d755_ContentBits">
    <vt:lpwstr>2</vt:lpwstr>
  </property>
  <property fmtid="{D5CDD505-2E9C-101B-9397-08002B2CF9AE}" pid="9" name="ClassificationContentMarkingFooterLocations">
    <vt:lpwstr>Juniper Black:4\1_Juniper 2022-R&amp;F:4</vt:lpwstr>
  </property>
  <property fmtid="{D5CDD505-2E9C-101B-9397-08002B2CF9AE}" pid="10" name="ClassificationContentMarkingFooterText">
    <vt:lpwstr>Juniper Business Use Only</vt:lpwstr>
  </property>
  <property fmtid="{D5CDD505-2E9C-101B-9397-08002B2CF9AE}" pid="11" name="MediaServiceImageTags">
    <vt:lpwstr/>
  </property>
  <property fmtid="{D5CDD505-2E9C-101B-9397-08002B2CF9AE}" pid="12" name="ContentTypeId">
    <vt:lpwstr>0x01010025BE35313F892B4FAE718A24F2D312FD</vt:lpwstr>
  </property>
</Properties>
</file>